
<file path=[Content_Types].xml><?xml version="1.0" encoding="utf-8"?>
<Types xmlns="http://schemas.openxmlformats.org/package/2006/content-types">
  <Default Extension="jpeg" ContentType="image/jpeg"/>
  <Default Extension="png" ContentType="image/png"/>
  <Default Extension="emf" ContentType="image/x-emf"/>
  <Default Extension="wdp" ContentType="image/vnd.ms-photo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6" r:id="rId3"/>
    <p:sldId id="257" r:id="rId5"/>
    <p:sldId id="265" r:id="rId6"/>
    <p:sldId id="258" r:id="rId7"/>
    <p:sldId id="264" r:id="rId8"/>
    <p:sldId id="266" r:id="rId9"/>
    <p:sldId id="260" r:id="rId10"/>
    <p:sldId id="261" r:id="rId11"/>
    <p:sldId id="262" r:id="rId12"/>
    <p:sldId id="263" r:id="rId13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0239" autoAdjust="0"/>
  </p:normalViewPr>
  <p:slideViewPr>
    <p:cSldViewPr>
      <p:cViewPr varScale="1">
        <p:scale>
          <a:sx n="153" d="100"/>
          <a:sy n="153" d="100"/>
        </p:scale>
        <p:origin x="384" y="126"/>
      </p:cViewPr>
      <p:guideLst>
        <p:guide orient="horz" pos="1620"/>
        <p:guide pos="2880"/>
      </p:guideLst>
    </p:cSldViewPr>
  </p:slideViewPr>
  <p:notesTextViewPr>
    <p:cViewPr>
      <p:scale>
        <a:sx n="33" d="100"/>
        <a:sy n="33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291CC-BA97-4F92-8243-9EC612D0623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C81F7-EEC3-42B3-B5DA-FCB34564DD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C81F7-EEC3-42B3-B5DA-FCB34564DD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C81F7-EEC3-42B3-B5DA-FCB34564DD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C81F7-EEC3-42B3-B5DA-FCB34564DD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3C81F7-EEC3-42B3-B5DA-FCB34564DD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emf"/><Relationship Id="rId8" Type="http://schemas.openxmlformats.org/officeDocument/2006/relationships/image" Target="../media/image5.emf"/><Relationship Id="rId7" Type="http://schemas.microsoft.com/office/2007/relationships/hdphoto" Target="../media/image4.wdp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hyperlink" Target="http://www.microsoft.com/learning/en/us/certification-overview.aspx#database" TargetMode="External"/><Relationship Id="rId3" Type="http://schemas.openxmlformats.org/officeDocument/2006/relationships/image" Target="../media/image1.png"/><Relationship Id="rId2" Type="http://schemas.openxmlformats.org/officeDocument/2006/relationships/tags" Target="../tags/tag2.xml"/><Relationship Id="rId15" Type="http://schemas.openxmlformats.org/officeDocument/2006/relationships/notesSlide" Target="../notesSlides/notesSlide1.xml"/><Relationship Id="rId14" Type="http://schemas.openxmlformats.org/officeDocument/2006/relationships/slideLayout" Target="../slideLayouts/slideLayout7.xml"/><Relationship Id="rId13" Type="http://schemas.openxmlformats.org/officeDocument/2006/relationships/image" Target="../media/image10.png"/><Relationship Id="rId12" Type="http://schemas.openxmlformats.org/officeDocument/2006/relationships/image" Target="../media/image9.png"/><Relationship Id="rId11" Type="http://schemas.openxmlformats.org/officeDocument/2006/relationships/image" Target="../media/image8.png"/><Relationship Id="rId10" Type="http://schemas.openxmlformats.org/officeDocument/2006/relationships/image" Target="../media/image7.emf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115.png"/><Relationship Id="rId7" Type="http://schemas.openxmlformats.org/officeDocument/2006/relationships/image" Target="../media/image114.png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Relationship Id="rId3" Type="http://schemas.openxmlformats.org/officeDocument/2006/relationships/image" Target="../media/image110.emf"/><Relationship Id="rId2" Type="http://schemas.openxmlformats.org/officeDocument/2006/relationships/image" Target="../media/image109.emf"/><Relationship Id="rId1" Type="http://schemas.openxmlformats.org/officeDocument/2006/relationships/image" Target="../media/image108.pn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4.wmf"/><Relationship Id="rId4" Type="http://schemas.openxmlformats.org/officeDocument/2006/relationships/image" Target="../media/image13.png"/><Relationship Id="rId3" Type="http://schemas.microsoft.com/office/2007/relationships/hdphoto" Target="../media/image12.wdp"/><Relationship Id="rId2" Type="http://schemas.openxmlformats.org/officeDocument/2006/relationships/image" Target="../media/image11.png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23.png"/><Relationship Id="rId8" Type="http://schemas.openxmlformats.org/officeDocument/2006/relationships/image" Target="../media/image22.wmf"/><Relationship Id="rId7" Type="http://schemas.openxmlformats.org/officeDocument/2006/relationships/image" Target="../media/image21.png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3" Type="http://schemas.openxmlformats.org/officeDocument/2006/relationships/image" Target="../media/image17.png"/><Relationship Id="rId2" Type="http://schemas.microsoft.com/office/2007/relationships/hdphoto" Target="../media/image16.wdp"/><Relationship Id="rId10" Type="http://schemas.openxmlformats.org/officeDocument/2006/relationships/slideLayout" Target="../slideLayouts/slideLayout7.xml"/><Relationship Id="rId1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32.png"/><Relationship Id="rId8" Type="http://schemas.openxmlformats.org/officeDocument/2006/relationships/image" Target="../media/image31.png"/><Relationship Id="rId7" Type="http://schemas.openxmlformats.org/officeDocument/2006/relationships/image" Target="../media/image30.png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3" Type="http://schemas.openxmlformats.org/officeDocument/2006/relationships/image" Target="../media/image26.png"/><Relationship Id="rId21" Type="http://schemas.openxmlformats.org/officeDocument/2006/relationships/slideLayout" Target="../slideLayouts/slideLayout7.xml"/><Relationship Id="rId20" Type="http://schemas.openxmlformats.org/officeDocument/2006/relationships/image" Target="../media/image43.png"/><Relationship Id="rId2" Type="http://schemas.openxmlformats.org/officeDocument/2006/relationships/image" Target="../media/image25.png"/><Relationship Id="rId19" Type="http://schemas.openxmlformats.org/officeDocument/2006/relationships/image" Target="../media/image42.png"/><Relationship Id="rId18" Type="http://schemas.openxmlformats.org/officeDocument/2006/relationships/image" Target="../media/image41.png"/><Relationship Id="rId17" Type="http://schemas.microsoft.com/office/2007/relationships/hdphoto" Target="../media/image40.wdp"/><Relationship Id="rId16" Type="http://schemas.openxmlformats.org/officeDocument/2006/relationships/image" Target="../media/image39.png"/><Relationship Id="rId15" Type="http://schemas.openxmlformats.org/officeDocument/2006/relationships/image" Target="../media/image38.png"/><Relationship Id="rId14" Type="http://schemas.openxmlformats.org/officeDocument/2006/relationships/image" Target="../media/image37.png"/><Relationship Id="rId13" Type="http://schemas.openxmlformats.org/officeDocument/2006/relationships/image" Target="../media/image36.emf"/><Relationship Id="rId12" Type="http://schemas.openxmlformats.org/officeDocument/2006/relationships/image" Target="../media/image35.emf"/><Relationship Id="rId11" Type="http://schemas.openxmlformats.org/officeDocument/2006/relationships/image" Target="../media/image34.emf"/><Relationship Id="rId10" Type="http://schemas.microsoft.com/office/2007/relationships/hdphoto" Target="../media/image33.wdp"/><Relationship Id="rId1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image" Target="../media/image52.png"/><Relationship Id="rId8" Type="http://schemas.openxmlformats.org/officeDocument/2006/relationships/image" Target="../media/image51.png"/><Relationship Id="rId7" Type="http://schemas.openxmlformats.org/officeDocument/2006/relationships/image" Target="../media/image50.png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3" Type="http://schemas.openxmlformats.org/officeDocument/2006/relationships/image" Target="../media/image46.png"/><Relationship Id="rId25" Type="http://schemas.openxmlformats.org/officeDocument/2006/relationships/notesSlide" Target="../notesSlides/notesSlide3.xml"/><Relationship Id="rId24" Type="http://schemas.openxmlformats.org/officeDocument/2006/relationships/slideLayout" Target="../slideLayouts/slideLayout7.xml"/><Relationship Id="rId23" Type="http://schemas.openxmlformats.org/officeDocument/2006/relationships/image" Target="../media/image65.png"/><Relationship Id="rId22" Type="http://schemas.openxmlformats.org/officeDocument/2006/relationships/image" Target="../media/image64.png"/><Relationship Id="rId21" Type="http://schemas.openxmlformats.org/officeDocument/2006/relationships/image" Target="../media/image63.png"/><Relationship Id="rId20" Type="http://schemas.openxmlformats.org/officeDocument/2006/relationships/image" Target="../media/image62.png"/><Relationship Id="rId2" Type="http://schemas.openxmlformats.org/officeDocument/2006/relationships/image" Target="../media/image45.png"/><Relationship Id="rId19" Type="http://schemas.openxmlformats.org/officeDocument/2006/relationships/image" Target="../media/image61.png"/><Relationship Id="rId18" Type="http://schemas.openxmlformats.org/officeDocument/2006/relationships/image" Target="../media/image60.png"/><Relationship Id="rId17" Type="http://schemas.openxmlformats.org/officeDocument/2006/relationships/image" Target="../media/image59.png"/><Relationship Id="rId16" Type="http://schemas.openxmlformats.org/officeDocument/2006/relationships/image" Target="../media/image58.png"/><Relationship Id="rId15" Type="http://schemas.openxmlformats.org/officeDocument/2006/relationships/tags" Target="../tags/tag4.xml"/><Relationship Id="rId14" Type="http://schemas.openxmlformats.org/officeDocument/2006/relationships/image" Target="../media/image57.png"/><Relationship Id="rId13" Type="http://schemas.microsoft.com/office/2007/relationships/hdphoto" Target="../media/image56.wdp"/><Relationship Id="rId12" Type="http://schemas.openxmlformats.org/officeDocument/2006/relationships/image" Target="../media/image55.png"/><Relationship Id="rId11" Type="http://schemas.openxmlformats.org/officeDocument/2006/relationships/image" Target="../media/image54.png"/><Relationship Id="rId10" Type="http://schemas.openxmlformats.org/officeDocument/2006/relationships/image" Target="../media/image53.png"/><Relationship Id="rId1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67.png"/><Relationship Id="rId1" Type="http://schemas.openxmlformats.org/officeDocument/2006/relationships/image" Target="../media/image66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image" Target="../media/image75.png"/><Relationship Id="rId8" Type="http://schemas.openxmlformats.org/officeDocument/2006/relationships/image" Target="../media/image74.png"/><Relationship Id="rId7" Type="http://schemas.openxmlformats.org/officeDocument/2006/relationships/image" Target="../media/image73.png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emf"/><Relationship Id="rId3" Type="http://schemas.openxmlformats.org/officeDocument/2006/relationships/image" Target="../media/image69.emf"/><Relationship Id="rId2" Type="http://schemas.openxmlformats.org/officeDocument/2006/relationships/image" Target="../media/image68.png"/><Relationship Id="rId16" Type="http://schemas.openxmlformats.org/officeDocument/2006/relationships/slideLayout" Target="../slideLayouts/slideLayout7.xml"/><Relationship Id="rId15" Type="http://schemas.openxmlformats.org/officeDocument/2006/relationships/image" Target="../media/image81.wmf"/><Relationship Id="rId14" Type="http://schemas.openxmlformats.org/officeDocument/2006/relationships/image" Target="../media/image80.emf"/><Relationship Id="rId13" Type="http://schemas.openxmlformats.org/officeDocument/2006/relationships/image" Target="../media/image79.png"/><Relationship Id="rId12" Type="http://schemas.openxmlformats.org/officeDocument/2006/relationships/image" Target="../media/image78.png"/><Relationship Id="rId11" Type="http://schemas.openxmlformats.org/officeDocument/2006/relationships/image" Target="../media/image77.png"/><Relationship Id="rId10" Type="http://schemas.openxmlformats.org/officeDocument/2006/relationships/image" Target="../media/image76.png"/><Relationship Id="rId1" Type="http://schemas.openxmlformats.org/officeDocument/2006/relationships/hyperlink" Target="http://www.microsoft.com/sqlserverlabs" TargetMode="Externa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8" Type="http://schemas.openxmlformats.org/officeDocument/2006/relationships/image" Target="../media/image88.png"/><Relationship Id="rId7" Type="http://schemas.openxmlformats.org/officeDocument/2006/relationships/image" Target="../media/image87.png"/><Relationship Id="rId6" Type="http://schemas.microsoft.com/office/2007/relationships/hdphoto" Target="../media/image86.wdp"/><Relationship Id="rId5" Type="http://schemas.openxmlformats.org/officeDocument/2006/relationships/image" Target="../media/image85.png"/><Relationship Id="rId4" Type="http://schemas.openxmlformats.org/officeDocument/2006/relationships/hyperlink" Target="http://www.microsoft.com/en-us/download/details.aspx?id=38395" TargetMode="External"/><Relationship Id="rId3" Type="http://schemas.openxmlformats.org/officeDocument/2006/relationships/image" Target="../media/image84.png"/><Relationship Id="rId21" Type="http://schemas.openxmlformats.org/officeDocument/2006/relationships/slideLayout" Target="../slideLayouts/slideLayout7.xml"/><Relationship Id="rId20" Type="http://schemas.openxmlformats.org/officeDocument/2006/relationships/image" Target="../media/image97.png"/><Relationship Id="rId2" Type="http://schemas.openxmlformats.org/officeDocument/2006/relationships/image" Target="../media/image83.png"/><Relationship Id="rId19" Type="http://schemas.openxmlformats.org/officeDocument/2006/relationships/image" Target="../media/image96.wmf"/><Relationship Id="rId18" Type="http://schemas.openxmlformats.org/officeDocument/2006/relationships/image" Target="../media/image95.png"/><Relationship Id="rId17" Type="http://schemas.openxmlformats.org/officeDocument/2006/relationships/image" Target="../media/image94.emf"/><Relationship Id="rId16" Type="http://schemas.microsoft.com/office/2007/relationships/hdphoto" Target="../media/image93.wdp"/><Relationship Id="rId15" Type="http://schemas.openxmlformats.org/officeDocument/2006/relationships/image" Target="../media/image92.png"/><Relationship Id="rId14" Type="http://schemas.openxmlformats.org/officeDocument/2006/relationships/image" Target="../media/image91.png"/><Relationship Id="rId13" Type="http://schemas.openxmlformats.org/officeDocument/2006/relationships/image" Target="../media/image90.png"/><Relationship Id="rId12" Type="http://schemas.openxmlformats.org/officeDocument/2006/relationships/tags" Target="../tags/tag7.xml"/><Relationship Id="rId11" Type="http://schemas.openxmlformats.org/officeDocument/2006/relationships/image" Target="../media/image89.png"/><Relationship Id="rId10" Type="http://schemas.openxmlformats.org/officeDocument/2006/relationships/tags" Target="../tags/tag6.xml"/><Relationship Id="rId1" Type="http://schemas.openxmlformats.org/officeDocument/2006/relationships/image" Target="../media/image82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6.png"/><Relationship Id="rId8" Type="http://schemas.openxmlformats.org/officeDocument/2006/relationships/image" Target="../media/image105.png"/><Relationship Id="rId7" Type="http://schemas.openxmlformats.org/officeDocument/2006/relationships/image" Target="../media/image104.png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emf"/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1" Type="http://schemas.openxmlformats.org/officeDocument/2006/relationships/slideLayout" Target="../slideLayouts/slideLayout7.xml"/><Relationship Id="rId10" Type="http://schemas.openxmlformats.org/officeDocument/2006/relationships/image" Target="../media/image107.png"/><Relationship Id="rId1" Type="http://schemas.openxmlformats.org/officeDocument/2006/relationships/image" Target="../media/image9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DC3C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5" name="Freeform 20"/>
          <p:cNvSpPr/>
          <p:nvPr/>
        </p:nvSpPr>
        <p:spPr bwMode="auto">
          <a:xfrm>
            <a:off x="501451" y="610463"/>
            <a:ext cx="580377" cy="538317"/>
          </a:xfrm>
          <a:custGeom>
            <a:avLst/>
            <a:gdLst>
              <a:gd name="T0" fmla="*/ 167 w 346"/>
              <a:gd name="T1" fmla="*/ 92 h 261"/>
              <a:gd name="T2" fmla="*/ 207 w 346"/>
              <a:gd name="T3" fmla="*/ 18 h 261"/>
              <a:gd name="T4" fmla="*/ 218 w 346"/>
              <a:gd name="T5" fmla="*/ 16 h 261"/>
              <a:gd name="T6" fmla="*/ 229 w 346"/>
              <a:gd name="T7" fmla="*/ 8 h 261"/>
              <a:gd name="T8" fmla="*/ 233 w 346"/>
              <a:gd name="T9" fmla="*/ 15 h 261"/>
              <a:gd name="T10" fmla="*/ 230 w 346"/>
              <a:gd name="T11" fmla="*/ 27 h 261"/>
              <a:gd name="T12" fmla="*/ 303 w 346"/>
              <a:gd name="T13" fmla="*/ 88 h 261"/>
              <a:gd name="T14" fmla="*/ 308 w 346"/>
              <a:gd name="T15" fmla="*/ 94 h 261"/>
              <a:gd name="T16" fmla="*/ 345 w 346"/>
              <a:gd name="T17" fmla="*/ 93 h 261"/>
              <a:gd name="T18" fmla="*/ 314 w 346"/>
              <a:gd name="T19" fmla="*/ 111 h 261"/>
              <a:gd name="T20" fmla="*/ 314 w 346"/>
              <a:gd name="T21" fmla="*/ 114 h 261"/>
              <a:gd name="T22" fmla="*/ 346 w 346"/>
              <a:gd name="T23" fmla="*/ 116 h 261"/>
              <a:gd name="T24" fmla="*/ 306 w 346"/>
              <a:gd name="T25" fmla="*/ 131 h 261"/>
              <a:gd name="T26" fmla="*/ 238 w 346"/>
              <a:gd name="T27" fmla="*/ 219 h 261"/>
              <a:gd name="T28" fmla="*/ 0 w 346"/>
              <a:gd name="T29" fmla="*/ 178 h 261"/>
              <a:gd name="T30" fmla="*/ 128 w 346"/>
              <a:gd name="T31" fmla="*/ 173 h 261"/>
              <a:gd name="T32" fmla="*/ 116 w 346"/>
              <a:gd name="T33" fmla="*/ 143 h 261"/>
              <a:gd name="T34" fmla="*/ 77 w 346"/>
              <a:gd name="T35" fmla="*/ 126 h 261"/>
              <a:gd name="T36" fmla="*/ 79 w 346"/>
              <a:gd name="T37" fmla="*/ 118 h 261"/>
              <a:gd name="T38" fmla="*/ 97 w 346"/>
              <a:gd name="T39" fmla="*/ 112 h 261"/>
              <a:gd name="T40" fmla="*/ 61 w 346"/>
              <a:gd name="T41" fmla="*/ 82 h 261"/>
              <a:gd name="T42" fmla="*/ 64 w 346"/>
              <a:gd name="T43" fmla="*/ 76 h 261"/>
              <a:gd name="T44" fmla="*/ 80 w 346"/>
              <a:gd name="T45" fmla="*/ 74 h 261"/>
              <a:gd name="T46" fmla="*/ 52 w 346"/>
              <a:gd name="T47" fmla="*/ 40 h 261"/>
              <a:gd name="T48" fmla="*/ 61 w 346"/>
              <a:gd name="T49" fmla="*/ 34 h 261"/>
              <a:gd name="T50" fmla="*/ 167 w 346"/>
              <a:gd name="T51" fmla="*/ 92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46" h="261">
                <a:moveTo>
                  <a:pt x="167" y="92"/>
                </a:moveTo>
                <a:cubicBezTo>
                  <a:pt x="178" y="57"/>
                  <a:pt x="192" y="35"/>
                  <a:pt x="207" y="18"/>
                </a:cubicBezTo>
                <a:cubicBezTo>
                  <a:pt x="219" y="6"/>
                  <a:pt x="225" y="2"/>
                  <a:pt x="218" y="16"/>
                </a:cubicBezTo>
                <a:cubicBezTo>
                  <a:pt x="221" y="13"/>
                  <a:pt x="225" y="10"/>
                  <a:pt x="229" y="8"/>
                </a:cubicBezTo>
                <a:cubicBezTo>
                  <a:pt x="248" y="0"/>
                  <a:pt x="246" y="7"/>
                  <a:pt x="233" y="15"/>
                </a:cubicBezTo>
                <a:cubicBezTo>
                  <a:pt x="269" y="2"/>
                  <a:pt x="268" y="18"/>
                  <a:pt x="230" y="27"/>
                </a:cubicBezTo>
                <a:cubicBezTo>
                  <a:pt x="261" y="27"/>
                  <a:pt x="293" y="47"/>
                  <a:pt x="303" y="88"/>
                </a:cubicBezTo>
                <a:cubicBezTo>
                  <a:pt x="304" y="94"/>
                  <a:pt x="303" y="93"/>
                  <a:pt x="308" y="94"/>
                </a:cubicBezTo>
                <a:cubicBezTo>
                  <a:pt x="321" y="97"/>
                  <a:pt x="333" y="97"/>
                  <a:pt x="345" y="93"/>
                </a:cubicBezTo>
                <a:cubicBezTo>
                  <a:pt x="344" y="101"/>
                  <a:pt x="332" y="107"/>
                  <a:pt x="314" y="111"/>
                </a:cubicBezTo>
                <a:cubicBezTo>
                  <a:pt x="308" y="112"/>
                  <a:pt x="307" y="112"/>
                  <a:pt x="314" y="114"/>
                </a:cubicBezTo>
                <a:cubicBezTo>
                  <a:pt x="324" y="116"/>
                  <a:pt x="335" y="116"/>
                  <a:pt x="346" y="116"/>
                </a:cubicBezTo>
                <a:cubicBezTo>
                  <a:pt x="337" y="126"/>
                  <a:pt x="323" y="131"/>
                  <a:pt x="306" y="131"/>
                </a:cubicBezTo>
                <a:cubicBezTo>
                  <a:pt x="295" y="172"/>
                  <a:pt x="269" y="200"/>
                  <a:pt x="238" y="219"/>
                </a:cubicBezTo>
                <a:cubicBezTo>
                  <a:pt x="163" y="261"/>
                  <a:pt x="54" y="255"/>
                  <a:pt x="0" y="178"/>
                </a:cubicBezTo>
                <a:cubicBezTo>
                  <a:pt x="35" y="206"/>
                  <a:pt x="88" y="212"/>
                  <a:pt x="128" y="173"/>
                </a:cubicBezTo>
                <a:cubicBezTo>
                  <a:pt x="102" y="173"/>
                  <a:pt x="95" y="154"/>
                  <a:pt x="116" y="143"/>
                </a:cubicBezTo>
                <a:cubicBezTo>
                  <a:pt x="96" y="143"/>
                  <a:pt x="84" y="137"/>
                  <a:pt x="77" y="126"/>
                </a:cubicBezTo>
                <a:cubicBezTo>
                  <a:pt x="74" y="121"/>
                  <a:pt x="74" y="121"/>
                  <a:pt x="79" y="118"/>
                </a:cubicBezTo>
                <a:cubicBezTo>
                  <a:pt x="83" y="114"/>
                  <a:pt x="90" y="113"/>
                  <a:pt x="97" y="112"/>
                </a:cubicBezTo>
                <a:cubicBezTo>
                  <a:pt x="77" y="106"/>
                  <a:pt x="65" y="96"/>
                  <a:pt x="61" y="82"/>
                </a:cubicBezTo>
                <a:cubicBezTo>
                  <a:pt x="59" y="77"/>
                  <a:pt x="59" y="78"/>
                  <a:pt x="64" y="76"/>
                </a:cubicBezTo>
                <a:cubicBezTo>
                  <a:pt x="68" y="75"/>
                  <a:pt x="74" y="75"/>
                  <a:pt x="80" y="74"/>
                </a:cubicBezTo>
                <a:cubicBezTo>
                  <a:pt x="64" y="65"/>
                  <a:pt x="54" y="53"/>
                  <a:pt x="52" y="40"/>
                </a:cubicBezTo>
                <a:cubicBezTo>
                  <a:pt x="50" y="28"/>
                  <a:pt x="52" y="31"/>
                  <a:pt x="61" y="34"/>
                </a:cubicBezTo>
                <a:cubicBezTo>
                  <a:pt x="102" y="50"/>
                  <a:pt x="143" y="67"/>
                  <a:pt x="167" y="9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9964" tIns="34982" rIns="69964" bIns="34982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3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7" name="Freeform 11"/>
          <p:cNvSpPr>
            <a:spLocks noEditPoints="1"/>
          </p:cNvSpPr>
          <p:nvPr/>
        </p:nvSpPr>
        <p:spPr bwMode="auto">
          <a:xfrm>
            <a:off x="1783319" y="610478"/>
            <a:ext cx="560923" cy="538302"/>
          </a:xfrm>
          <a:custGeom>
            <a:avLst/>
            <a:gdLst>
              <a:gd name="T0" fmla="*/ 1018 w 1873"/>
              <a:gd name="T1" fmla="*/ 543 h 1462"/>
              <a:gd name="T2" fmla="*/ 906 w 1873"/>
              <a:gd name="T3" fmla="*/ 440 h 1462"/>
              <a:gd name="T4" fmla="*/ 859 w 1873"/>
              <a:gd name="T5" fmla="*/ 284 h 1462"/>
              <a:gd name="T6" fmla="*/ 1142 w 1873"/>
              <a:gd name="T7" fmla="*/ 0 h 1462"/>
              <a:gd name="T8" fmla="*/ 1426 w 1873"/>
              <a:gd name="T9" fmla="*/ 284 h 1462"/>
              <a:gd name="T10" fmla="*/ 1383 w 1873"/>
              <a:gd name="T11" fmla="*/ 440 h 1462"/>
              <a:gd name="T12" fmla="*/ 1267 w 1873"/>
              <a:gd name="T13" fmla="*/ 540 h 1462"/>
              <a:gd name="T14" fmla="*/ 1412 w 1873"/>
              <a:gd name="T15" fmla="*/ 608 h 1462"/>
              <a:gd name="T16" fmla="*/ 1540 w 1873"/>
              <a:gd name="T17" fmla="*/ 819 h 1462"/>
              <a:gd name="T18" fmla="*/ 1805 w 1873"/>
              <a:gd name="T19" fmla="*/ 604 h 1462"/>
              <a:gd name="T20" fmla="*/ 1805 w 1873"/>
              <a:gd name="T21" fmla="*/ 633 h 1462"/>
              <a:gd name="T22" fmla="*/ 1551 w 1873"/>
              <a:gd name="T23" fmla="*/ 867 h 1462"/>
              <a:gd name="T24" fmla="*/ 1565 w 1873"/>
              <a:gd name="T25" fmla="*/ 922 h 1462"/>
              <a:gd name="T26" fmla="*/ 1590 w 1873"/>
              <a:gd name="T27" fmla="*/ 1112 h 1462"/>
              <a:gd name="T28" fmla="*/ 1081 w 1873"/>
              <a:gd name="T29" fmla="*/ 947 h 1462"/>
              <a:gd name="T30" fmla="*/ 782 w 1873"/>
              <a:gd name="T31" fmla="*/ 805 h 1462"/>
              <a:gd name="T32" fmla="*/ 1018 w 1873"/>
              <a:gd name="T33" fmla="*/ 543 h 1462"/>
              <a:gd name="T34" fmla="*/ 444 w 1873"/>
              <a:gd name="T35" fmla="*/ 672 h 1462"/>
              <a:gd name="T36" fmla="*/ 743 w 1873"/>
              <a:gd name="T37" fmla="*/ 781 h 1462"/>
              <a:gd name="T38" fmla="*/ 830 w 1873"/>
              <a:gd name="T39" fmla="*/ 625 h 1462"/>
              <a:gd name="T40" fmla="*/ 669 w 1873"/>
              <a:gd name="T41" fmla="*/ 534 h 1462"/>
              <a:gd name="T42" fmla="*/ 801 w 1873"/>
              <a:gd name="T43" fmla="*/ 319 h 1462"/>
              <a:gd name="T44" fmla="*/ 557 w 1873"/>
              <a:gd name="T45" fmla="*/ 72 h 1462"/>
              <a:gd name="T46" fmla="*/ 312 w 1873"/>
              <a:gd name="T47" fmla="*/ 319 h 1462"/>
              <a:gd name="T48" fmla="*/ 444 w 1873"/>
              <a:gd name="T49" fmla="*/ 534 h 1462"/>
              <a:gd name="T50" fmla="*/ 250 w 1873"/>
              <a:gd name="T51" fmla="*/ 668 h 1462"/>
              <a:gd name="T52" fmla="*/ 444 w 1873"/>
              <a:gd name="T53" fmla="*/ 672 h 1462"/>
              <a:gd name="T54" fmla="*/ 1859 w 1873"/>
              <a:gd name="T55" fmla="*/ 1155 h 1462"/>
              <a:gd name="T56" fmla="*/ 1873 w 1873"/>
              <a:gd name="T57" fmla="*/ 1158 h 1462"/>
              <a:gd name="T58" fmla="*/ 1854 w 1873"/>
              <a:gd name="T59" fmla="*/ 1166 h 1462"/>
              <a:gd name="T60" fmla="*/ 1593 w 1873"/>
              <a:gd name="T61" fmla="*/ 1162 h 1462"/>
              <a:gd name="T62" fmla="*/ 1593 w 1873"/>
              <a:gd name="T63" fmla="*/ 1209 h 1462"/>
              <a:gd name="T64" fmla="*/ 1593 w 1873"/>
              <a:gd name="T65" fmla="*/ 1257 h 1462"/>
              <a:gd name="T66" fmla="*/ 1568 w 1873"/>
              <a:gd name="T67" fmla="*/ 1319 h 1462"/>
              <a:gd name="T68" fmla="*/ 1509 w 1873"/>
              <a:gd name="T69" fmla="*/ 1330 h 1462"/>
              <a:gd name="T70" fmla="*/ 1509 w 1873"/>
              <a:gd name="T71" fmla="*/ 1378 h 1462"/>
              <a:gd name="T72" fmla="*/ 1148 w 1873"/>
              <a:gd name="T73" fmla="*/ 1462 h 1462"/>
              <a:gd name="T74" fmla="*/ 806 w 1873"/>
              <a:gd name="T75" fmla="*/ 1385 h 1462"/>
              <a:gd name="T76" fmla="*/ 787 w 1873"/>
              <a:gd name="T77" fmla="*/ 1235 h 1462"/>
              <a:gd name="T78" fmla="*/ 751 w 1873"/>
              <a:gd name="T79" fmla="*/ 1191 h 1462"/>
              <a:gd name="T80" fmla="*/ 765 w 1873"/>
              <a:gd name="T81" fmla="*/ 895 h 1462"/>
              <a:gd name="T82" fmla="*/ 722 w 1873"/>
              <a:gd name="T83" fmla="*/ 880 h 1462"/>
              <a:gd name="T84" fmla="*/ 708 w 1873"/>
              <a:gd name="T85" fmla="*/ 1191 h 1462"/>
              <a:gd name="T86" fmla="*/ 744 w 1873"/>
              <a:gd name="T87" fmla="*/ 1268 h 1462"/>
              <a:gd name="T88" fmla="*/ 744 w 1873"/>
              <a:gd name="T89" fmla="*/ 1282 h 1462"/>
              <a:gd name="T90" fmla="*/ 561 w 1873"/>
              <a:gd name="T91" fmla="*/ 1289 h 1462"/>
              <a:gd name="T92" fmla="*/ 252 w 1873"/>
              <a:gd name="T93" fmla="*/ 1228 h 1462"/>
              <a:gd name="T94" fmla="*/ 252 w 1873"/>
              <a:gd name="T95" fmla="*/ 1150 h 1462"/>
              <a:gd name="T96" fmla="*/ 238 w 1873"/>
              <a:gd name="T97" fmla="*/ 1155 h 1462"/>
              <a:gd name="T98" fmla="*/ 190 w 1873"/>
              <a:gd name="T99" fmla="*/ 1155 h 1462"/>
              <a:gd name="T100" fmla="*/ 143 w 1873"/>
              <a:gd name="T101" fmla="*/ 1107 h 1462"/>
              <a:gd name="T102" fmla="*/ 143 w 1873"/>
              <a:gd name="T103" fmla="*/ 1103 h 1462"/>
              <a:gd name="T104" fmla="*/ 0 w 1873"/>
              <a:gd name="T105" fmla="*/ 923 h 1462"/>
              <a:gd name="T106" fmla="*/ 139 w 1873"/>
              <a:gd name="T107" fmla="*/ 734 h 1462"/>
              <a:gd name="T108" fmla="*/ 325 w 1873"/>
              <a:gd name="T109" fmla="*/ 712 h 1462"/>
              <a:gd name="T110" fmla="*/ 1021 w 1873"/>
              <a:gd name="T111" fmla="*/ 961 h 1462"/>
              <a:gd name="T112" fmla="*/ 1457 w 1873"/>
              <a:gd name="T113" fmla="*/ 1103 h 1462"/>
              <a:gd name="T114" fmla="*/ 1771 w 1873"/>
              <a:gd name="T115" fmla="*/ 1150 h 1462"/>
              <a:gd name="T116" fmla="*/ 1859 w 1873"/>
              <a:gd name="T117" fmla="*/ 1155 h 1462"/>
              <a:gd name="T118" fmla="*/ 143 w 1873"/>
              <a:gd name="T119" fmla="*/ 1034 h 1462"/>
              <a:gd name="T120" fmla="*/ 193 w 1873"/>
              <a:gd name="T121" fmla="*/ 781 h 1462"/>
              <a:gd name="T122" fmla="*/ 41 w 1873"/>
              <a:gd name="T123" fmla="*/ 927 h 1462"/>
              <a:gd name="T124" fmla="*/ 143 w 1873"/>
              <a:gd name="T125" fmla="*/ 1034 h 1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73" h="1462">
                <a:moveTo>
                  <a:pt x="1018" y="543"/>
                </a:moveTo>
                <a:cubicBezTo>
                  <a:pt x="975" y="517"/>
                  <a:pt x="934" y="484"/>
                  <a:pt x="906" y="440"/>
                </a:cubicBezTo>
                <a:cubicBezTo>
                  <a:pt x="877" y="393"/>
                  <a:pt x="859" y="342"/>
                  <a:pt x="859" y="284"/>
                </a:cubicBezTo>
                <a:cubicBezTo>
                  <a:pt x="859" y="127"/>
                  <a:pt x="986" y="0"/>
                  <a:pt x="1142" y="0"/>
                </a:cubicBezTo>
                <a:cubicBezTo>
                  <a:pt x="1299" y="0"/>
                  <a:pt x="1426" y="127"/>
                  <a:pt x="1426" y="284"/>
                </a:cubicBezTo>
                <a:cubicBezTo>
                  <a:pt x="1426" y="338"/>
                  <a:pt x="1412" y="393"/>
                  <a:pt x="1383" y="440"/>
                </a:cubicBezTo>
                <a:cubicBezTo>
                  <a:pt x="1354" y="484"/>
                  <a:pt x="1313" y="517"/>
                  <a:pt x="1267" y="540"/>
                </a:cubicBezTo>
                <a:cubicBezTo>
                  <a:pt x="1310" y="547"/>
                  <a:pt x="1365" y="568"/>
                  <a:pt x="1412" y="608"/>
                </a:cubicBezTo>
                <a:cubicBezTo>
                  <a:pt x="1478" y="670"/>
                  <a:pt x="1510" y="728"/>
                  <a:pt x="1540" y="819"/>
                </a:cubicBezTo>
                <a:cubicBezTo>
                  <a:pt x="1605" y="794"/>
                  <a:pt x="1699" y="740"/>
                  <a:pt x="1805" y="604"/>
                </a:cubicBezTo>
                <a:cubicBezTo>
                  <a:pt x="1812" y="594"/>
                  <a:pt x="1853" y="550"/>
                  <a:pt x="1805" y="633"/>
                </a:cubicBezTo>
                <a:cubicBezTo>
                  <a:pt x="1765" y="703"/>
                  <a:pt x="1685" y="812"/>
                  <a:pt x="1551" y="867"/>
                </a:cubicBezTo>
                <a:cubicBezTo>
                  <a:pt x="1554" y="885"/>
                  <a:pt x="1562" y="903"/>
                  <a:pt x="1565" y="922"/>
                </a:cubicBezTo>
                <a:cubicBezTo>
                  <a:pt x="1579" y="991"/>
                  <a:pt x="1587" y="1056"/>
                  <a:pt x="1590" y="1112"/>
                </a:cubicBezTo>
                <a:cubicBezTo>
                  <a:pt x="1404" y="1078"/>
                  <a:pt x="1256" y="1028"/>
                  <a:pt x="1081" y="947"/>
                </a:cubicBezTo>
                <a:cubicBezTo>
                  <a:pt x="982" y="907"/>
                  <a:pt x="880" y="853"/>
                  <a:pt x="782" y="805"/>
                </a:cubicBezTo>
                <a:cubicBezTo>
                  <a:pt x="815" y="710"/>
                  <a:pt x="877" y="594"/>
                  <a:pt x="1018" y="543"/>
                </a:cubicBezTo>
                <a:close/>
                <a:moveTo>
                  <a:pt x="444" y="672"/>
                </a:moveTo>
                <a:cubicBezTo>
                  <a:pt x="546" y="693"/>
                  <a:pt x="644" y="734"/>
                  <a:pt x="743" y="781"/>
                </a:cubicBezTo>
                <a:cubicBezTo>
                  <a:pt x="768" y="720"/>
                  <a:pt x="794" y="668"/>
                  <a:pt x="830" y="625"/>
                </a:cubicBezTo>
                <a:cubicBezTo>
                  <a:pt x="764" y="559"/>
                  <a:pt x="695" y="537"/>
                  <a:pt x="669" y="534"/>
                </a:cubicBezTo>
                <a:cubicBezTo>
                  <a:pt x="750" y="494"/>
                  <a:pt x="801" y="414"/>
                  <a:pt x="801" y="319"/>
                </a:cubicBezTo>
                <a:cubicBezTo>
                  <a:pt x="801" y="181"/>
                  <a:pt x="691" y="72"/>
                  <a:pt x="557" y="72"/>
                </a:cubicBezTo>
                <a:cubicBezTo>
                  <a:pt x="421" y="72"/>
                  <a:pt x="312" y="181"/>
                  <a:pt x="312" y="319"/>
                </a:cubicBezTo>
                <a:cubicBezTo>
                  <a:pt x="312" y="414"/>
                  <a:pt x="364" y="494"/>
                  <a:pt x="444" y="534"/>
                </a:cubicBezTo>
                <a:cubicBezTo>
                  <a:pt x="421" y="541"/>
                  <a:pt x="326" y="566"/>
                  <a:pt x="250" y="668"/>
                </a:cubicBezTo>
                <a:cubicBezTo>
                  <a:pt x="305" y="657"/>
                  <a:pt x="378" y="657"/>
                  <a:pt x="444" y="672"/>
                </a:cubicBezTo>
                <a:close/>
                <a:moveTo>
                  <a:pt x="1859" y="1155"/>
                </a:moveTo>
                <a:cubicBezTo>
                  <a:pt x="1862" y="1155"/>
                  <a:pt x="1870" y="1155"/>
                  <a:pt x="1873" y="1158"/>
                </a:cubicBezTo>
                <a:cubicBezTo>
                  <a:pt x="1873" y="1158"/>
                  <a:pt x="1870" y="1166"/>
                  <a:pt x="1854" y="1166"/>
                </a:cubicBezTo>
                <a:cubicBezTo>
                  <a:pt x="1829" y="1169"/>
                  <a:pt x="1756" y="1169"/>
                  <a:pt x="1593" y="1162"/>
                </a:cubicBezTo>
                <a:cubicBezTo>
                  <a:pt x="1593" y="1180"/>
                  <a:pt x="1593" y="1194"/>
                  <a:pt x="1593" y="1209"/>
                </a:cubicBezTo>
                <a:cubicBezTo>
                  <a:pt x="1593" y="1235"/>
                  <a:pt x="1593" y="1253"/>
                  <a:pt x="1593" y="1257"/>
                </a:cubicBezTo>
                <a:cubicBezTo>
                  <a:pt x="1593" y="1271"/>
                  <a:pt x="1593" y="1300"/>
                  <a:pt x="1568" y="1319"/>
                </a:cubicBezTo>
                <a:cubicBezTo>
                  <a:pt x="1555" y="1326"/>
                  <a:pt x="1537" y="1333"/>
                  <a:pt x="1509" y="1330"/>
                </a:cubicBezTo>
                <a:cubicBezTo>
                  <a:pt x="1509" y="1330"/>
                  <a:pt x="1509" y="1330"/>
                  <a:pt x="1509" y="1378"/>
                </a:cubicBezTo>
                <a:cubicBezTo>
                  <a:pt x="1509" y="1378"/>
                  <a:pt x="1502" y="1462"/>
                  <a:pt x="1148" y="1462"/>
                </a:cubicBezTo>
                <a:cubicBezTo>
                  <a:pt x="824" y="1462"/>
                  <a:pt x="810" y="1396"/>
                  <a:pt x="806" y="1385"/>
                </a:cubicBezTo>
                <a:cubicBezTo>
                  <a:pt x="799" y="1373"/>
                  <a:pt x="787" y="1351"/>
                  <a:pt x="787" y="1235"/>
                </a:cubicBezTo>
                <a:cubicBezTo>
                  <a:pt x="787" y="1235"/>
                  <a:pt x="751" y="1239"/>
                  <a:pt x="751" y="1191"/>
                </a:cubicBezTo>
                <a:cubicBezTo>
                  <a:pt x="751" y="1150"/>
                  <a:pt x="751" y="1004"/>
                  <a:pt x="765" y="895"/>
                </a:cubicBezTo>
                <a:cubicBezTo>
                  <a:pt x="751" y="891"/>
                  <a:pt x="737" y="884"/>
                  <a:pt x="722" y="880"/>
                </a:cubicBezTo>
                <a:cubicBezTo>
                  <a:pt x="704" y="1004"/>
                  <a:pt x="708" y="1184"/>
                  <a:pt x="708" y="1191"/>
                </a:cubicBezTo>
                <a:cubicBezTo>
                  <a:pt x="708" y="1232"/>
                  <a:pt x="726" y="1253"/>
                  <a:pt x="744" y="1268"/>
                </a:cubicBezTo>
                <a:cubicBezTo>
                  <a:pt x="744" y="1271"/>
                  <a:pt x="744" y="1278"/>
                  <a:pt x="744" y="1282"/>
                </a:cubicBezTo>
                <a:cubicBezTo>
                  <a:pt x="701" y="1286"/>
                  <a:pt x="642" y="1289"/>
                  <a:pt x="561" y="1289"/>
                </a:cubicBezTo>
                <a:cubicBezTo>
                  <a:pt x="288" y="1289"/>
                  <a:pt x="252" y="1264"/>
                  <a:pt x="252" y="1228"/>
                </a:cubicBezTo>
                <a:cubicBezTo>
                  <a:pt x="252" y="1228"/>
                  <a:pt x="252" y="1228"/>
                  <a:pt x="252" y="1150"/>
                </a:cubicBezTo>
                <a:cubicBezTo>
                  <a:pt x="249" y="1155"/>
                  <a:pt x="238" y="1155"/>
                  <a:pt x="238" y="1155"/>
                </a:cubicBezTo>
                <a:cubicBezTo>
                  <a:pt x="238" y="1155"/>
                  <a:pt x="204" y="1155"/>
                  <a:pt x="190" y="1155"/>
                </a:cubicBezTo>
                <a:cubicBezTo>
                  <a:pt x="161" y="1155"/>
                  <a:pt x="143" y="1139"/>
                  <a:pt x="143" y="1107"/>
                </a:cubicBezTo>
                <a:cubicBezTo>
                  <a:pt x="143" y="1103"/>
                  <a:pt x="143" y="1103"/>
                  <a:pt x="143" y="1103"/>
                </a:cubicBezTo>
                <a:cubicBezTo>
                  <a:pt x="30" y="1082"/>
                  <a:pt x="0" y="993"/>
                  <a:pt x="0" y="923"/>
                </a:cubicBezTo>
                <a:cubicBezTo>
                  <a:pt x="0" y="854"/>
                  <a:pt x="38" y="773"/>
                  <a:pt x="139" y="734"/>
                </a:cubicBezTo>
                <a:cubicBezTo>
                  <a:pt x="179" y="723"/>
                  <a:pt x="211" y="704"/>
                  <a:pt x="325" y="712"/>
                </a:cubicBezTo>
                <a:cubicBezTo>
                  <a:pt x="536" y="723"/>
                  <a:pt x="773" y="862"/>
                  <a:pt x="1021" y="961"/>
                </a:cubicBezTo>
                <a:cubicBezTo>
                  <a:pt x="1162" y="1019"/>
                  <a:pt x="1326" y="1073"/>
                  <a:pt x="1457" y="1103"/>
                </a:cubicBezTo>
                <a:cubicBezTo>
                  <a:pt x="1621" y="1139"/>
                  <a:pt x="1745" y="1146"/>
                  <a:pt x="1771" y="1150"/>
                </a:cubicBezTo>
                <a:cubicBezTo>
                  <a:pt x="1822" y="1155"/>
                  <a:pt x="1854" y="1155"/>
                  <a:pt x="1859" y="1155"/>
                </a:cubicBezTo>
                <a:close/>
                <a:moveTo>
                  <a:pt x="143" y="1034"/>
                </a:moveTo>
                <a:cubicBezTo>
                  <a:pt x="147" y="946"/>
                  <a:pt x="154" y="873"/>
                  <a:pt x="193" y="781"/>
                </a:cubicBezTo>
                <a:cubicBezTo>
                  <a:pt x="99" y="800"/>
                  <a:pt x="41" y="847"/>
                  <a:pt x="41" y="927"/>
                </a:cubicBezTo>
                <a:cubicBezTo>
                  <a:pt x="41" y="1004"/>
                  <a:pt x="106" y="1026"/>
                  <a:pt x="143" y="10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69964" tIns="34982" rIns="69964" bIns="34982" numCol="1" anchor="t" anchorCtr="0" compatLnSpc="1"/>
          <a:lstStyle/>
          <a:p>
            <a:pPr defTabSz="932180"/>
            <a:endParaRPr lang="en-US" sz="1300">
              <a:solidFill>
                <a:srgbClr val="000000"/>
              </a:solidFill>
              <a:latin typeface="Segoe UI" panose="020B0502040204020203"/>
            </a:endParaRPr>
          </a:p>
        </p:txBody>
      </p:sp>
      <p:sp>
        <p:nvSpPr>
          <p:cNvPr id="58" name="Rounded Rectangle 36"/>
          <p:cNvSpPr/>
          <p:nvPr/>
        </p:nvSpPr>
        <p:spPr bwMode="auto">
          <a:xfrm>
            <a:off x="484566" y="1800262"/>
            <a:ext cx="614147" cy="480391"/>
          </a:xfrm>
          <a:custGeom>
            <a:avLst/>
            <a:gdLst>
              <a:gd name="connsiteX0" fmla="*/ 1320185 w 1320185"/>
              <a:gd name="connsiteY0" fmla="*/ 293173 h 1032660"/>
              <a:gd name="connsiteX1" fmla="*/ 1320185 w 1320185"/>
              <a:gd name="connsiteY1" fmla="*/ 931273 h 1032660"/>
              <a:gd name="connsiteX2" fmla="*/ 1218798 w 1320185"/>
              <a:gd name="connsiteY2" fmla="*/ 1032660 h 1032660"/>
              <a:gd name="connsiteX3" fmla="*/ 101387 w 1320185"/>
              <a:gd name="connsiteY3" fmla="*/ 1032660 h 1032660"/>
              <a:gd name="connsiteX4" fmla="*/ 0 w 1320185"/>
              <a:gd name="connsiteY4" fmla="*/ 931273 h 1032660"/>
              <a:gd name="connsiteX5" fmla="*/ 0 w 1320185"/>
              <a:gd name="connsiteY5" fmla="*/ 305565 h 1032660"/>
              <a:gd name="connsiteX6" fmla="*/ 554030 w 1320185"/>
              <a:gd name="connsiteY6" fmla="*/ 697905 h 1032660"/>
              <a:gd name="connsiteX7" fmla="*/ 761199 w 1320185"/>
              <a:gd name="connsiteY7" fmla="*/ 697905 h 1032660"/>
              <a:gd name="connsiteX8" fmla="*/ 1320185 w 1320185"/>
              <a:gd name="connsiteY8" fmla="*/ 293173 h 1032660"/>
              <a:gd name="connsiteX9" fmla="*/ 101387 w 1320185"/>
              <a:gd name="connsiteY9" fmla="*/ 0 h 1032660"/>
              <a:gd name="connsiteX10" fmla="*/ 1218798 w 1320185"/>
              <a:gd name="connsiteY10" fmla="*/ 0 h 1032660"/>
              <a:gd name="connsiteX11" fmla="*/ 1320185 w 1320185"/>
              <a:gd name="connsiteY11" fmla="*/ 101387 h 1032660"/>
              <a:gd name="connsiteX12" fmla="*/ 1320185 w 1320185"/>
              <a:gd name="connsiteY12" fmla="*/ 214265 h 1032660"/>
              <a:gd name="connsiteX13" fmla="*/ 756436 w 1320185"/>
              <a:gd name="connsiteY13" fmla="*/ 616942 h 1032660"/>
              <a:gd name="connsiteX14" fmla="*/ 561174 w 1320185"/>
              <a:gd name="connsiteY14" fmla="*/ 616942 h 1032660"/>
              <a:gd name="connsiteX15" fmla="*/ 0 w 1320185"/>
              <a:gd name="connsiteY15" fmla="*/ 212707 h 1032660"/>
              <a:gd name="connsiteX16" fmla="*/ 0 w 1320185"/>
              <a:gd name="connsiteY16" fmla="*/ 101387 h 1032660"/>
              <a:gd name="connsiteX17" fmla="*/ 101387 w 1320185"/>
              <a:gd name="connsiteY17" fmla="*/ 0 h 1032660"/>
              <a:gd name="connsiteX0-1" fmla="*/ 1320185 w 1320185"/>
              <a:gd name="connsiteY0-2" fmla="*/ 293173 h 1032660"/>
              <a:gd name="connsiteX1-3" fmla="*/ 1320185 w 1320185"/>
              <a:gd name="connsiteY1-4" fmla="*/ 931273 h 1032660"/>
              <a:gd name="connsiteX2-5" fmla="*/ 1218798 w 1320185"/>
              <a:gd name="connsiteY2-6" fmla="*/ 1032660 h 1032660"/>
              <a:gd name="connsiteX3-7" fmla="*/ 101387 w 1320185"/>
              <a:gd name="connsiteY3-8" fmla="*/ 1032660 h 1032660"/>
              <a:gd name="connsiteX4-9" fmla="*/ 0 w 1320185"/>
              <a:gd name="connsiteY4-10" fmla="*/ 931273 h 1032660"/>
              <a:gd name="connsiteX5-11" fmla="*/ 0 w 1320185"/>
              <a:gd name="connsiteY5-12" fmla="*/ 305565 h 1032660"/>
              <a:gd name="connsiteX6-13" fmla="*/ 554030 w 1320185"/>
              <a:gd name="connsiteY6-14" fmla="*/ 697905 h 1032660"/>
              <a:gd name="connsiteX7-15" fmla="*/ 761199 w 1320185"/>
              <a:gd name="connsiteY7-16" fmla="*/ 697905 h 1032660"/>
              <a:gd name="connsiteX8-17" fmla="*/ 1320185 w 1320185"/>
              <a:gd name="connsiteY8-18" fmla="*/ 293173 h 1032660"/>
              <a:gd name="connsiteX9-19" fmla="*/ 101387 w 1320185"/>
              <a:gd name="connsiteY9-20" fmla="*/ 0 h 1032660"/>
              <a:gd name="connsiteX10-21" fmla="*/ 1218798 w 1320185"/>
              <a:gd name="connsiteY10-22" fmla="*/ 0 h 1032660"/>
              <a:gd name="connsiteX11-23" fmla="*/ 1320185 w 1320185"/>
              <a:gd name="connsiteY11-24" fmla="*/ 101387 h 1032660"/>
              <a:gd name="connsiteX12-25" fmla="*/ 1320185 w 1320185"/>
              <a:gd name="connsiteY12-26" fmla="*/ 214265 h 1032660"/>
              <a:gd name="connsiteX13-27" fmla="*/ 756436 w 1320185"/>
              <a:gd name="connsiteY13-28" fmla="*/ 616942 h 1032660"/>
              <a:gd name="connsiteX14-29" fmla="*/ 561174 w 1320185"/>
              <a:gd name="connsiteY14-30" fmla="*/ 616942 h 1032660"/>
              <a:gd name="connsiteX15-31" fmla="*/ 0 w 1320185"/>
              <a:gd name="connsiteY15-32" fmla="*/ 212707 h 1032660"/>
              <a:gd name="connsiteX16-33" fmla="*/ 0 w 1320185"/>
              <a:gd name="connsiteY16-34" fmla="*/ 101387 h 1032660"/>
              <a:gd name="connsiteX17-35" fmla="*/ 101387 w 1320185"/>
              <a:gd name="connsiteY17-36" fmla="*/ 0 h 1032660"/>
              <a:gd name="connsiteX0-37" fmla="*/ 1320185 w 1320185"/>
              <a:gd name="connsiteY0-38" fmla="*/ 293173 h 1032660"/>
              <a:gd name="connsiteX1-39" fmla="*/ 1320185 w 1320185"/>
              <a:gd name="connsiteY1-40" fmla="*/ 931273 h 1032660"/>
              <a:gd name="connsiteX2-41" fmla="*/ 1218798 w 1320185"/>
              <a:gd name="connsiteY2-42" fmla="*/ 1032660 h 1032660"/>
              <a:gd name="connsiteX3-43" fmla="*/ 101387 w 1320185"/>
              <a:gd name="connsiteY3-44" fmla="*/ 1032660 h 1032660"/>
              <a:gd name="connsiteX4-45" fmla="*/ 0 w 1320185"/>
              <a:gd name="connsiteY4-46" fmla="*/ 931273 h 1032660"/>
              <a:gd name="connsiteX5-47" fmla="*/ 0 w 1320185"/>
              <a:gd name="connsiteY5-48" fmla="*/ 305565 h 1032660"/>
              <a:gd name="connsiteX6-49" fmla="*/ 554030 w 1320185"/>
              <a:gd name="connsiteY6-50" fmla="*/ 697905 h 1032660"/>
              <a:gd name="connsiteX7-51" fmla="*/ 761199 w 1320185"/>
              <a:gd name="connsiteY7-52" fmla="*/ 697905 h 1032660"/>
              <a:gd name="connsiteX8-53" fmla="*/ 1320185 w 1320185"/>
              <a:gd name="connsiteY8-54" fmla="*/ 293173 h 1032660"/>
              <a:gd name="connsiteX9-55" fmla="*/ 101387 w 1320185"/>
              <a:gd name="connsiteY9-56" fmla="*/ 0 h 1032660"/>
              <a:gd name="connsiteX10-57" fmla="*/ 1218798 w 1320185"/>
              <a:gd name="connsiteY10-58" fmla="*/ 0 h 1032660"/>
              <a:gd name="connsiteX11-59" fmla="*/ 1320185 w 1320185"/>
              <a:gd name="connsiteY11-60" fmla="*/ 101387 h 1032660"/>
              <a:gd name="connsiteX12-61" fmla="*/ 1320185 w 1320185"/>
              <a:gd name="connsiteY12-62" fmla="*/ 214265 h 1032660"/>
              <a:gd name="connsiteX13-63" fmla="*/ 756436 w 1320185"/>
              <a:gd name="connsiteY13-64" fmla="*/ 616942 h 1032660"/>
              <a:gd name="connsiteX14-65" fmla="*/ 561174 w 1320185"/>
              <a:gd name="connsiteY14-66" fmla="*/ 616942 h 1032660"/>
              <a:gd name="connsiteX15-67" fmla="*/ 0 w 1320185"/>
              <a:gd name="connsiteY15-68" fmla="*/ 212707 h 1032660"/>
              <a:gd name="connsiteX16-69" fmla="*/ 0 w 1320185"/>
              <a:gd name="connsiteY16-70" fmla="*/ 101387 h 1032660"/>
              <a:gd name="connsiteX17-71" fmla="*/ 101387 w 1320185"/>
              <a:gd name="connsiteY17-72" fmla="*/ 0 h 1032660"/>
              <a:gd name="connsiteX0-73" fmla="*/ 1320185 w 1320185"/>
              <a:gd name="connsiteY0-74" fmla="*/ 293173 h 1032660"/>
              <a:gd name="connsiteX1-75" fmla="*/ 1320185 w 1320185"/>
              <a:gd name="connsiteY1-76" fmla="*/ 931273 h 1032660"/>
              <a:gd name="connsiteX2-77" fmla="*/ 1218798 w 1320185"/>
              <a:gd name="connsiteY2-78" fmla="*/ 1032660 h 1032660"/>
              <a:gd name="connsiteX3-79" fmla="*/ 101387 w 1320185"/>
              <a:gd name="connsiteY3-80" fmla="*/ 1032660 h 1032660"/>
              <a:gd name="connsiteX4-81" fmla="*/ 0 w 1320185"/>
              <a:gd name="connsiteY4-82" fmla="*/ 931273 h 1032660"/>
              <a:gd name="connsiteX5-83" fmla="*/ 0 w 1320185"/>
              <a:gd name="connsiteY5-84" fmla="*/ 305565 h 1032660"/>
              <a:gd name="connsiteX6-85" fmla="*/ 554030 w 1320185"/>
              <a:gd name="connsiteY6-86" fmla="*/ 697905 h 1032660"/>
              <a:gd name="connsiteX7-87" fmla="*/ 761199 w 1320185"/>
              <a:gd name="connsiteY7-88" fmla="*/ 697905 h 1032660"/>
              <a:gd name="connsiteX8-89" fmla="*/ 1320185 w 1320185"/>
              <a:gd name="connsiteY8-90" fmla="*/ 293173 h 1032660"/>
              <a:gd name="connsiteX9-91" fmla="*/ 101387 w 1320185"/>
              <a:gd name="connsiteY9-92" fmla="*/ 0 h 1032660"/>
              <a:gd name="connsiteX10-93" fmla="*/ 1218798 w 1320185"/>
              <a:gd name="connsiteY10-94" fmla="*/ 0 h 1032660"/>
              <a:gd name="connsiteX11-95" fmla="*/ 1320185 w 1320185"/>
              <a:gd name="connsiteY11-96" fmla="*/ 101387 h 1032660"/>
              <a:gd name="connsiteX12-97" fmla="*/ 1320185 w 1320185"/>
              <a:gd name="connsiteY12-98" fmla="*/ 214265 h 1032660"/>
              <a:gd name="connsiteX13-99" fmla="*/ 756436 w 1320185"/>
              <a:gd name="connsiteY13-100" fmla="*/ 616942 h 1032660"/>
              <a:gd name="connsiteX14-101" fmla="*/ 561174 w 1320185"/>
              <a:gd name="connsiteY14-102" fmla="*/ 616942 h 1032660"/>
              <a:gd name="connsiteX15-103" fmla="*/ 0 w 1320185"/>
              <a:gd name="connsiteY15-104" fmla="*/ 212707 h 1032660"/>
              <a:gd name="connsiteX16-105" fmla="*/ 0 w 1320185"/>
              <a:gd name="connsiteY16-106" fmla="*/ 101387 h 1032660"/>
              <a:gd name="connsiteX17-107" fmla="*/ 101387 w 1320185"/>
              <a:gd name="connsiteY17-108" fmla="*/ 0 h 1032660"/>
              <a:gd name="connsiteX0-109" fmla="*/ 1320185 w 1320185"/>
              <a:gd name="connsiteY0-110" fmla="*/ 293173 h 1032660"/>
              <a:gd name="connsiteX1-111" fmla="*/ 1320185 w 1320185"/>
              <a:gd name="connsiteY1-112" fmla="*/ 931273 h 1032660"/>
              <a:gd name="connsiteX2-113" fmla="*/ 1218798 w 1320185"/>
              <a:gd name="connsiteY2-114" fmla="*/ 1032660 h 1032660"/>
              <a:gd name="connsiteX3-115" fmla="*/ 101387 w 1320185"/>
              <a:gd name="connsiteY3-116" fmla="*/ 1032660 h 1032660"/>
              <a:gd name="connsiteX4-117" fmla="*/ 0 w 1320185"/>
              <a:gd name="connsiteY4-118" fmla="*/ 931273 h 1032660"/>
              <a:gd name="connsiteX5-119" fmla="*/ 0 w 1320185"/>
              <a:gd name="connsiteY5-120" fmla="*/ 305565 h 1032660"/>
              <a:gd name="connsiteX6-121" fmla="*/ 554030 w 1320185"/>
              <a:gd name="connsiteY6-122" fmla="*/ 697905 h 1032660"/>
              <a:gd name="connsiteX7-123" fmla="*/ 761199 w 1320185"/>
              <a:gd name="connsiteY7-124" fmla="*/ 697905 h 1032660"/>
              <a:gd name="connsiteX8-125" fmla="*/ 1320185 w 1320185"/>
              <a:gd name="connsiteY8-126" fmla="*/ 293173 h 1032660"/>
              <a:gd name="connsiteX9-127" fmla="*/ 101387 w 1320185"/>
              <a:gd name="connsiteY9-128" fmla="*/ 0 h 1032660"/>
              <a:gd name="connsiteX10-129" fmla="*/ 1218798 w 1320185"/>
              <a:gd name="connsiteY10-130" fmla="*/ 0 h 1032660"/>
              <a:gd name="connsiteX11-131" fmla="*/ 1320185 w 1320185"/>
              <a:gd name="connsiteY11-132" fmla="*/ 101387 h 1032660"/>
              <a:gd name="connsiteX12-133" fmla="*/ 1320185 w 1320185"/>
              <a:gd name="connsiteY12-134" fmla="*/ 214265 h 1032660"/>
              <a:gd name="connsiteX13-135" fmla="*/ 756436 w 1320185"/>
              <a:gd name="connsiteY13-136" fmla="*/ 616942 h 1032660"/>
              <a:gd name="connsiteX14-137" fmla="*/ 561174 w 1320185"/>
              <a:gd name="connsiteY14-138" fmla="*/ 616942 h 1032660"/>
              <a:gd name="connsiteX15-139" fmla="*/ 0 w 1320185"/>
              <a:gd name="connsiteY15-140" fmla="*/ 212707 h 1032660"/>
              <a:gd name="connsiteX16-141" fmla="*/ 0 w 1320185"/>
              <a:gd name="connsiteY16-142" fmla="*/ 101387 h 1032660"/>
              <a:gd name="connsiteX17-143" fmla="*/ 101387 w 1320185"/>
              <a:gd name="connsiteY17-144" fmla="*/ 0 h 1032660"/>
              <a:gd name="connsiteX0-145" fmla="*/ 1320185 w 1320185"/>
              <a:gd name="connsiteY0-146" fmla="*/ 293173 h 1032660"/>
              <a:gd name="connsiteX1-147" fmla="*/ 1320185 w 1320185"/>
              <a:gd name="connsiteY1-148" fmla="*/ 931273 h 1032660"/>
              <a:gd name="connsiteX2-149" fmla="*/ 1218798 w 1320185"/>
              <a:gd name="connsiteY2-150" fmla="*/ 1032660 h 1032660"/>
              <a:gd name="connsiteX3-151" fmla="*/ 101387 w 1320185"/>
              <a:gd name="connsiteY3-152" fmla="*/ 1032660 h 1032660"/>
              <a:gd name="connsiteX4-153" fmla="*/ 0 w 1320185"/>
              <a:gd name="connsiteY4-154" fmla="*/ 931273 h 1032660"/>
              <a:gd name="connsiteX5-155" fmla="*/ 0 w 1320185"/>
              <a:gd name="connsiteY5-156" fmla="*/ 305565 h 1032660"/>
              <a:gd name="connsiteX6-157" fmla="*/ 554030 w 1320185"/>
              <a:gd name="connsiteY6-158" fmla="*/ 697905 h 1032660"/>
              <a:gd name="connsiteX7-159" fmla="*/ 761199 w 1320185"/>
              <a:gd name="connsiteY7-160" fmla="*/ 697905 h 1032660"/>
              <a:gd name="connsiteX8-161" fmla="*/ 1320185 w 1320185"/>
              <a:gd name="connsiteY8-162" fmla="*/ 293173 h 1032660"/>
              <a:gd name="connsiteX9-163" fmla="*/ 101387 w 1320185"/>
              <a:gd name="connsiteY9-164" fmla="*/ 0 h 1032660"/>
              <a:gd name="connsiteX10-165" fmla="*/ 1218798 w 1320185"/>
              <a:gd name="connsiteY10-166" fmla="*/ 0 h 1032660"/>
              <a:gd name="connsiteX11-167" fmla="*/ 1320185 w 1320185"/>
              <a:gd name="connsiteY11-168" fmla="*/ 101387 h 1032660"/>
              <a:gd name="connsiteX12-169" fmla="*/ 1320185 w 1320185"/>
              <a:gd name="connsiteY12-170" fmla="*/ 214265 h 1032660"/>
              <a:gd name="connsiteX13-171" fmla="*/ 756436 w 1320185"/>
              <a:gd name="connsiteY13-172" fmla="*/ 616942 h 1032660"/>
              <a:gd name="connsiteX14-173" fmla="*/ 561174 w 1320185"/>
              <a:gd name="connsiteY14-174" fmla="*/ 616942 h 1032660"/>
              <a:gd name="connsiteX15-175" fmla="*/ 0 w 1320185"/>
              <a:gd name="connsiteY15-176" fmla="*/ 212707 h 1032660"/>
              <a:gd name="connsiteX16-177" fmla="*/ 0 w 1320185"/>
              <a:gd name="connsiteY16-178" fmla="*/ 101387 h 1032660"/>
              <a:gd name="connsiteX17-179" fmla="*/ 101387 w 1320185"/>
              <a:gd name="connsiteY17-180" fmla="*/ 0 h 1032660"/>
              <a:gd name="connsiteX0-181" fmla="*/ 1320185 w 1320185"/>
              <a:gd name="connsiteY0-182" fmla="*/ 293173 h 1032660"/>
              <a:gd name="connsiteX1-183" fmla="*/ 1320185 w 1320185"/>
              <a:gd name="connsiteY1-184" fmla="*/ 931273 h 1032660"/>
              <a:gd name="connsiteX2-185" fmla="*/ 1218798 w 1320185"/>
              <a:gd name="connsiteY2-186" fmla="*/ 1032660 h 1032660"/>
              <a:gd name="connsiteX3-187" fmla="*/ 101387 w 1320185"/>
              <a:gd name="connsiteY3-188" fmla="*/ 1032660 h 1032660"/>
              <a:gd name="connsiteX4-189" fmla="*/ 0 w 1320185"/>
              <a:gd name="connsiteY4-190" fmla="*/ 931273 h 1032660"/>
              <a:gd name="connsiteX5-191" fmla="*/ 0 w 1320185"/>
              <a:gd name="connsiteY5-192" fmla="*/ 305565 h 1032660"/>
              <a:gd name="connsiteX6-193" fmla="*/ 554030 w 1320185"/>
              <a:gd name="connsiteY6-194" fmla="*/ 697905 h 1032660"/>
              <a:gd name="connsiteX7-195" fmla="*/ 761199 w 1320185"/>
              <a:gd name="connsiteY7-196" fmla="*/ 697905 h 1032660"/>
              <a:gd name="connsiteX8-197" fmla="*/ 1320185 w 1320185"/>
              <a:gd name="connsiteY8-198" fmla="*/ 293173 h 1032660"/>
              <a:gd name="connsiteX9-199" fmla="*/ 101387 w 1320185"/>
              <a:gd name="connsiteY9-200" fmla="*/ 0 h 1032660"/>
              <a:gd name="connsiteX10-201" fmla="*/ 1218798 w 1320185"/>
              <a:gd name="connsiteY10-202" fmla="*/ 0 h 1032660"/>
              <a:gd name="connsiteX11-203" fmla="*/ 1320185 w 1320185"/>
              <a:gd name="connsiteY11-204" fmla="*/ 101387 h 1032660"/>
              <a:gd name="connsiteX12-205" fmla="*/ 1320185 w 1320185"/>
              <a:gd name="connsiteY12-206" fmla="*/ 214265 h 1032660"/>
              <a:gd name="connsiteX13-207" fmla="*/ 756436 w 1320185"/>
              <a:gd name="connsiteY13-208" fmla="*/ 616942 h 1032660"/>
              <a:gd name="connsiteX14-209" fmla="*/ 561174 w 1320185"/>
              <a:gd name="connsiteY14-210" fmla="*/ 616942 h 1032660"/>
              <a:gd name="connsiteX15-211" fmla="*/ 0 w 1320185"/>
              <a:gd name="connsiteY15-212" fmla="*/ 212707 h 1032660"/>
              <a:gd name="connsiteX16-213" fmla="*/ 0 w 1320185"/>
              <a:gd name="connsiteY16-214" fmla="*/ 101387 h 1032660"/>
              <a:gd name="connsiteX17-215" fmla="*/ 101387 w 1320185"/>
              <a:gd name="connsiteY17-216" fmla="*/ 0 h 1032660"/>
              <a:gd name="connsiteX0-217" fmla="*/ 1320185 w 1320185"/>
              <a:gd name="connsiteY0-218" fmla="*/ 293173 h 1032660"/>
              <a:gd name="connsiteX1-219" fmla="*/ 1320185 w 1320185"/>
              <a:gd name="connsiteY1-220" fmla="*/ 931273 h 1032660"/>
              <a:gd name="connsiteX2-221" fmla="*/ 1218798 w 1320185"/>
              <a:gd name="connsiteY2-222" fmla="*/ 1032660 h 1032660"/>
              <a:gd name="connsiteX3-223" fmla="*/ 101387 w 1320185"/>
              <a:gd name="connsiteY3-224" fmla="*/ 1032660 h 1032660"/>
              <a:gd name="connsiteX4-225" fmla="*/ 0 w 1320185"/>
              <a:gd name="connsiteY4-226" fmla="*/ 931273 h 1032660"/>
              <a:gd name="connsiteX5-227" fmla="*/ 0 w 1320185"/>
              <a:gd name="connsiteY5-228" fmla="*/ 305565 h 1032660"/>
              <a:gd name="connsiteX6-229" fmla="*/ 554030 w 1320185"/>
              <a:gd name="connsiteY6-230" fmla="*/ 697905 h 1032660"/>
              <a:gd name="connsiteX7-231" fmla="*/ 761199 w 1320185"/>
              <a:gd name="connsiteY7-232" fmla="*/ 697905 h 1032660"/>
              <a:gd name="connsiteX8-233" fmla="*/ 1320185 w 1320185"/>
              <a:gd name="connsiteY8-234" fmla="*/ 293173 h 1032660"/>
              <a:gd name="connsiteX9-235" fmla="*/ 101387 w 1320185"/>
              <a:gd name="connsiteY9-236" fmla="*/ 0 h 1032660"/>
              <a:gd name="connsiteX10-237" fmla="*/ 1218798 w 1320185"/>
              <a:gd name="connsiteY10-238" fmla="*/ 0 h 1032660"/>
              <a:gd name="connsiteX11-239" fmla="*/ 1320185 w 1320185"/>
              <a:gd name="connsiteY11-240" fmla="*/ 101387 h 1032660"/>
              <a:gd name="connsiteX12-241" fmla="*/ 1320185 w 1320185"/>
              <a:gd name="connsiteY12-242" fmla="*/ 214265 h 1032660"/>
              <a:gd name="connsiteX13-243" fmla="*/ 756436 w 1320185"/>
              <a:gd name="connsiteY13-244" fmla="*/ 616942 h 1032660"/>
              <a:gd name="connsiteX14-245" fmla="*/ 561174 w 1320185"/>
              <a:gd name="connsiteY14-246" fmla="*/ 616942 h 1032660"/>
              <a:gd name="connsiteX15-247" fmla="*/ 0 w 1320185"/>
              <a:gd name="connsiteY15-248" fmla="*/ 212707 h 1032660"/>
              <a:gd name="connsiteX16-249" fmla="*/ 0 w 1320185"/>
              <a:gd name="connsiteY16-250" fmla="*/ 101387 h 1032660"/>
              <a:gd name="connsiteX17-251" fmla="*/ 101387 w 1320185"/>
              <a:gd name="connsiteY17-252" fmla="*/ 0 h 1032660"/>
              <a:gd name="connsiteX0-253" fmla="*/ 1320185 w 1320185"/>
              <a:gd name="connsiteY0-254" fmla="*/ 293173 h 1032660"/>
              <a:gd name="connsiteX1-255" fmla="*/ 1320185 w 1320185"/>
              <a:gd name="connsiteY1-256" fmla="*/ 931273 h 1032660"/>
              <a:gd name="connsiteX2-257" fmla="*/ 1218798 w 1320185"/>
              <a:gd name="connsiteY2-258" fmla="*/ 1032660 h 1032660"/>
              <a:gd name="connsiteX3-259" fmla="*/ 101387 w 1320185"/>
              <a:gd name="connsiteY3-260" fmla="*/ 1032660 h 1032660"/>
              <a:gd name="connsiteX4-261" fmla="*/ 0 w 1320185"/>
              <a:gd name="connsiteY4-262" fmla="*/ 931273 h 1032660"/>
              <a:gd name="connsiteX5-263" fmla="*/ 0 w 1320185"/>
              <a:gd name="connsiteY5-264" fmla="*/ 305565 h 1032660"/>
              <a:gd name="connsiteX6-265" fmla="*/ 554030 w 1320185"/>
              <a:gd name="connsiteY6-266" fmla="*/ 697905 h 1032660"/>
              <a:gd name="connsiteX7-267" fmla="*/ 761199 w 1320185"/>
              <a:gd name="connsiteY7-268" fmla="*/ 697905 h 1032660"/>
              <a:gd name="connsiteX8-269" fmla="*/ 1320185 w 1320185"/>
              <a:gd name="connsiteY8-270" fmla="*/ 293173 h 1032660"/>
              <a:gd name="connsiteX9-271" fmla="*/ 101387 w 1320185"/>
              <a:gd name="connsiteY9-272" fmla="*/ 0 h 1032660"/>
              <a:gd name="connsiteX10-273" fmla="*/ 1218798 w 1320185"/>
              <a:gd name="connsiteY10-274" fmla="*/ 0 h 1032660"/>
              <a:gd name="connsiteX11-275" fmla="*/ 1320185 w 1320185"/>
              <a:gd name="connsiteY11-276" fmla="*/ 101387 h 1032660"/>
              <a:gd name="connsiteX12-277" fmla="*/ 1320185 w 1320185"/>
              <a:gd name="connsiteY12-278" fmla="*/ 214265 h 1032660"/>
              <a:gd name="connsiteX13-279" fmla="*/ 756436 w 1320185"/>
              <a:gd name="connsiteY13-280" fmla="*/ 616942 h 1032660"/>
              <a:gd name="connsiteX14-281" fmla="*/ 561174 w 1320185"/>
              <a:gd name="connsiteY14-282" fmla="*/ 616942 h 1032660"/>
              <a:gd name="connsiteX15-283" fmla="*/ 0 w 1320185"/>
              <a:gd name="connsiteY15-284" fmla="*/ 212707 h 1032660"/>
              <a:gd name="connsiteX16-285" fmla="*/ 0 w 1320185"/>
              <a:gd name="connsiteY16-286" fmla="*/ 101387 h 1032660"/>
              <a:gd name="connsiteX17-287" fmla="*/ 101387 w 1320185"/>
              <a:gd name="connsiteY17-288" fmla="*/ 0 h 1032660"/>
              <a:gd name="connsiteX0-289" fmla="*/ 1320185 w 1320185"/>
              <a:gd name="connsiteY0-290" fmla="*/ 293173 h 1032660"/>
              <a:gd name="connsiteX1-291" fmla="*/ 1320185 w 1320185"/>
              <a:gd name="connsiteY1-292" fmla="*/ 931273 h 1032660"/>
              <a:gd name="connsiteX2-293" fmla="*/ 1218798 w 1320185"/>
              <a:gd name="connsiteY2-294" fmla="*/ 1032660 h 1032660"/>
              <a:gd name="connsiteX3-295" fmla="*/ 101387 w 1320185"/>
              <a:gd name="connsiteY3-296" fmla="*/ 1032660 h 1032660"/>
              <a:gd name="connsiteX4-297" fmla="*/ 0 w 1320185"/>
              <a:gd name="connsiteY4-298" fmla="*/ 931273 h 1032660"/>
              <a:gd name="connsiteX5-299" fmla="*/ 0 w 1320185"/>
              <a:gd name="connsiteY5-300" fmla="*/ 305565 h 1032660"/>
              <a:gd name="connsiteX6-301" fmla="*/ 554030 w 1320185"/>
              <a:gd name="connsiteY6-302" fmla="*/ 697905 h 1032660"/>
              <a:gd name="connsiteX7-303" fmla="*/ 761199 w 1320185"/>
              <a:gd name="connsiteY7-304" fmla="*/ 697905 h 1032660"/>
              <a:gd name="connsiteX8-305" fmla="*/ 1320185 w 1320185"/>
              <a:gd name="connsiteY8-306" fmla="*/ 293173 h 1032660"/>
              <a:gd name="connsiteX9-307" fmla="*/ 101387 w 1320185"/>
              <a:gd name="connsiteY9-308" fmla="*/ 0 h 1032660"/>
              <a:gd name="connsiteX10-309" fmla="*/ 1218798 w 1320185"/>
              <a:gd name="connsiteY10-310" fmla="*/ 0 h 1032660"/>
              <a:gd name="connsiteX11-311" fmla="*/ 1320185 w 1320185"/>
              <a:gd name="connsiteY11-312" fmla="*/ 101387 h 1032660"/>
              <a:gd name="connsiteX12-313" fmla="*/ 1320185 w 1320185"/>
              <a:gd name="connsiteY12-314" fmla="*/ 214265 h 1032660"/>
              <a:gd name="connsiteX13-315" fmla="*/ 756436 w 1320185"/>
              <a:gd name="connsiteY13-316" fmla="*/ 616942 h 1032660"/>
              <a:gd name="connsiteX14-317" fmla="*/ 554030 w 1320185"/>
              <a:gd name="connsiteY14-318" fmla="*/ 612180 h 1032660"/>
              <a:gd name="connsiteX15-319" fmla="*/ 0 w 1320185"/>
              <a:gd name="connsiteY15-320" fmla="*/ 212707 h 1032660"/>
              <a:gd name="connsiteX16-321" fmla="*/ 0 w 1320185"/>
              <a:gd name="connsiteY16-322" fmla="*/ 101387 h 1032660"/>
              <a:gd name="connsiteX17-323" fmla="*/ 101387 w 1320185"/>
              <a:gd name="connsiteY17-324" fmla="*/ 0 h 1032660"/>
              <a:gd name="connsiteX0-325" fmla="*/ 1320185 w 1320185"/>
              <a:gd name="connsiteY0-326" fmla="*/ 293173 h 1032660"/>
              <a:gd name="connsiteX1-327" fmla="*/ 1320185 w 1320185"/>
              <a:gd name="connsiteY1-328" fmla="*/ 931273 h 1032660"/>
              <a:gd name="connsiteX2-329" fmla="*/ 1218798 w 1320185"/>
              <a:gd name="connsiteY2-330" fmla="*/ 1032660 h 1032660"/>
              <a:gd name="connsiteX3-331" fmla="*/ 101387 w 1320185"/>
              <a:gd name="connsiteY3-332" fmla="*/ 1032660 h 1032660"/>
              <a:gd name="connsiteX4-333" fmla="*/ 0 w 1320185"/>
              <a:gd name="connsiteY4-334" fmla="*/ 931273 h 1032660"/>
              <a:gd name="connsiteX5-335" fmla="*/ 0 w 1320185"/>
              <a:gd name="connsiteY5-336" fmla="*/ 305565 h 1032660"/>
              <a:gd name="connsiteX6-337" fmla="*/ 554030 w 1320185"/>
              <a:gd name="connsiteY6-338" fmla="*/ 697905 h 1032660"/>
              <a:gd name="connsiteX7-339" fmla="*/ 761199 w 1320185"/>
              <a:gd name="connsiteY7-340" fmla="*/ 697905 h 1032660"/>
              <a:gd name="connsiteX8-341" fmla="*/ 1320185 w 1320185"/>
              <a:gd name="connsiteY8-342" fmla="*/ 293173 h 1032660"/>
              <a:gd name="connsiteX9-343" fmla="*/ 101387 w 1320185"/>
              <a:gd name="connsiteY9-344" fmla="*/ 0 h 1032660"/>
              <a:gd name="connsiteX10-345" fmla="*/ 1218798 w 1320185"/>
              <a:gd name="connsiteY10-346" fmla="*/ 0 h 1032660"/>
              <a:gd name="connsiteX11-347" fmla="*/ 1320185 w 1320185"/>
              <a:gd name="connsiteY11-348" fmla="*/ 101387 h 1032660"/>
              <a:gd name="connsiteX12-349" fmla="*/ 1320185 w 1320185"/>
              <a:gd name="connsiteY12-350" fmla="*/ 214265 h 1032660"/>
              <a:gd name="connsiteX13-351" fmla="*/ 756436 w 1320185"/>
              <a:gd name="connsiteY13-352" fmla="*/ 616942 h 1032660"/>
              <a:gd name="connsiteX14-353" fmla="*/ 554030 w 1320185"/>
              <a:gd name="connsiteY14-354" fmla="*/ 612180 h 1032660"/>
              <a:gd name="connsiteX15-355" fmla="*/ 0 w 1320185"/>
              <a:gd name="connsiteY15-356" fmla="*/ 212707 h 1032660"/>
              <a:gd name="connsiteX16-357" fmla="*/ 0 w 1320185"/>
              <a:gd name="connsiteY16-358" fmla="*/ 101387 h 1032660"/>
              <a:gd name="connsiteX17-359" fmla="*/ 101387 w 1320185"/>
              <a:gd name="connsiteY17-360" fmla="*/ 0 h 1032660"/>
              <a:gd name="connsiteX0-361" fmla="*/ 1320185 w 1320185"/>
              <a:gd name="connsiteY0-362" fmla="*/ 293173 h 1032660"/>
              <a:gd name="connsiteX1-363" fmla="*/ 1320185 w 1320185"/>
              <a:gd name="connsiteY1-364" fmla="*/ 931273 h 1032660"/>
              <a:gd name="connsiteX2-365" fmla="*/ 1218798 w 1320185"/>
              <a:gd name="connsiteY2-366" fmla="*/ 1032660 h 1032660"/>
              <a:gd name="connsiteX3-367" fmla="*/ 101387 w 1320185"/>
              <a:gd name="connsiteY3-368" fmla="*/ 1032660 h 1032660"/>
              <a:gd name="connsiteX4-369" fmla="*/ 0 w 1320185"/>
              <a:gd name="connsiteY4-370" fmla="*/ 931273 h 1032660"/>
              <a:gd name="connsiteX5-371" fmla="*/ 0 w 1320185"/>
              <a:gd name="connsiteY5-372" fmla="*/ 305565 h 1032660"/>
              <a:gd name="connsiteX6-373" fmla="*/ 554030 w 1320185"/>
              <a:gd name="connsiteY6-374" fmla="*/ 697905 h 1032660"/>
              <a:gd name="connsiteX7-375" fmla="*/ 761199 w 1320185"/>
              <a:gd name="connsiteY7-376" fmla="*/ 697905 h 1032660"/>
              <a:gd name="connsiteX8-377" fmla="*/ 1320185 w 1320185"/>
              <a:gd name="connsiteY8-378" fmla="*/ 293173 h 1032660"/>
              <a:gd name="connsiteX9-379" fmla="*/ 101387 w 1320185"/>
              <a:gd name="connsiteY9-380" fmla="*/ 0 h 1032660"/>
              <a:gd name="connsiteX10-381" fmla="*/ 1218798 w 1320185"/>
              <a:gd name="connsiteY10-382" fmla="*/ 0 h 1032660"/>
              <a:gd name="connsiteX11-383" fmla="*/ 1320185 w 1320185"/>
              <a:gd name="connsiteY11-384" fmla="*/ 101387 h 1032660"/>
              <a:gd name="connsiteX12-385" fmla="*/ 1320185 w 1320185"/>
              <a:gd name="connsiteY12-386" fmla="*/ 214265 h 1032660"/>
              <a:gd name="connsiteX13-387" fmla="*/ 763579 w 1320185"/>
              <a:gd name="connsiteY13-388" fmla="*/ 609798 h 1032660"/>
              <a:gd name="connsiteX14-389" fmla="*/ 554030 w 1320185"/>
              <a:gd name="connsiteY14-390" fmla="*/ 612180 h 1032660"/>
              <a:gd name="connsiteX15-391" fmla="*/ 0 w 1320185"/>
              <a:gd name="connsiteY15-392" fmla="*/ 212707 h 1032660"/>
              <a:gd name="connsiteX16-393" fmla="*/ 0 w 1320185"/>
              <a:gd name="connsiteY16-394" fmla="*/ 101387 h 1032660"/>
              <a:gd name="connsiteX17-395" fmla="*/ 101387 w 1320185"/>
              <a:gd name="connsiteY17-396" fmla="*/ 0 h 1032660"/>
              <a:gd name="connsiteX0-397" fmla="*/ 1320185 w 1320185"/>
              <a:gd name="connsiteY0-398" fmla="*/ 293173 h 1032660"/>
              <a:gd name="connsiteX1-399" fmla="*/ 1320185 w 1320185"/>
              <a:gd name="connsiteY1-400" fmla="*/ 931273 h 1032660"/>
              <a:gd name="connsiteX2-401" fmla="*/ 1218798 w 1320185"/>
              <a:gd name="connsiteY2-402" fmla="*/ 1032660 h 1032660"/>
              <a:gd name="connsiteX3-403" fmla="*/ 101387 w 1320185"/>
              <a:gd name="connsiteY3-404" fmla="*/ 1032660 h 1032660"/>
              <a:gd name="connsiteX4-405" fmla="*/ 0 w 1320185"/>
              <a:gd name="connsiteY4-406" fmla="*/ 931273 h 1032660"/>
              <a:gd name="connsiteX5-407" fmla="*/ 0 w 1320185"/>
              <a:gd name="connsiteY5-408" fmla="*/ 305565 h 1032660"/>
              <a:gd name="connsiteX6-409" fmla="*/ 554030 w 1320185"/>
              <a:gd name="connsiteY6-410" fmla="*/ 697905 h 1032660"/>
              <a:gd name="connsiteX7-411" fmla="*/ 761199 w 1320185"/>
              <a:gd name="connsiteY7-412" fmla="*/ 697905 h 1032660"/>
              <a:gd name="connsiteX8-413" fmla="*/ 1320185 w 1320185"/>
              <a:gd name="connsiteY8-414" fmla="*/ 293173 h 1032660"/>
              <a:gd name="connsiteX9-415" fmla="*/ 101387 w 1320185"/>
              <a:gd name="connsiteY9-416" fmla="*/ 0 h 1032660"/>
              <a:gd name="connsiteX10-417" fmla="*/ 1218798 w 1320185"/>
              <a:gd name="connsiteY10-418" fmla="*/ 0 h 1032660"/>
              <a:gd name="connsiteX11-419" fmla="*/ 1320185 w 1320185"/>
              <a:gd name="connsiteY11-420" fmla="*/ 101387 h 1032660"/>
              <a:gd name="connsiteX12-421" fmla="*/ 1320185 w 1320185"/>
              <a:gd name="connsiteY12-422" fmla="*/ 214265 h 1032660"/>
              <a:gd name="connsiteX13-423" fmla="*/ 763579 w 1320185"/>
              <a:gd name="connsiteY13-424" fmla="*/ 609798 h 1032660"/>
              <a:gd name="connsiteX14-425" fmla="*/ 554030 w 1320185"/>
              <a:gd name="connsiteY14-426" fmla="*/ 612180 h 1032660"/>
              <a:gd name="connsiteX15-427" fmla="*/ 0 w 1320185"/>
              <a:gd name="connsiteY15-428" fmla="*/ 212707 h 1032660"/>
              <a:gd name="connsiteX16-429" fmla="*/ 0 w 1320185"/>
              <a:gd name="connsiteY16-430" fmla="*/ 101387 h 1032660"/>
              <a:gd name="connsiteX17-431" fmla="*/ 101387 w 1320185"/>
              <a:gd name="connsiteY17-432" fmla="*/ 0 h 1032660"/>
              <a:gd name="connsiteX0-433" fmla="*/ 1320185 w 1320185"/>
              <a:gd name="connsiteY0-434" fmla="*/ 293173 h 1032660"/>
              <a:gd name="connsiteX1-435" fmla="*/ 1320185 w 1320185"/>
              <a:gd name="connsiteY1-436" fmla="*/ 931273 h 1032660"/>
              <a:gd name="connsiteX2-437" fmla="*/ 1218798 w 1320185"/>
              <a:gd name="connsiteY2-438" fmla="*/ 1032660 h 1032660"/>
              <a:gd name="connsiteX3-439" fmla="*/ 101387 w 1320185"/>
              <a:gd name="connsiteY3-440" fmla="*/ 1032660 h 1032660"/>
              <a:gd name="connsiteX4-441" fmla="*/ 0 w 1320185"/>
              <a:gd name="connsiteY4-442" fmla="*/ 931273 h 1032660"/>
              <a:gd name="connsiteX5-443" fmla="*/ 0 w 1320185"/>
              <a:gd name="connsiteY5-444" fmla="*/ 305565 h 1032660"/>
              <a:gd name="connsiteX6-445" fmla="*/ 554030 w 1320185"/>
              <a:gd name="connsiteY6-446" fmla="*/ 697905 h 1032660"/>
              <a:gd name="connsiteX7-447" fmla="*/ 761199 w 1320185"/>
              <a:gd name="connsiteY7-448" fmla="*/ 697905 h 1032660"/>
              <a:gd name="connsiteX8-449" fmla="*/ 1320185 w 1320185"/>
              <a:gd name="connsiteY8-450" fmla="*/ 293173 h 1032660"/>
              <a:gd name="connsiteX9-451" fmla="*/ 101387 w 1320185"/>
              <a:gd name="connsiteY9-452" fmla="*/ 0 h 1032660"/>
              <a:gd name="connsiteX10-453" fmla="*/ 1218798 w 1320185"/>
              <a:gd name="connsiteY10-454" fmla="*/ 0 h 1032660"/>
              <a:gd name="connsiteX11-455" fmla="*/ 1320185 w 1320185"/>
              <a:gd name="connsiteY11-456" fmla="*/ 101387 h 1032660"/>
              <a:gd name="connsiteX12-457" fmla="*/ 1320185 w 1320185"/>
              <a:gd name="connsiteY12-458" fmla="*/ 214265 h 1032660"/>
              <a:gd name="connsiteX13-459" fmla="*/ 763579 w 1320185"/>
              <a:gd name="connsiteY13-460" fmla="*/ 609798 h 1032660"/>
              <a:gd name="connsiteX14-461" fmla="*/ 554030 w 1320185"/>
              <a:gd name="connsiteY14-462" fmla="*/ 612180 h 1032660"/>
              <a:gd name="connsiteX15-463" fmla="*/ 0 w 1320185"/>
              <a:gd name="connsiteY15-464" fmla="*/ 212707 h 1032660"/>
              <a:gd name="connsiteX16-465" fmla="*/ 0 w 1320185"/>
              <a:gd name="connsiteY16-466" fmla="*/ 101387 h 1032660"/>
              <a:gd name="connsiteX17-467" fmla="*/ 101387 w 1320185"/>
              <a:gd name="connsiteY17-468" fmla="*/ 0 h 1032660"/>
              <a:gd name="connsiteX0-469" fmla="*/ 1320185 w 1320185"/>
              <a:gd name="connsiteY0-470" fmla="*/ 293173 h 1032660"/>
              <a:gd name="connsiteX1-471" fmla="*/ 1320185 w 1320185"/>
              <a:gd name="connsiteY1-472" fmla="*/ 931273 h 1032660"/>
              <a:gd name="connsiteX2-473" fmla="*/ 1218798 w 1320185"/>
              <a:gd name="connsiteY2-474" fmla="*/ 1032660 h 1032660"/>
              <a:gd name="connsiteX3-475" fmla="*/ 101387 w 1320185"/>
              <a:gd name="connsiteY3-476" fmla="*/ 1032660 h 1032660"/>
              <a:gd name="connsiteX4-477" fmla="*/ 0 w 1320185"/>
              <a:gd name="connsiteY4-478" fmla="*/ 931273 h 1032660"/>
              <a:gd name="connsiteX5-479" fmla="*/ 0 w 1320185"/>
              <a:gd name="connsiteY5-480" fmla="*/ 305565 h 1032660"/>
              <a:gd name="connsiteX6-481" fmla="*/ 554030 w 1320185"/>
              <a:gd name="connsiteY6-482" fmla="*/ 697905 h 1032660"/>
              <a:gd name="connsiteX7-483" fmla="*/ 761199 w 1320185"/>
              <a:gd name="connsiteY7-484" fmla="*/ 697905 h 1032660"/>
              <a:gd name="connsiteX8-485" fmla="*/ 1320185 w 1320185"/>
              <a:gd name="connsiteY8-486" fmla="*/ 293173 h 1032660"/>
              <a:gd name="connsiteX9-487" fmla="*/ 101387 w 1320185"/>
              <a:gd name="connsiteY9-488" fmla="*/ 0 h 1032660"/>
              <a:gd name="connsiteX10-489" fmla="*/ 1218798 w 1320185"/>
              <a:gd name="connsiteY10-490" fmla="*/ 0 h 1032660"/>
              <a:gd name="connsiteX11-491" fmla="*/ 1320185 w 1320185"/>
              <a:gd name="connsiteY11-492" fmla="*/ 101387 h 1032660"/>
              <a:gd name="connsiteX12-493" fmla="*/ 1320185 w 1320185"/>
              <a:gd name="connsiteY12-494" fmla="*/ 214265 h 1032660"/>
              <a:gd name="connsiteX13-495" fmla="*/ 763579 w 1320185"/>
              <a:gd name="connsiteY13-496" fmla="*/ 609798 h 1032660"/>
              <a:gd name="connsiteX14-497" fmla="*/ 561173 w 1320185"/>
              <a:gd name="connsiteY14-498" fmla="*/ 614562 h 1032660"/>
              <a:gd name="connsiteX15-499" fmla="*/ 0 w 1320185"/>
              <a:gd name="connsiteY15-500" fmla="*/ 212707 h 1032660"/>
              <a:gd name="connsiteX16-501" fmla="*/ 0 w 1320185"/>
              <a:gd name="connsiteY16-502" fmla="*/ 101387 h 1032660"/>
              <a:gd name="connsiteX17-503" fmla="*/ 101387 w 1320185"/>
              <a:gd name="connsiteY17-504" fmla="*/ 0 h 1032660"/>
              <a:gd name="connsiteX0-505" fmla="*/ 1320185 w 1320185"/>
              <a:gd name="connsiteY0-506" fmla="*/ 293173 h 1032660"/>
              <a:gd name="connsiteX1-507" fmla="*/ 1320185 w 1320185"/>
              <a:gd name="connsiteY1-508" fmla="*/ 931273 h 1032660"/>
              <a:gd name="connsiteX2-509" fmla="*/ 1218798 w 1320185"/>
              <a:gd name="connsiteY2-510" fmla="*/ 1032660 h 1032660"/>
              <a:gd name="connsiteX3-511" fmla="*/ 101387 w 1320185"/>
              <a:gd name="connsiteY3-512" fmla="*/ 1032660 h 1032660"/>
              <a:gd name="connsiteX4-513" fmla="*/ 0 w 1320185"/>
              <a:gd name="connsiteY4-514" fmla="*/ 931273 h 1032660"/>
              <a:gd name="connsiteX5-515" fmla="*/ 0 w 1320185"/>
              <a:gd name="connsiteY5-516" fmla="*/ 305565 h 1032660"/>
              <a:gd name="connsiteX6-517" fmla="*/ 554030 w 1320185"/>
              <a:gd name="connsiteY6-518" fmla="*/ 697905 h 1032660"/>
              <a:gd name="connsiteX7-519" fmla="*/ 761199 w 1320185"/>
              <a:gd name="connsiteY7-520" fmla="*/ 697905 h 1032660"/>
              <a:gd name="connsiteX8-521" fmla="*/ 1320185 w 1320185"/>
              <a:gd name="connsiteY8-522" fmla="*/ 293173 h 1032660"/>
              <a:gd name="connsiteX9-523" fmla="*/ 101387 w 1320185"/>
              <a:gd name="connsiteY9-524" fmla="*/ 0 h 1032660"/>
              <a:gd name="connsiteX10-525" fmla="*/ 1218798 w 1320185"/>
              <a:gd name="connsiteY10-526" fmla="*/ 0 h 1032660"/>
              <a:gd name="connsiteX11-527" fmla="*/ 1320185 w 1320185"/>
              <a:gd name="connsiteY11-528" fmla="*/ 101387 h 1032660"/>
              <a:gd name="connsiteX12-529" fmla="*/ 1320185 w 1320185"/>
              <a:gd name="connsiteY12-530" fmla="*/ 214265 h 1032660"/>
              <a:gd name="connsiteX13-531" fmla="*/ 763579 w 1320185"/>
              <a:gd name="connsiteY13-532" fmla="*/ 609798 h 1032660"/>
              <a:gd name="connsiteX14-533" fmla="*/ 556411 w 1320185"/>
              <a:gd name="connsiteY14-534" fmla="*/ 607418 h 1032660"/>
              <a:gd name="connsiteX15-535" fmla="*/ 0 w 1320185"/>
              <a:gd name="connsiteY15-536" fmla="*/ 212707 h 1032660"/>
              <a:gd name="connsiteX16-537" fmla="*/ 0 w 1320185"/>
              <a:gd name="connsiteY16-538" fmla="*/ 101387 h 1032660"/>
              <a:gd name="connsiteX17-539" fmla="*/ 101387 w 1320185"/>
              <a:gd name="connsiteY17-540" fmla="*/ 0 h 103266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</a:cxnLst>
            <a:rect l="l" t="t" r="r" b="b"/>
            <a:pathLst>
              <a:path w="1320185" h="1032660">
                <a:moveTo>
                  <a:pt x="1320185" y="293173"/>
                </a:moveTo>
                <a:lnTo>
                  <a:pt x="1320185" y="931273"/>
                </a:lnTo>
                <a:cubicBezTo>
                  <a:pt x="1320185" y="987267"/>
                  <a:pt x="1274792" y="1032660"/>
                  <a:pt x="1218798" y="1032660"/>
                </a:cubicBezTo>
                <a:lnTo>
                  <a:pt x="101387" y="1032660"/>
                </a:lnTo>
                <a:cubicBezTo>
                  <a:pt x="45393" y="1032660"/>
                  <a:pt x="0" y="987267"/>
                  <a:pt x="0" y="931273"/>
                </a:cubicBezTo>
                <a:lnTo>
                  <a:pt x="0" y="305565"/>
                </a:lnTo>
                <a:lnTo>
                  <a:pt x="554030" y="697905"/>
                </a:lnTo>
                <a:cubicBezTo>
                  <a:pt x="620706" y="736007"/>
                  <a:pt x="701666" y="736005"/>
                  <a:pt x="761199" y="697905"/>
                </a:cubicBezTo>
                <a:cubicBezTo>
                  <a:pt x="890464" y="610576"/>
                  <a:pt x="1222984" y="376757"/>
                  <a:pt x="1320185" y="293173"/>
                </a:cubicBezTo>
                <a:close/>
                <a:moveTo>
                  <a:pt x="101387" y="0"/>
                </a:moveTo>
                <a:lnTo>
                  <a:pt x="1218798" y="0"/>
                </a:lnTo>
                <a:cubicBezTo>
                  <a:pt x="1274792" y="0"/>
                  <a:pt x="1320185" y="45393"/>
                  <a:pt x="1320185" y="101387"/>
                </a:cubicBezTo>
                <a:lnTo>
                  <a:pt x="1320185" y="214265"/>
                </a:lnTo>
                <a:lnTo>
                  <a:pt x="763579" y="609798"/>
                </a:lnTo>
                <a:cubicBezTo>
                  <a:pt x="705634" y="650279"/>
                  <a:pt x="626262" y="659805"/>
                  <a:pt x="556411" y="607418"/>
                </a:cubicBezTo>
                <a:lnTo>
                  <a:pt x="0" y="212707"/>
                </a:lnTo>
                <a:lnTo>
                  <a:pt x="0" y="101387"/>
                </a:lnTo>
                <a:cubicBezTo>
                  <a:pt x="0" y="45393"/>
                  <a:pt x="45393" y="0"/>
                  <a:pt x="101387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45713" rIns="45713" bIns="91427" numCol="1" spcCol="0" rtlCol="0" fromWordArt="0" anchor="b" anchorCtr="0" forceAA="0" compatLnSpc="1">
            <a:noAutofit/>
          </a:bodyPr>
          <a:lstStyle/>
          <a:p>
            <a:pPr algn="ctr" defTabSz="91313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spc="-50" dirty="0" err="1">
              <a:ln>
                <a:solidFill>
                  <a:schemeClr val="tx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Rounded Rectangular Callout 81"/>
          <p:cNvSpPr/>
          <p:nvPr/>
        </p:nvSpPr>
        <p:spPr bwMode="auto">
          <a:xfrm>
            <a:off x="3050596" y="1737988"/>
            <a:ext cx="570652" cy="587525"/>
          </a:xfrm>
          <a:custGeom>
            <a:avLst/>
            <a:gdLst/>
            <a:ahLst/>
            <a:cxnLst/>
            <a:rect l="l" t="t" r="r" b="b"/>
            <a:pathLst>
              <a:path w="783771" h="806947">
                <a:moveTo>
                  <a:pt x="235709" y="335970"/>
                </a:moveTo>
                <a:cubicBezTo>
                  <a:pt x="211492" y="335970"/>
                  <a:pt x="191860" y="355602"/>
                  <a:pt x="191860" y="379819"/>
                </a:cubicBezTo>
                <a:cubicBezTo>
                  <a:pt x="191860" y="379819"/>
                  <a:pt x="191860" y="379818"/>
                  <a:pt x="191860" y="379818"/>
                </a:cubicBezTo>
                <a:lnTo>
                  <a:pt x="191860" y="379819"/>
                </a:lnTo>
                <a:lnTo>
                  <a:pt x="191860" y="379819"/>
                </a:lnTo>
                <a:cubicBezTo>
                  <a:pt x="191860" y="404036"/>
                  <a:pt x="211492" y="423667"/>
                  <a:pt x="235709" y="423667"/>
                </a:cubicBezTo>
                <a:lnTo>
                  <a:pt x="548063" y="423668"/>
                </a:lnTo>
                <a:cubicBezTo>
                  <a:pt x="572280" y="423668"/>
                  <a:pt x="591912" y="404036"/>
                  <a:pt x="591912" y="379819"/>
                </a:cubicBezTo>
                <a:lnTo>
                  <a:pt x="591913" y="379819"/>
                </a:lnTo>
                <a:cubicBezTo>
                  <a:pt x="591913" y="355602"/>
                  <a:pt x="572281" y="335970"/>
                  <a:pt x="548064" y="335970"/>
                </a:cubicBezTo>
                <a:close/>
                <a:moveTo>
                  <a:pt x="183186" y="177697"/>
                </a:moveTo>
                <a:cubicBezTo>
                  <a:pt x="158969" y="177697"/>
                  <a:pt x="139337" y="197329"/>
                  <a:pt x="139337" y="221546"/>
                </a:cubicBezTo>
                <a:cubicBezTo>
                  <a:pt x="139337" y="245763"/>
                  <a:pt x="158969" y="265394"/>
                  <a:pt x="183186" y="265394"/>
                </a:cubicBezTo>
                <a:lnTo>
                  <a:pt x="600585" y="265395"/>
                </a:lnTo>
                <a:cubicBezTo>
                  <a:pt x="624802" y="265395"/>
                  <a:pt x="644434" y="245763"/>
                  <a:pt x="644434" y="221546"/>
                </a:cubicBezTo>
                <a:lnTo>
                  <a:pt x="644435" y="221546"/>
                </a:lnTo>
                <a:cubicBezTo>
                  <a:pt x="644435" y="197329"/>
                  <a:pt x="624803" y="177697"/>
                  <a:pt x="600586" y="177697"/>
                </a:cubicBezTo>
                <a:close/>
                <a:moveTo>
                  <a:pt x="100197" y="0"/>
                </a:moveTo>
                <a:lnTo>
                  <a:pt x="130629" y="0"/>
                </a:lnTo>
                <a:lnTo>
                  <a:pt x="326571" y="0"/>
                </a:lnTo>
                <a:lnTo>
                  <a:pt x="683574" y="0"/>
                </a:lnTo>
                <a:cubicBezTo>
                  <a:pt x="738911" y="0"/>
                  <a:pt x="783771" y="44860"/>
                  <a:pt x="783771" y="100197"/>
                </a:cubicBezTo>
                <a:lnTo>
                  <a:pt x="783771" y="350684"/>
                </a:lnTo>
                <a:lnTo>
                  <a:pt x="783771" y="500975"/>
                </a:lnTo>
                <a:cubicBezTo>
                  <a:pt x="783771" y="556312"/>
                  <a:pt x="738911" y="601172"/>
                  <a:pt x="683574" y="601172"/>
                </a:cubicBezTo>
                <a:lnTo>
                  <a:pt x="326571" y="601172"/>
                </a:lnTo>
                <a:lnTo>
                  <a:pt x="54433" y="806947"/>
                </a:lnTo>
                <a:lnTo>
                  <a:pt x="130629" y="601172"/>
                </a:lnTo>
                <a:lnTo>
                  <a:pt x="100197" y="601172"/>
                </a:lnTo>
                <a:cubicBezTo>
                  <a:pt x="44860" y="601172"/>
                  <a:pt x="0" y="556312"/>
                  <a:pt x="0" y="500975"/>
                </a:cubicBezTo>
                <a:lnTo>
                  <a:pt x="0" y="350684"/>
                </a:lnTo>
                <a:lnTo>
                  <a:pt x="0" y="100197"/>
                </a:lnTo>
                <a:cubicBezTo>
                  <a:pt x="0" y="44860"/>
                  <a:pt x="44860" y="0"/>
                  <a:pt x="100197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27" tIns="45713" rIns="45713" bIns="91427" numCol="1" spcCol="0" rtlCol="0" fromWordArt="0" anchor="b" anchorCtr="0" forceAA="0" compatLnSpc="1">
            <a:noAutofit/>
          </a:bodyPr>
          <a:lstStyle/>
          <a:p>
            <a:pPr algn="ctr" defTabSz="91313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spc="-50" dirty="0" err="1">
              <a:ln>
                <a:solidFill>
                  <a:schemeClr val="tx1">
                    <a:alpha val="0"/>
                  </a:schemeClr>
                </a:solidFill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Rounded Rectangle 100"/>
          <p:cNvSpPr/>
          <p:nvPr>
            <p:custDataLst>
              <p:tags r:id="rId1"/>
            </p:custDataLst>
          </p:nvPr>
        </p:nvSpPr>
        <p:spPr bwMode="auto">
          <a:xfrm>
            <a:off x="1729342" y="2932750"/>
            <a:ext cx="720080" cy="502257"/>
          </a:xfrm>
          <a:custGeom>
            <a:avLst/>
            <a:gdLst/>
            <a:ahLst/>
            <a:cxnLst/>
            <a:rect l="l" t="t" r="r" b="b"/>
            <a:pathLst>
              <a:path w="2489828" h="1736658">
                <a:moveTo>
                  <a:pt x="1355416" y="1347324"/>
                </a:moveTo>
                <a:lnTo>
                  <a:pt x="1341361" y="1364359"/>
                </a:lnTo>
                <a:cubicBezTo>
                  <a:pt x="1338975" y="1363255"/>
                  <a:pt x="1337389" y="1362710"/>
                  <a:pt x="1338454" y="1359514"/>
                </a:cubicBezTo>
                <a:cubicBezTo>
                  <a:pt x="1339738" y="1355661"/>
                  <a:pt x="1343591" y="1353094"/>
                  <a:pt x="1347444" y="1350525"/>
                </a:cubicBezTo>
                <a:cubicBezTo>
                  <a:pt x="1350183" y="1349156"/>
                  <a:pt x="1352921" y="1348517"/>
                  <a:pt x="1355416" y="1347324"/>
                </a:cubicBezTo>
                <a:close/>
                <a:moveTo>
                  <a:pt x="1367094" y="1326896"/>
                </a:moveTo>
                <a:lnTo>
                  <a:pt x="1367848" y="1327412"/>
                </a:lnTo>
                <a:cubicBezTo>
                  <a:pt x="1367397" y="1329533"/>
                  <a:pt x="1366290" y="1331232"/>
                  <a:pt x="1365170" y="1332923"/>
                </a:cubicBezTo>
                <a:cubicBezTo>
                  <a:pt x="1366081" y="1331614"/>
                  <a:pt x="1366343" y="1330154"/>
                  <a:pt x="1366708" y="1328694"/>
                </a:cubicBezTo>
                <a:close/>
                <a:moveTo>
                  <a:pt x="1425858" y="1165049"/>
                </a:moveTo>
                <a:cubicBezTo>
                  <a:pt x="1426272" y="1184566"/>
                  <a:pt x="1422052" y="1203165"/>
                  <a:pt x="1416359" y="1221185"/>
                </a:cubicBezTo>
                <a:lnTo>
                  <a:pt x="1362623" y="1257938"/>
                </a:lnTo>
                <a:cubicBezTo>
                  <a:pt x="1362614" y="1257515"/>
                  <a:pt x="1362734" y="1257141"/>
                  <a:pt x="1362855" y="1256779"/>
                </a:cubicBezTo>
                <a:cubicBezTo>
                  <a:pt x="1364139" y="1254210"/>
                  <a:pt x="1366708" y="1254210"/>
                  <a:pt x="1367992" y="1251642"/>
                </a:cubicBezTo>
                <a:cubicBezTo>
                  <a:pt x="1369276" y="1250358"/>
                  <a:pt x="1369276" y="1247790"/>
                  <a:pt x="1370561" y="1246506"/>
                </a:cubicBezTo>
                <a:cubicBezTo>
                  <a:pt x="1373129" y="1242653"/>
                  <a:pt x="1376981" y="1240084"/>
                  <a:pt x="1380834" y="1236232"/>
                </a:cubicBezTo>
                <a:cubicBezTo>
                  <a:pt x="1384687" y="1232379"/>
                  <a:pt x="1388539" y="1227243"/>
                  <a:pt x="1392392" y="1222106"/>
                </a:cubicBezTo>
                <a:cubicBezTo>
                  <a:pt x="1393676" y="1219538"/>
                  <a:pt x="1393676" y="1216969"/>
                  <a:pt x="1394961" y="1215685"/>
                </a:cubicBezTo>
                <a:cubicBezTo>
                  <a:pt x="1398814" y="1209264"/>
                  <a:pt x="1406519" y="1206696"/>
                  <a:pt x="1411656" y="1201559"/>
                </a:cubicBezTo>
                <a:cubicBezTo>
                  <a:pt x="1414224" y="1197706"/>
                  <a:pt x="1414224" y="1195138"/>
                  <a:pt x="1414224" y="1191285"/>
                </a:cubicBezTo>
                <a:cubicBezTo>
                  <a:pt x="1414224" y="1186148"/>
                  <a:pt x="1415509" y="1183580"/>
                  <a:pt x="1418077" y="1178444"/>
                </a:cubicBezTo>
                <a:cubicBezTo>
                  <a:pt x="1419361" y="1175875"/>
                  <a:pt x="1421930" y="1173307"/>
                  <a:pt x="1423214" y="1169454"/>
                </a:cubicBezTo>
                <a:close/>
                <a:moveTo>
                  <a:pt x="1427937" y="1152759"/>
                </a:moveTo>
                <a:lnTo>
                  <a:pt x="1428351" y="1152759"/>
                </a:lnTo>
                <a:lnTo>
                  <a:pt x="1427067" y="1163033"/>
                </a:lnTo>
                <a:cubicBezTo>
                  <a:pt x="1426714" y="1163740"/>
                  <a:pt x="1426360" y="1164446"/>
                  <a:pt x="1425858" y="1165049"/>
                </a:cubicBezTo>
                <a:close/>
                <a:moveTo>
                  <a:pt x="799274" y="1104029"/>
                </a:moveTo>
                <a:cubicBezTo>
                  <a:pt x="796686" y="1103387"/>
                  <a:pt x="794098" y="1104029"/>
                  <a:pt x="792804" y="1106598"/>
                </a:cubicBezTo>
                <a:cubicBezTo>
                  <a:pt x="791510" y="1107884"/>
                  <a:pt x="792804" y="1109168"/>
                  <a:pt x="791510" y="1110453"/>
                </a:cubicBezTo>
                <a:lnTo>
                  <a:pt x="787628" y="1110453"/>
                </a:lnTo>
                <a:cubicBezTo>
                  <a:pt x="786334" y="1110453"/>
                  <a:pt x="785040" y="1109168"/>
                  <a:pt x="783745" y="1109168"/>
                </a:cubicBezTo>
                <a:lnTo>
                  <a:pt x="781158" y="1113022"/>
                </a:lnTo>
                <a:lnTo>
                  <a:pt x="786334" y="1114307"/>
                </a:lnTo>
                <a:cubicBezTo>
                  <a:pt x="788922" y="1114307"/>
                  <a:pt x="791510" y="1113022"/>
                  <a:pt x="795392" y="1113022"/>
                </a:cubicBezTo>
                <a:cubicBezTo>
                  <a:pt x="797980" y="1113022"/>
                  <a:pt x="801862" y="1115591"/>
                  <a:pt x="804450" y="1114307"/>
                </a:cubicBezTo>
                <a:cubicBezTo>
                  <a:pt x="807038" y="1113022"/>
                  <a:pt x="807038" y="1110453"/>
                  <a:pt x="805745" y="1109168"/>
                </a:cubicBezTo>
                <a:cubicBezTo>
                  <a:pt x="804450" y="1106598"/>
                  <a:pt x="801862" y="1104672"/>
                  <a:pt x="799274" y="1104029"/>
                </a:cubicBezTo>
                <a:close/>
                <a:moveTo>
                  <a:pt x="737364" y="1082105"/>
                </a:moveTo>
                <a:cubicBezTo>
                  <a:pt x="734797" y="1082105"/>
                  <a:pt x="733514" y="1082105"/>
                  <a:pt x="733514" y="1083404"/>
                </a:cubicBezTo>
                <a:cubicBezTo>
                  <a:pt x="730947" y="1087299"/>
                  <a:pt x="737364" y="1086000"/>
                  <a:pt x="738647" y="1086000"/>
                </a:cubicBezTo>
                <a:cubicBezTo>
                  <a:pt x="741214" y="1086000"/>
                  <a:pt x="742497" y="1084702"/>
                  <a:pt x="745063" y="1084702"/>
                </a:cubicBezTo>
                <a:cubicBezTo>
                  <a:pt x="746347" y="1086000"/>
                  <a:pt x="748913" y="1087299"/>
                  <a:pt x="751480" y="1088597"/>
                </a:cubicBezTo>
                <a:cubicBezTo>
                  <a:pt x="755330" y="1092492"/>
                  <a:pt x="760463" y="1096388"/>
                  <a:pt x="764313" y="1100283"/>
                </a:cubicBezTo>
                <a:cubicBezTo>
                  <a:pt x="766879" y="1102879"/>
                  <a:pt x="769446" y="1104178"/>
                  <a:pt x="773295" y="1104178"/>
                </a:cubicBezTo>
                <a:cubicBezTo>
                  <a:pt x="775862" y="1104178"/>
                  <a:pt x="777145" y="1101581"/>
                  <a:pt x="775862" y="1098984"/>
                </a:cubicBezTo>
                <a:cubicBezTo>
                  <a:pt x="773295" y="1097686"/>
                  <a:pt x="770729" y="1096388"/>
                  <a:pt x="768163" y="1095089"/>
                </a:cubicBezTo>
                <a:cubicBezTo>
                  <a:pt x="761746" y="1092492"/>
                  <a:pt x="755330" y="1088597"/>
                  <a:pt x="750197" y="1084702"/>
                </a:cubicBezTo>
                <a:cubicBezTo>
                  <a:pt x="747630" y="1083404"/>
                  <a:pt x="745063" y="1082105"/>
                  <a:pt x="742497" y="1082105"/>
                </a:cubicBezTo>
                <a:close/>
                <a:moveTo>
                  <a:pt x="1335565" y="1042800"/>
                </a:moveTo>
                <a:lnTo>
                  <a:pt x="1341023" y="1043603"/>
                </a:lnTo>
                <a:cubicBezTo>
                  <a:pt x="1343591" y="1046172"/>
                  <a:pt x="1347444" y="1050024"/>
                  <a:pt x="1348728" y="1053877"/>
                </a:cubicBezTo>
                <a:cubicBezTo>
                  <a:pt x="1350013" y="1056445"/>
                  <a:pt x="1350013" y="1059014"/>
                  <a:pt x="1352581" y="1062866"/>
                </a:cubicBezTo>
                <a:cubicBezTo>
                  <a:pt x="1353865" y="1065434"/>
                  <a:pt x="1355149" y="1066719"/>
                  <a:pt x="1356433" y="1071856"/>
                </a:cubicBezTo>
                <a:cubicBezTo>
                  <a:pt x="1357718" y="1075708"/>
                  <a:pt x="1359002" y="1078276"/>
                  <a:pt x="1361571" y="1080845"/>
                </a:cubicBezTo>
                <a:cubicBezTo>
                  <a:pt x="1364139" y="1084697"/>
                  <a:pt x="1364139" y="1088550"/>
                  <a:pt x="1365423" y="1092402"/>
                </a:cubicBezTo>
                <a:cubicBezTo>
                  <a:pt x="1365423" y="1096255"/>
                  <a:pt x="1367992" y="1096255"/>
                  <a:pt x="1369276" y="1100108"/>
                </a:cubicBezTo>
                <a:cubicBezTo>
                  <a:pt x="1370561" y="1102676"/>
                  <a:pt x="1370561" y="1106528"/>
                  <a:pt x="1373129" y="1110381"/>
                </a:cubicBezTo>
                <a:cubicBezTo>
                  <a:pt x="1374413" y="1114234"/>
                  <a:pt x="1378266" y="1114234"/>
                  <a:pt x="1380834" y="1116802"/>
                </a:cubicBezTo>
                <a:cubicBezTo>
                  <a:pt x="1383403" y="1120655"/>
                  <a:pt x="1382118" y="1125791"/>
                  <a:pt x="1382118" y="1129644"/>
                </a:cubicBezTo>
                <a:cubicBezTo>
                  <a:pt x="1380834" y="1137349"/>
                  <a:pt x="1384687" y="1142486"/>
                  <a:pt x="1392392" y="1143770"/>
                </a:cubicBezTo>
                <a:cubicBezTo>
                  <a:pt x="1397529" y="1145054"/>
                  <a:pt x="1401382" y="1142486"/>
                  <a:pt x="1405234" y="1142486"/>
                </a:cubicBezTo>
                <a:cubicBezTo>
                  <a:pt x="1409087" y="1141202"/>
                  <a:pt x="1412940" y="1142486"/>
                  <a:pt x="1416793" y="1141202"/>
                </a:cubicBezTo>
                <a:lnTo>
                  <a:pt x="1420646" y="1134781"/>
                </a:lnTo>
                <a:cubicBezTo>
                  <a:pt x="1423214" y="1133497"/>
                  <a:pt x="1427067" y="1136065"/>
                  <a:pt x="1429635" y="1132213"/>
                </a:cubicBezTo>
                <a:lnTo>
                  <a:pt x="1430919" y="1125791"/>
                </a:lnTo>
                <a:lnTo>
                  <a:pt x="1432822" y="1123889"/>
                </a:lnTo>
                <a:lnTo>
                  <a:pt x="1427937" y="1152759"/>
                </a:lnTo>
                <a:cubicBezTo>
                  <a:pt x="1426944" y="1150253"/>
                  <a:pt x="1424467" y="1151506"/>
                  <a:pt x="1423214" y="1152759"/>
                </a:cubicBezTo>
                <a:cubicBezTo>
                  <a:pt x="1420646" y="1155328"/>
                  <a:pt x="1419361" y="1155328"/>
                  <a:pt x="1415509" y="1156612"/>
                </a:cubicBezTo>
                <a:lnTo>
                  <a:pt x="1410372" y="1156612"/>
                </a:lnTo>
                <a:cubicBezTo>
                  <a:pt x="1409087" y="1156612"/>
                  <a:pt x="1409087" y="1157896"/>
                  <a:pt x="1407803" y="1159181"/>
                </a:cubicBezTo>
                <a:cubicBezTo>
                  <a:pt x="1403951" y="1160465"/>
                  <a:pt x="1400098" y="1159181"/>
                  <a:pt x="1396245" y="1159181"/>
                </a:cubicBezTo>
                <a:lnTo>
                  <a:pt x="1389824" y="1159181"/>
                </a:lnTo>
                <a:cubicBezTo>
                  <a:pt x="1387256" y="1157896"/>
                  <a:pt x="1387256" y="1156612"/>
                  <a:pt x="1385971" y="1154044"/>
                </a:cubicBezTo>
                <a:cubicBezTo>
                  <a:pt x="1383403" y="1146339"/>
                  <a:pt x="1376981" y="1142486"/>
                  <a:pt x="1373129" y="1136065"/>
                </a:cubicBezTo>
                <a:cubicBezTo>
                  <a:pt x="1369276" y="1128360"/>
                  <a:pt x="1362855" y="1120655"/>
                  <a:pt x="1361571" y="1112950"/>
                </a:cubicBezTo>
                <a:cubicBezTo>
                  <a:pt x="1360286" y="1107813"/>
                  <a:pt x="1360286" y="1102676"/>
                  <a:pt x="1357718" y="1097539"/>
                </a:cubicBezTo>
                <a:cubicBezTo>
                  <a:pt x="1353865" y="1091119"/>
                  <a:pt x="1347444" y="1084697"/>
                  <a:pt x="1344876" y="1076993"/>
                </a:cubicBezTo>
                <a:lnTo>
                  <a:pt x="1343591" y="1065434"/>
                </a:lnTo>
                <a:cubicBezTo>
                  <a:pt x="1342307" y="1062866"/>
                  <a:pt x="1339738" y="1059014"/>
                  <a:pt x="1338454" y="1055161"/>
                </a:cubicBezTo>
                <a:cubicBezTo>
                  <a:pt x="1337170" y="1053877"/>
                  <a:pt x="1330749" y="1047456"/>
                  <a:pt x="1332033" y="1044888"/>
                </a:cubicBezTo>
                <a:close/>
                <a:moveTo>
                  <a:pt x="1419361" y="1034614"/>
                </a:moveTo>
                <a:cubicBezTo>
                  <a:pt x="1421930" y="1038466"/>
                  <a:pt x="1421930" y="1043603"/>
                  <a:pt x="1424498" y="1047456"/>
                </a:cubicBezTo>
                <a:cubicBezTo>
                  <a:pt x="1425962" y="1051116"/>
                  <a:pt x="1428261" y="1052690"/>
                  <a:pt x="1431200" y="1053177"/>
                </a:cubicBezTo>
                <a:lnTo>
                  <a:pt x="1433627" y="1077251"/>
                </a:lnTo>
                <a:lnTo>
                  <a:pt x="1423214" y="1071856"/>
                </a:lnTo>
                <a:cubicBezTo>
                  <a:pt x="1420646" y="1069287"/>
                  <a:pt x="1419361" y="1066719"/>
                  <a:pt x="1418077" y="1064150"/>
                </a:cubicBezTo>
                <a:cubicBezTo>
                  <a:pt x="1418077" y="1061582"/>
                  <a:pt x="1418077" y="1059014"/>
                  <a:pt x="1418077" y="1056445"/>
                </a:cubicBezTo>
                <a:cubicBezTo>
                  <a:pt x="1416793" y="1052593"/>
                  <a:pt x="1414224" y="1050024"/>
                  <a:pt x="1411656" y="1047456"/>
                </a:cubicBezTo>
                <a:cubicBezTo>
                  <a:pt x="1409087" y="1046172"/>
                  <a:pt x="1409087" y="1043603"/>
                  <a:pt x="1407803" y="1041035"/>
                </a:cubicBezTo>
                <a:cubicBezTo>
                  <a:pt x="1407803" y="1035898"/>
                  <a:pt x="1414224" y="1032046"/>
                  <a:pt x="1419361" y="1034614"/>
                </a:cubicBezTo>
                <a:close/>
                <a:moveTo>
                  <a:pt x="586040" y="1028332"/>
                </a:moveTo>
                <a:cubicBezTo>
                  <a:pt x="588608" y="1030899"/>
                  <a:pt x="589892" y="1034750"/>
                  <a:pt x="591176" y="1037317"/>
                </a:cubicBezTo>
                <a:cubicBezTo>
                  <a:pt x="593743" y="1039884"/>
                  <a:pt x="596311" y="1043735"/>
                  <a:pt x="598879" y="1047586"/>
                </a:cubicBezTo>
                <a:cubicBezTo>
                  <a:pt x="604014" y="1056571"/>
                  <a:pt x="607866" y="1065556"/>
                  <a:pt x="613001" y="1074541"/>
                </a:cubicBezTo>
                <a:lnTo>
                  <a:pt x="618136" y="1079675"/>
                </a:lnTo>
                <a:cubicBezTo>
                  <a:pt x="619420" y="1082242"/>
                  <a:pt x="619420" y="1082242"/>
                  <a:pt x="620704" y="1084809"/>
                </a:cubicBezTo>
                <a:cubicBezTo>
                  <a:pt x="621987" y="1087376"/>
                  <a:pt x="623271" y="1088660"/>
                  <a:pt x="623271" y="1091227"/>
                </a:cubicBezTo>
                <a:cubicBezTo>
                  <a:pt x="624555" y="1095078"/>
                  <a:pt x="623271" y="1098929"/>
                  <a:pt x="623271" y="1102779"/>
                </a:cubicBezTo>
                <a:lnTo>
                  <a:pt x="628406" y="1113048"/>
                </a:lnTo>
                <a:cubicBezTo>
                  <a:pt x="630974" y="1115615"/>
                  <a:pt x="633542" y="1115615"/>
                  <a:pt x="637393" y="1116899"/>
                </a:cubicBezTo>
                <a:cubicBezTo>
                  <a:pt x="638677" y="1118182"/>
                  <a:pt x="639961" y="1120750"/>
                  <a:pt x="642528" y="1120750"/>
                </a:cubicBezTo>
                <a:cubicBezTo>
                  <a:pt x="643812" y="1122033"/>
                  <a:pt x="646380" y="1120750"/>
                  <a:pt x="647664" y="1122033"/>
                </a:cubicBezTo>
                <a:cubicBezTo>
                  <a:pt x="648948" y="1123317"/>
                  <a:pt x="648948" y="1124600"/>
                  <a:pt x="650231" y="1124600"/>
                </a:cubicBezTo>
                <a:cubicBezTo>
                  <a:pt x="652800" y="1127167"/>
                  <a:pt x="654083" y="1129735"/>
                  <a:pt x="657935" y="1131018"/>
                </a:cubicBezTo>
                <a:cubicBezTo>
                  <a:pt x="661786" y="1132302"/>
                  <a:pt x="668206" y="1132302"/>
                  <a:pt x="672057" y="1131018"/>
                </a:cubicBezTo>
                <a:cubicBezTo>
                  <a:pt x="675908" y="1129735"/>
                  <a:pt x="679760" y="1128451"/>
                  <a:pt x="683611" y="1129735"/>
                </a:cubicBezTo>
                <a:cubicBezTo>
                  <a:pt x="686179" y="1131018"/>
                  <a:pt x="687463" y="1133585"/>
                  <a:pt x="690030" y="1134869"/>
                </a:cubicBezTo>
                <a:cubicBezTo>
                  <a:pt x="693882" y="1137436"/>
                  <a:pt x="695165" y="1142570"/>
                  <a:pt x="699017" y="1143854"/>
                </a:cubicBezTo>
                <a:cubicBezTo>
                  <a:pt x="700301" y="1145138"/>
                  <a:pt x="701584" y="1145138"/>
                  <a:pt x="702868" y="1145138"/>
                </a:cubicBezTo>
                <a:cubicBezTo>
                  <a:pt x="708004" y="1146421"/>
                  <a:pt x="710571" y="1147705"/>
                  <a:pt x="713139" y="1150271"/>
                </a:cubicBezTo>
                <a:cubicBezTo>
                  <a:pt x="718274" y="1154123"/>
                  <a:pt x="716991" y="1161824"/>
                  <a:pt x="719558" y="1165674"/>
                </a:cubicBezTo>
                <a:cubicBezTo>
                  <a:pt x="722126" y="1168242"/>
                  <a:pt x="724694" y="1168242"/>
                  <a:pt x="727261" y="1169526"/>
                </a:cubicBezTo>
                <a:cubicBezTo>
                  <a:pt x="729829" y="1170809"/>
                  <a:pt x="729829" y="1174659"/>
                  <a:pt x="733680" y="1175943"/>
                </a:cubicBezTo>
                <a:lnTo>
                  <a:pt x="746519" y="1175943"/>
                </a:lnTo>
                <a:cubicBezTo>
                  <a:pt x="749087" y="1175943"/>
                  <a:pt x="752938" y="1174659"/>
                  <a:pt x="756789" y="1175943"/>
                </a:cubicBezTo>
                <a:lnTo>
                  <a:pt x="760641" y="1179794"/>
                </a:lnTo>
                <a:cubicBezTo>
                  <a:pt x="761925" y="1182361"/>
                  <a:pt x="760641" y="1183645"/>
                  <a:pt x="763208" y="1186212"/>
                </a:cubicBezTo>
                <a:cubicBezTo>
                  <a:pt x="768344" y="1190062"/>
                  <a:pt x="765776" y="1196480"/>
                  <a:pt x="764492" y="1202898"/>
                </a:cubicBezTo>
                <a:cubicBezTo>
                  <a:pt x="763208" y="1205465"/>
                  <a:pt x="763208" y="1208033"/>
                  <a:pt x="763208" y="1210600"/>
                </a:cubicBezTo>
                <a:cubicBezTo>
                  <a:pt x="763208" y="1213167"/>
                  <a:pt x="763208" y="1214450"/>
                  <a:pt x="764492" y="1217018"/>
                </a:cubicBezTo>
                <a:cubicBezTo>
                  <a:pt x="764492" y="1220868"/>
                  <a:pt x="763208" y="1222152"/>
                  <a:pt x="761925" y="1224719"/>
                </a:cubicBezTo>
                <a:cubicBezTo>
                  <a:pt x="758073" y="1232421"/>
                  <a:pt x="752938" y="1237554"/>
                  <a:pt x="749087" y="1243973"/>
                </a:cubicBezTo>
                <a:cubicBezTo>
                  <a:pt x="746519" y="1249107"/>
                  <a:pt x="746519" y="1256809"/>
                  <a:pt x="746519" y="1261942"/>
                </a:cubicBezTo>
                <a:cubicBezTo>
                  <a:pt x="747803" y="1270928"/>
                  <a:pt x="751654" y="1276062"/>
                  <a:pt x="758073" y="1282480"/>
                </a:cubicBezTo>
                <a:cubicBezTo>
                  <a:pt x="763208" y="1287614"/>
                  <a:pt x="763208" y="1294032"/>
                  <a:pt x="765776" y="1300450"/>
                </a:cubicBezTo>
                <a:cubicBezTo>
                  <a:pt x="765776" y="1303017"/>
                  <a:pt x="767060" y="1305584"/>
                  <a:pt x="768344" y="1308151"/>
                </a:cubicBezTo>
                <a:cubicBezTo>
                  <a:pt x="769627" y="1310718"/>
                  <a:pt x="772195" y="1312002"/>
                  <a:pt x="772195" y="1315853"/>
                </a:cubicBezTo>
                <a:cubicBezTo>
                  <a:pt x="772195" y="1317136"/>
                  <a:pt x="772195" y="1318420"/>
                  <a:pt x="772195" y="1320987"/>
                </a:cubicBezTo>
                <a:cubicBezTo>
                  <a:pt x="772195" y="1323554"/>
                  <a:pt x="773479" y="1329972"/>
                  <a:pt x="776046" y="1331256"/>
                </a:cubicBezTo>
                <a:cubicBezTo>
                  <a:pt x="777330" y="1332539"/>
                  <a:pt x="779898" y="1333823"/>
                  <a:pt x="782465" y="1333823"/>
                </a:cubicBezTo>
                <a:cubicBezTo>
                  <a:pt x="785033" y="1335106"/>
                  <a:pt x="788885" y="1336390"/>
                  <a:pt x="791452" y="1338957"/>
                </a:cubicBezTo>
                <a:cubicBezTo>
                  <a:pt x="794020" y="1341524"/>
                  <a:pt x="796588" y="1342808"/>
                  <a:pt x="799155" y="1345375"/>
                </a:cubicBezTo>
                <a:cubicBezTo>
                  <a:pt x="800439" y="1346659"/>
                  <a:pt x="800439" y="1349225"/>
                  <a:pt x="801723" y="1351793"/>
                </a:cubicBezTo>
                <a:cubicBezTo>
                  <a:pt x="803007" y="1354360"/>
                  <a:pt x="803007" y="1358211"/>
                  <a:pt x="803007" y="1362062"/>
                </a:cubicBezTo>
                <a:cubicBezTo>
                  <a:pt x="803007" y="1363345"/>
                  <a:pt x="801723" y="1364628"/>
                  <a:pt x="801723" y="1367196"/>
                </a:cubicBezTo>
                <a:cubicBezTo>
                  <a:pt x="801723" y="1368480"/>
                  <a:pt x="803007" y="1369763"/>
                  <a:pt x="801723" y="1371046"/>
                </a:cubicBezTo>
                <a:lnTo>
                  <a:pt x="801723" y="1376181"/>
                </a:lnTo>
                <a:cubicBezTo>
                  <a:pt x="801723" y="1380031"/>
                  <a:pt x="799155" y="1382599"/>
                  <a:pt x="799155" y="1386449"/>
                </a:cubicBezTo>
                <a:cubicBezTo>
                  <a:pt x="799155" y="1390300"/>
                  <a:pt x="800439" y="1392868"/>
                  <a:pt x="800439" y="1395434"/>
                </a:cubicBezTo>
                <a:cubicBezTo>
                  <a:pt x="799155" y="1398001"/>
                  <a:pt x="797872" y="1399285"/>
                  <a:pt x="799155" y="1403136"/>
                </a:cubicBezTo>
                <a:cubicBezTo>
                  <a:pt x="799155" y="1404419"/>
                  <a:pt x="799155" y="1405703"/>
                  <a:pt x="799155" y="1408270"/>
                </a:cubicBezTo>
                <a:cubicBezTo>
                  <a:pt x="799155" y="1409554"/>
                  <a:pt x="797872" y="1410837"/>
                  <a:pt x="797872" y="1413404"/>
                </a:cubicBezTo>
                <a:lnTo>
                  <a:pt x="796588" y="1418539"/>
                </a:lnTo>
                <a:lnTo>
                  <a:pt x="795304" y="1423673"/>
                </a:lnTo>
                <a:cubicBezTo>
                  <a:pt x="796588" y="1424957"/>
                  <a:pt x="796588" y="1426240"/>
                  <a:pt x="796588" y="1428807"/>
                </a:cubicBezTo>
                <a:cubicBezTo>
                  <a:pt x="796588" y="1430091"/>
                  <a:pt x="795304" y="1431375"/>
                  <a:pt x="795304" y="1433942"/>
                </a:cubicBezTo>
                <a:cubicBezTo>
                  <a:pt x="795304" y="1436509"/>
                  <a:pt x="796588" y="1437792"/>
                  <a:pt x="797872" y="1439076"/>
                </a:cubicBezTo>
                <a:cubicBezTo>
                  <a:pt x="800439" y="1444210"/>
                  <a:pt x="794020" y="1449345"/>
                  <a:pt x="792736" y="1454479"/>
                </a:cubicBezTo>
                <a:cubicBezTo>
                  <a:pt x="791452" y="1458330"/>
                  <a:pt x="790168" y="1462180"/>
                  <a:pt x="790168" y="1466031"/>
                </a:cubicBezTo>
                <a:lnTo>
                  <a:pt x="787732" y="1475775"/>
                </a:lnTo>
                <a:cubicBezTo>
                  <a:pt x="653361" y="1402919"/>
                  <a:pt x="563183" y="1260279"/>
                  <a:pt x="563183" y="1096578"/>
                </a:cubicBezTo>
                <a:lnTo>
                  <a:pt x="569630" y="1032630"/>
                </a:lnTo>
                <a:cubicBezTo>
                  <a:pt x="572113" y="1036233"/>
                  <a:pt x="574535" y="1038748"/>
                  <a:pt x="575770" y="1042452"/>
                </a:cubicBezTo>
                <a:cubicBezTo>
                  <a:pt x="578337" y="1045018"/>
                  <a:pt x="575770" y="1047586"/>
                  <a:pt x="575770" y="1050153"/>
                </a:cubicBezTo>
                <a:cubicBezTo>
                  <a:pt x="574486" y="1054003"/>
                  <a:pt x="579621" y="1056571"/>
                  <a:pt x="580905" y="1057855"/>
                </a:cubicBezTo>
                <a:cubicBezTo>
                  <a:pt x="583473" y="1060421"/>
                  <a:pt x="586040" y="1062988"/>
                  <a:pt x="587324" y="1065556"/>
                </a:cubicBezTo>
                <a:cubicBezTo>
                  <a:pt x="589892" y="1068123"/>
                  <a:pt x="591176" y="1071974"/>
                  <a:pt x="592460" y="1075824"/>
                </a:cubicBezTo>
                <a:lnTo>
                  <a:pt x="596311" y="1079675"/>
                </a:lnTo>
                <a:lnTo>
                  <a:pt x="598879" y="1075824"/>
                </a:lnTo>
                <a:lnTo>
                  <a:pt x="596311" y="1070690"/>
                </a:lnTo>
                <a:cubicBezTo>
                  <a:pt x="595027" y="1069406"/>
                  <a:pt x="593743" y="1066839"/>
                  <a:pt x="592460" y="1064272"/>
                </a:cubicBezTo>
                <a:cubicBezTo>
                  <a:pt x="591176" y="1062988"/>
                  <a:pt x="589892" y="1061705"/>
                  <a:pt x="588608" y="1059138"/>
                </a:cubicBezTo>
                <a:cubicBezTo>
                  <a:pt x="586040" y="1056571"/>
                  <a:pt x="584757" y="1054003"/>
                  <a:pt x="583473" y="1050153"/>
                </a:cubicBezTo>
                <a:cubicBezTo>
                  <a:pt x="582189" y="1046302"/>
                  <a:pt x="579621" y="1043735"/>
                  <a:pt x="579621" y="1039884"/>
                </a:cubicBezTo>
                <a:cubicBezTo>
                  <a:pt x="578337" y="1037317"/>
                  <a:pt x="578337" y="1034750"/>
                  <a:pt x="578337" y="1030899"/>
                </a:cubicBezTo>
                <a:cubicBezTo>
                  <a:pt x="578337" y="1027049"/>
                  <a:pt x="582189" y="1025765"/>
                  <a:pt x="586040" y="1028332"/>
                </a:cubicBezTo>
                <a:close/>
                <a:moveTo>
                  <a:pt x="1769979" y="1006408"/>
                </a:moveTo>
                <a:lnTo>
                  <a:pt x="1769979" y="1206966"/>
                </a:lnTo>
                <a:lnTo>
                  <a:pt x="2103009" y="1206966"/>
                </a:lnTo>
                <a:lnTo>
                  <a:pt x="2103009" y="1378873"/>
                </a:lnTo>
                <a:lnTo>
                  <a:pt x="1769979" y="1378873"/>
                </a:lnTo>
                <a:lnTo>
                  <a:pt x="1769979" y="1579431"/>
                </a:lnTo>
                <a:lnTo>
                  <a:pt x="1341008" y="1292920"/>
                </a:lnTo>
                <a:close/>
                <a:moveTo>
                  <a:pt x="874865" y="879164"/>
                </a:moveTo>
                <a:cubicBezTo>
                  <a:pt x="872278" y="879164"/>
                  <a:pt x="872278" y="884318"/>
                  <a:pt x="872278" y="886895"/>
                </a:cubicBezTo>
                <a:cubicBezTo>
                  <a:pt x="870986" y="893336"/>
                  <a:pt x="861933" y="897201"/>
                  <a:pt x="861933" y="902354"/>
                </a:cubicBezTo>
                <a:cubicBezTo>
                  <a:pt x="863226" y="910085"/>
                  <a:pt x="869692" y="911373"/>
                  <a:pt x="874865" y="911373"/>
                </a:cubicBezTo>
                <a:cubicBezTo>
                  <a:pt x="878745" y="910085"/>
                  <a:pt x="881331" y="910085"/>
                  <a:pt x="885210" y="911373"/>
                </a:cubicBezTo>
                <a:cubicBezTo>
                  <a:pt x="887797" y="911373"/>
                  <a:pt x="889090" y="913949"/>
                  <a:pt x="891677" y="913949"/>
                </a:cubicBezTo>
                <a:cubicBezTo>
                  <a:pt x="894263" y="913949"/>
                  <a:pt x="896849" y="913949"/>
                  <a:pt x="898142" y="911373"/>
                </a:cubicBezTo>
                <a:cubicBezTo>
                  <a:pt x="899435" y="907507"/>
                  <a:pt x="896849" y="906219"/>
                  <a:pt x="894263" y="903643"/>
                </a:cubicBezTo>
                <a:cubicBezTo>
                  <a:pt x="892970" y="902354"/>
                  <a:pt x="891677" y="901066"/>
                  <a:pt x="890383" y="899778"/>
                </a:cubicBezTo>
                <a:cubicBezTo>
                  <a:pt x="889090" y="897201"/>
                  <a:pt x="886504" y="893336"/>
                  <a:pt x="882624" y="894624"/>
                </a:cubicBezTo>
                <a:cubicBezTo>
                  <a:pt x="881331" y="894624"/>
                  <a:pt x="881331" y="895912"/>
                  <a:pt x="880038" y="895912"/>
                </a:cubicBezTo>
                <a:lnTo>
                  <a:pt x="876158" y="894624"/>
                </a:lnTo>
                <a:cubicBezTo>
                  <a:pt x="874865" y="893336"/>
                  <a:pt x="876158" y="892048"/>
                  <a:pt x="876158" y="889471"/>
                </a:cubicBezTo>
                <a:cubicBezTo>
                  <a:pt x="877451" y="888183"/>
                  <a:pt x="877451" y="885606"/>
                  <a:pt x="878745" y="883030"/>
                </a:cubicBezTo>
                <a:lnTo>
                  <a:pt x="877451" y="879164"/>
                </a:lnTo>
                <a:cubicBezTo>
                  <a:pt x="876158" y="879164"/>
                  <a:pt x="876158" y="879164"/>
                  <a:pt x="874865" y="879164"/>
                </a:cubicBezTo>
                <a:close/>
                <a:moveTo>
                  <a:pt x="1125354" y="850902"/>
                </a:moveTo>
                <a:cubicBezTo>
                  <a:pt x="1124056" y="850902"/>
                  <a:pt x="1122757" y="852202"/>
                  <a:pt x="1121459" y="853502"/>
                </a:cubicBezTo>
                <a:cubicBezTo>
                  <a:pt x="1120160" y="854801"/>
                  <a:pt x="1118862" y="856101"/>
                  <a:pt x="1117564" y="856101"/>
                </a:cubicBezTo>
                <a:cubicBezTo>
                  <a:pt x="1116265" y="857401"/>
                  <a:pt x="1114967" y="856101"/>
                  <a:pt x="1113669" y="857401"/>
                </a:cubicBezTo>
                <a:cubicBezTo>
                  <a:pt x="1113669" y="858701"/>
                  <a:pt x="1114967" y="858701"/>
                  <a:pt x="1114967" y="860001"/>
                </a:cubicBezTo>
                <a:cubicBezTo>
                  <a:pt x="1114967" y="862600"/>
                  <a:pt x="1111072" y="861300"/>
                  <a:pt x="1112370" y="863900"/>
                </a:cubicBezTo>
                <a:cubicBezTo>
                  <a:pt x="1112370" y="865199"/>
                  <a:pt x="1113669" y="865199"/>
                  <a:pt x="1114967" y="866499"/>
                </a:cubicBezTo>
                <a:lnTo>
                  <a:pt x="1114967" y="870398"/>
                </a:lnTo>
                <a:cubicBezTo>
                  <a:pt x="1114967" y="871698"/>
                  <a:pt x="1114967" y="872997"/>
                  <a:pt x="1111072" y="874297"/>
                </a:cubicBezTo>
                <a:cubicBezTo>
                  <a:pt x="1111072" y="875597"/>
                  <a:pt x="1111072" y="876896"/>
                  <a:pt x="1111072" y="879496"/>
                </a:cubicBezTo>
                <a:lnTo>
                  <a:pt x="1112370" y="879496"/>
                </a:lnTo>
                <a:cubicBezTo>
                  <a:pt x="1113669" y="879496"/>
                  <a:pt x="1113669" y="879496"/>
                  <a:pt x="1114967" y="879496"/>
                </a:cubicBezTo>
                <a:cubicBezTo>
                  <a:pt x="1116265" y="879496"/>
                  <a:pt x="1117564" y="880795"/>
                  <a:pt x="1118862" y="880795"/>
                </a:cubicBezTo>
                <a:cubicBezTo>
                  <a:pt x="1120160" y="880795"/>
                  <a:pt x="1120160" y="879496"/>
                  <a:pt x="1121459" y="878196"/>
                </a:cubicBezTo>
                <a:cubicBezTo>
                  <a:pt x="1122757" y="878196"/>
                  <a:pt x="1122757" y="876896"/>
                  <a:pt x="1124056" y="876896"/>
                </a:cubicBezTo>
                <a:cubicBezTo>
                  <a:pt x="1125354" y="875597"/>
                  <a:pt x="1125354" y="875597"/>
                  <a:pt x="1127950" y="874297"/>
                </a:cubicBezTo>
                <a:cubicBezTo>
                  <a:pt x="1129249" y="872997"/>
                  <a:pt x="1129249" y="871698"/>
                  <a:pt x="1130547" y="871698"/>
                </a:cubicBezTo>
                <a:cubicBezTo>
                  <a:pt x="1130547" y="869098"/>
                  <a:pt x="1129249" y="867799"/>
                  <a:pt x="1129249" y="861300"/>
                </a:cubicBezTo>
                <a:cubicBezTo>
                  <a:pt x="1129249" y="860001"/>
                  <a:pt x="1131845" y="860001"/>
                  <a:pt x="1131845" y="858701"/>
                </a:cubicBezTo>
                <a:lnTo>
                  <a:pt x="1127950" y="852202"/>
                </a:lnTo>
                <a:cubicBezTo>
                  <a:pt x="1126652" y="852202"/>
                  <a:pt x="1126652" y="850902"/>
                  <a:pt x="1125354" y="850902"/>
                </a:cubicBezTo>
                <a:close/>
                <a:moveTo>
                  <a:pt x="1222389" y="844426"/>
                </a:moveTo>
                <a:cubicBezTo>
                  <a:pt x="1221084" y="845060"/>
                  <a:pt x="1220105" y="846645"/>
                  <a:pt x="1220105" y="848548"/>
                </a:cubicBezTo>
                <a:cubicBezTo>
                  <a:pt x="1220105" y="851084"/>
                  <a:pt x="1221410" y="853620"/>
                  <a:pt x="1224019" y="852352"/>
                </a:cubicBezTo>
                <a:cubicBezTo>
                  <a:pt x="1226628" y="852352"/>
                  <a:pt x="1226628" y="848548"/>
                  <a:pt x="1226628" y="846011"/>
                </a:cubicBezTo>
                <a:cubicBezTo>
                  <a:pt x="1225323" y="844108"/>
                  <a:pt x="1223693" y="843792"/>
                  <a:pt x="1222389" y="844426"/>
                </a:cubicBezTo>
                <a:close/>
                <a:moveTo>
                  <a:pt x="1143190" y="820466"/>
                </a:moveTo>
                <a:cubicBezTo>
                  <a:pt x="1141893" y="821747"/>
                  <a:pt x="1140595" y="821747"/>
                  <a:pt x="1139298" y="821747"/>
                </a:cubicBezTo>
                <a:cubicBezTo>
                  <a:pt x="1138001" y="821747"/>
                  <a:pt x="1138001" y="823028"/>
                  <a:pt x="1138001" y="824309"/>
                </a:cubicBezTo>
                <a:cubicBezTo>
                  <a:pt x="1138001" y="825590"/>
                  <a:pt x="1136703" y="824309"/>
                  <a:pt x="1136703" y="825590"/>
                </a:cubicBezTo>
                <a:cubicBezTo>
                  <a:pt x="1135406" y="826871"/>
                  <a:pt x="1136703" y="826871"/>
                  <a:pt x="1134109" y="829434"/>
                </a:cubicBezTo>
                <a:cubicBezTo>
                  <a:pt x="1132811" y="830715"/>
                  <a:pt x="1134109" y="831996"/>
                  <a:pt x="1134109" y="833277"/>
                </a:cubicBezTo>
                <a:cubicBezTo>
                  <a:pt x="1136703" y="833277"/>
                  <a:pt x="1134109" y="835840"/>
                  <a:pt x="1132811" y="837121"/>
                </a:cubicBezTo>
                <a:cubicBezTo>
                  <a:pt x="1132811" y="838402"/>
                  <a:pt x="1134109" y="838402"/>
                  <a:pt x="1134109" y="839683"/>
                </a:cubicBezTo>
                <a:cubicBezTo>
                  <a:pt x="1134109" y="840964"/>
                  <a:pt x="1134109" y="840964"/>
                  <a:pt x="1135406" y="843526"/>
                </a:cubicBezTo>
                <a:cubicBezTo>
                  <a:pt x="1136703" y="844807"/>
                  <a:pt x="1138001" y="844807"/>
                  <a:pt x="1138001" y="848651"/>
                </a:cubicBezTo>
                <a:cubicBezTo>
                  <a:pt x="1138001" y="849932"/>
                  <a:pt x="1139298" y="851213"/>
                  <a:pt x="1140595" y="851213"/>
                </a:cubicBezTo>
                <a:lnTo>
                  <a:pt x="1145785" y="852494"/>
                </a:lnTo>
                <a:cubicBezTo>
                  <a:pt x="1147083" y="853775"/>
                  <a:pt x="1141893" y="856337"/>
                  <a:pt x="1144488" y="857618"/>
                </a:cubicBezTo>
                <a:cubicBezTo>
                  <a:pt x="1145785" y="857618"/>
                  <a:pt x="1147083" y="856337"/>
                  <a:pt x="1148380" y="857618"/>
                </a:cubicBezTo>
                <a:cubicBezTo>
                  <a:pt x="1149677" y="862743"/>
                  <a:pt x="1141893" y="861462"/>
                  <a:pt x="1140595" y="864025"/>
                </a:cubicBezTo>
                <a:cubicBezTo>
                  <a:pt x="1139298" y="865306"/>
                  <a:pt x="1140595" y="865306"/>
                  <a:pt x="1140595" y="866587"/>
                </a:cubicBezTo>
                <a:cubicBezTo>
                  <a:pt x="1140595" y="867868"/>
                  <a:pt x="1139298" y="867868"/>
                  <a:pt x="1139298" y="870430"/>
                </a:cubicBezTo>
                <a:cubicBezTo>
                  <a:pt x="1139298" y="871711"/>
                  <a:pt x="1140595" y="871711"/>
                  <a:pt x="1139298" y="872992"/>
                </a:cubicBezTo>
                <a:cubicBezTo>
                  <a:pt x="1139298" y="874273"/>
                  <a:pt x="1138001" y="874273"/>
                  <a:pt x="1136703" y="875554"/>
                </a:cubicBezTo>
                <a:cubicBezTo>
                  <a:pt x="1140595" y="878117"/>
                  <a:pt x="1140595" y="879398"/>
                  <a:pt x="1141893" y="879398"/>
                </a:cubicBezTo>
                <a:cubicBezTo>
                  <a:pt x="1143190" y="879398"/>
                  <a:pt x="1144488" y="879398"/>
                  <a:pt x="1148380" y="880679"/>
                </a:cubicBezTo>
                <a:lnTo>
                  <a:pt x="1141893" y="881960"/>
                </a:lnTo>
                <a:cubicBezTo>
                  <a:pt x="1140595" y="881960"/>
                  <a:pt x="1139298" y="881960"/>
                  <a:pt x="1138001" y="883241"/>
                </a:cubicBezTo>
                <a:cubicBezTo>
                  <a:pt x="1138001" y="884522"/>
                  <a:pt x="1136703" y="885803"/>
                  <a:pt x="1135406" y="887084"/>
                </a:cubicBezTo>
                <a:cubicBezTo>
                  <a:pt x="1134109" y="888366"/>
                  <a:pt x="1132811" y="888366"/>
                  <a:pt x="1131513" y="889647"/>
                </a:cubicBezTo>
                <a:cubicBezTo>
                  <a:pt x="1131513" y="890928"/>
                  <a:pt x="1131513" y="892209"/>
                  <a:pt x="1132811" y="892209"/>
                </a:cubicBezTo>
                <a:cubicBezTo>
                  <a:pt x="1135406" y="892209"/>
                  <a:pt x="1135406" y="890928"/>
                  <a:pt x="1136703" y="889647"/>
                </a:cubicBezTo>
                <a:cubicBezTo>
                  <a:pt x="1138001" y="889647"/>
                  <a:pt x="1139298" y="888366"/>
                  <a:pt x="1141893" y="888366"/>
                </a:cubicBezTo>
                <a:cubicBezTo>
                  <a:pt x="1143190" y="888366"/>
                  <a:pt x="1144488" y="888366"/>
                  <a:pt x="1145785" y="887084"/>
                </a:cubicBezTo>
                <a:cubicBezTo>
                  <a:pt x="1147083" y="885803"/>
                  <a:pt x="1148380" y="887084"/>
                  <a:pt x="1149677" y="887084"/>
                </a:cubicBezTo>
                <a:cubicBezTo>
                  <a:pt x="1152272" y="887084"/>
                  <a:pt x="1153569" y="885803"/>
                  <a:pt x="1154867" y="884522"/>
                </a:cubicBezTo>
                <a:cubicBezTo>
                  <a:pt x="1157462" y="884522"/>
                  <a:pt x="1158759" y="885803"/>
                  <a:pt x="1160057" y="885803"/>
                </a:cubicBezTo>
                <a:lnTo>
                  <a:pt x="1165246" y="885803"/>
                </a:lnTo>
                <a:lnTo>
                  <a:pt x="1166544" y="879398"/>
                </a:lnTo>
                <a:cubicBezTo>
                  <a:pt x="1169138" y="876836"/>
                  <a:pt x="1170436" y="876836"/>
                  <a:pt x="1170436" y="875554"/>
                </a:cubicBezTo>
                <a:cubicBezTo>
                  <a:pt x="1171733" y="875554"/>
                  <a:pt x="1171733" y="874273"/>
                  <a:pt x="1171733" y="872992"/>
                </a:cubicBezTo>
                <a:cubicBezTo>
                  <a:pt x="1171733" y="870430"/>
                  <a:pt x="1171733" y="867868"/>
                  <a:pt x="1167841" y="867868"/>
                </a:cubicBezTo>
                <a:cubicBezTo>
                  <a:pt x="1166544" y="867868"/>
                  <a:pt x="1165246" y="869149"/>
                  <a:pt x="1163949" y="865306"/>
                </a:cubicBezTo>
                <a:cubicBezTo>
                  <a:pt x="1163949" y="864025"/>
                  <a:pt x="1163949" y="864025"/>
                  <a:pt x="1163949" y="862743"/>
                </a:cubicBezTo>
                <a:cubicBezTo>
                  <a:pt x="1161354" y="858900"/>
                  <a:pt x="1160057" y="858900"/>
                  <a:pt x="1157462" y="855056"/>
                </a:cubicBezTo>
                <a:cubicBezTo>
                  <a:pt x="1156165" y="853775"/>
                  <a:pt x="1156165" y="852494"/>
                  <a:pt x="1154867" y="851213"/>
                </a:cubicBezTo>
                <a:cubicBezTo>
                  <a:pt x="1154867" y="849932"/>
                  <a:pt x="1153569" y="848651"/>
                  <a:pt x="1152272" y="848651"/>
                </a:cubicBezTo>
                <a:cubicBezTo>
                  <a:pt x="1152272" y="847370"/>
                  <a:pt x="1152272" y="846089"/>
                  <a:pt x="1150975" y="846089"/>
                </a:cubicBezTo>
                <a:cubicBezTo>
                  <a:pt x="1150975" y="844807"/>
                  <a:pt x="1149677" y="844807"/>
                  <a:pt x="1148380" y="843526"/>
                </a:cubicBezTo>
                <a:cubicBezTo>
                  <a:pt x="1148380" y="842245"/>
                  <a:pt x="1148380" y="842245"/>
                  <a:pt x="1149677" y="840964"/>
                </a:cubicBezTo>
                <a:cubicBezTo>
                  <a:pt x="1149677" y="839683"/>
                  <a:pt x="1149677" y="839683"/>
                  <a:pt x="1149677" y="838402"/>
                </a:cubicBezTo>
                <a:cubicBezTo>
                  <a:pt x="1149677" y="837121"/>
                  <a:pt x="1150975" y="837121"/>
                  <a:pt x="1153569" y="833277"/>
                </a:cubicBezTo>
                <a:cubicBezTo>
                  <a:pt x="1154867" y="831996"/>
                  <a:pt x="1154867" y="829434"/>
                  <a:pt x="1153569" y="828153"/>
                </a:cubicBezTo>
                <a:cubicBezTo>
                  <a:pt x="1152272" y="828153"/>
                  <a:pt x="1152272" y="828153"/>
                  <a:pt x="1150975" y="828153"/>
                </a:cubicBezTo>
                <a:cubicBezTo>
                  <a:pt x="1149677" y="826871"/>
                  <a:pt x="1144488" y="828153"/>
                  <a:pt x="1145785" y="823028"/>
                </a:cubicBezTo>
                <a:cubicBezTo>
                  <a:pt x="1145785" y="820466"/>
                  <a:pt x="1144488" y="820466"/>
                  <a:pt x="1143190" y="820466"/>
                </a:cubicBezTo>
                <a:close/>
                <a:moveTo>
                  <a:pt x="835030" y="783181"/>
                </a:moveTo>
                <a:cubicBezTo>
                  <a:pt x="833806" y="781877"/>
                  <a:pt x="832584" y="785790"/>
                  <a:pt x="833806" y="785790"/>
                </a:cubicBezTo>
                <a:cubicBezTo>
                  <a:pt x="836252" y="788399"/>
                  <a:pt x="837475" y="784486"/>
                  <a:pt x="835030" y="783181"/>
                </a:cubicBezTo>
                <a:close/>
                <a:moveTo>
                  <a:pt x="724721" y="765209"/>
                </a:moveTo>
                <a:cubicBezTo>
                  <a:pt x="723437" y="765209"/>
                  <a:pt x="723437" y="766477"/>
                  <a:pt x="722152" y="766477"/>
                </a:cubicBezTo>
                <a:cubicBezTo>
                  <a:pt x="720867" y="769014"/>
                  <a:pt x="723437" y="770282"/>
                  <a:pt x="723437" y="771550"/>
                </a:cubicBezTo>
                <a:lnTo>
                  <a:pt x="720867" y="775354"/>
                </a:lnTo>
                <a:cubicBezTo>
                  <a:pt x="715729" y="777891"/>
                  <a:pt x="724721" y="782963"/>
                  <a:pt x="727291" y="780427"/>
                </a:cubicBezTo>
                <a:cubicBezTo>
                  <a:pt x="731145" y="777891"/>
                  <a:pt x="727291" y="771550"/>
                  <a:pt x="732429" y="771550"/>
                </a:cubicBezTo>
                <a:cubicBezTo>
                  <a:pt x="733714" y="771550"/>
                  <a:pt x="733714" y="776623"/>
                  <a:pt x="734998" y="777891"/>
                </a:cubicBezTo>
                <a:lnTo>
                  <a:pt x="742707" y="779159"/>
                </a:lnTo>
                <a:lnTo>
                  <a:pt x="740137" y="774086"/>
                </a:lnTo>
                <a:cubicBezTo>
                  <a:pt x="738852" y="774086"/>
                  <a:pt x="737568" y="772818"/>
                  <a:pt x="736283" y="771550"/>
                </a:cubicBezTo>
                <a:lnTo>
                  <a:pt x="729860" y="765209"/>
                </a:lnTo>
                <a:close/>
                <a:moveTo>
                  <a:pt x="1080541" y="753287"/>
                </a:moveTo>
                <a:lnTo>
                  <a:pt x="1079249" y="754592"/>
                </a:lnTo>
                <a:cubicBezTo>
                  <a:pt x="1077956" y="755897"/>
                  <a:pt x="1076663" y="754592"/>
                  <a:pt x="1075371" y="755897"/>
                </a:cubicBezTo>
                <a:cubicBezTo>
                  <a:pt x="1074078" y="755897"/>
                  <a:pt x="1074078" y="757201"/>
                  <a:pt x="1072785" y="757201"/>
                </a:cubicBezTo>
                <a:cubicBezTo>
                  <a:pt x="1071493" y="757201"/>
                  <a:pt x="1071493" y="755897"/>
                  <a:pt x="1067615" y="755897"/>
                </a:cubicBezTo>
                <a:cubicBezTo>
                  <a:pt x="1066322" y="754592"/>
                  <a:pt x="1066322" y="753287"/>
                  <a:pt x="1065029" y="754592"/>
                </a:cubicBezTo>
                <a:lnTo>
                  <a:pt x="1061151" y="757201"/>
                </a:lnTo>
                <a:lnTo>
                  <a:pt x="1057273" y="761114"/>
                </a:lnTo>
                <a:cubicBezTo>
                  <a:pt x="1055981" y="761114"/>
                  <a:pt x="1055981" y="762418"/>
                  <a:pt x="1053395" y="761114"/>
                </a:cubicBezTo>
                <a:lnTo>
                  <a:pt x="1052103" y="757201"/>
                </a:lnTo>
                <a:cubicBezTo>
                  <a:pt x="1050810" y="757201"/>
                  <a:pt x="1049517" y="757201"/>
                  <a:pt x="1048225" y="757201"/>
                </a:cubicBezTo>
                <a:cubicBezTo>
                  <a:pt x="1046932" y="758505"/>
                  <a:pt x="1046932" y="759810"/>
                  <a:pt x="1048225" y="761114"/>
                </a:cubicBezTo>
                <a:cubicBezTo>
                  <a:pt x="1047255" y="764376"/>
                  <a:pt x="1046932" y="764376"/>
                  <a:pt x="1046932" y="765028"/>
                </a:cubicBezTo>
                <a:cubicBezTo>
                  <a:pt x="1045639" y="767636"/>
                  <a:pt x="1049517" y="767636"/>
                  <a:pt x="1052103" y="770245"/>
                </a:cubicBezTo>
                <a:cubicBezTo>
                  <a:pt x="1052103" y="771549"/>
                  <a:pt x="1050810" y="771549"/>
                  <a:pt x="1049517" y="774159"/>
                </a:cubicBezTo>
                <a:cubicBezTo>
                  <a:pt x="1050810" y="775463"/>
                  <a:pt x="1053395" y="774159"/>
                  <a:pt x="1054688" y="772854"/>
                </a:cubicBezTo>
                <a:cubicBezTo>
                  <a:pt x="1055981" y="772854"/>
                  <a:pt x="1055981" y="772854"/>
                  <a:pt x="1057273" y="774159"/>
                </a:cubicBezTo>
                <a:cubicBezTo>
                  <a:pt x="1058566" y="774159"/>
                  <a:pt x="1057273" y="775463"/>
                  <a:pt x="1058566" y="775463"/>
                </a:cubicBezTo>
                <a:cubicBezTo>
                  <a:pt x="1062444" y="776767"/>
                  <a:pt x="1065029" y="778072"/>
                  <a:pt x="1067615" y="776767"/>
                </a:cubicBezTo>
                <a:cubicBezTo>
                  <a:pt x="1070200" y="776767"/>
                  <a:pt x="1071493" y="774159"/>
                  <a:pt x="1076663" y="774159"/>
                </a:cubicBezTo>
                <a:cubicBezTo>
                  <a:pt x="1079249" y="775463"/>
                  <a:pt x="1081834" y="774159"/>
                  <a:pt x="1083127" y="772854"/>
                </a:cubicBezTo>
                <a:cubicBezTo>
                  <a:pt x="1085712" y="771549"/>
                  <a:pt x="1088297" y="770245"/>
                  <a:pt x="1092175" y="765028"/>
                </a:cubicBezTo>
                <a:cubicBezTo>
                  <a:pt x="1093468" y="763723"/>
                  <a:pt x="1093468" y="761114"/>
                  <a:pt x="1092175" y="759810"/>
                </a:cubicBezTo>
                <a:cubicBezTo>
                  <a:pt x="1090883" y="757201"/>
                  <a:pt x="1087005" y="761114"/>
                  <a:pt x="1085712" y="757201"/>
                </a:cubicBezTo>
                <a:cubicBezTo>
                  <a:pt x="1084419" y="755897"/>
                  <a:pt x="1084419" y="754592"/>
                  <a:pt x="1080541" y="753287"/>
                </a:cubicBezTo>
                <a:close/>
                <a:moveTo>
                  <a:pt x="774894" y="735678"/>
                </a:moveTo>
                <a:cubicBezTo>
                  <a:pt x="771167" y="735678"/>
                  <a:pt x="771167" y="742132"/>
                  <a:pt x="773652" y="743423"/>
                </a:cubicBezTo>
                <a:cubicBezTo>
                  <a:pt x="778621" y="746005"/>
                  <a:pt x="779863" y="735678"/>
                  <a:pt x="774894" y="735678"/>
                </a:cubicBezTo>
                <a:close/>
                <a:moveTo>
                  <a:pt x="1060679" y="666562"/>
                </a:moveTo>
                <a:cubicBezTo>
                  <a:pt x="1131042" y="674596"/>
                  <a:pt x="1195785" y="701162"/>
                  <a:pt x="1250573" y="740911"/>
                </a:cubicBezTo>
                <a:cubicBezTo>
                  <a:pt x="1251422" y="743780"/>
                  <a:pt x="1248221" y="741987"/>
                  <a:pt x="1245989" y="743102"/>
                </a:cubicBezTo>
                <a:cubicBezTo>
                  <a:pt x="1243421" y="744387"/>
                  <a:pt x="1245989" y="745671"/>
                  <a:pt x="1245989" y="746955"/>
                </a:cubicBezTo>
                <a:cubicBezTo>
                  <a:pt x="1245989" y="752092"/>
                  <a:pt x="1240852" y="748239"/>
                  <a:pt x="1238284" y="748239"/>
                </a:cubicBezTo>
                <a:cubicBezTo>
                  <a:pt x="1230578" y="748239"/>
                  <a:pt x="1240852" y="757229"/>
                  <a:pt x="1239568" y="758513"/>
                </a:cubicBezTo>
                <a:cubicBezTo>
                  <a:pt x="1235715" y="762365"/>
                  <a:pt x="1231863" y="754661"/>
                  <a:pt x="1228010" y="759797"/>
                </a:cubicBezTo>
                <a:cubicBezTo>
                  <a:pt x="1226726" y="762365"/>
                  <a:pt x="1225441" y="766218"/>
                  <a:pt x="1222873" y="768787"/>
                </a:cubicBezTo>
                <a:cubicBezTo>
                  <a:pt x="1222231" y="770071"/>
                  <a:pt x="1220625" y="770713"/>
                  <a:pt x="1219823" y="771355"/>
                </a:cubicBezTo>
                <a:lnTo>
                  <a:pt x="1221589" y="773923"/>
                </a:lnTo>
                <a:cubicBezTo>
                  <a:pt x="1222873" y="775207"/>
                  <a:pt x="1225441" y="776492"/>
                  <a:pt x="1222873" y="777776"/>
                </a:cubicBezTo>
                <a:cubicBezTo>
                  <a:pt x="1220304" y="777776"/>
                  <a:pt x="1216451" y="776492"/>
                  <a:pt x="1213883" y="776492"/>
                </a:cubicBezTo>
                <a:cubicBezTo>
                  <a:pt x="1212599" y="775207"/>
                  <a:pt x="1210031" y="775207"/>
                  <a:pt x="1208746" y="776492"/>
                </a:cubicBezTo>
                <a:cubicBezTo>
                  <a:pt x="1207462" y="779060"/>
                  <a:pt x="1210031" y="780344"/>
                  <a:pt x="1208746" y="781628"/>
                </a:cubicBezTo>
                <a:cubicBezTo>
                  <a:pt x="1208746" y="786765"/>
                  <a:pt x="1199756" y="781628"/>
                  <a:pt x="1198473" y="786765"/>
                </a:cubicBezTo>
                <a:lnTo>
                  <a:pt x="1198473" y="791902"/>
                </a:lnTo>
                <a:cubicBezTo>
                  <a:pt x="1197188" y="794470"/>
                  <a:pt x="1193335" y="793186"/>
                  <a:pt x="1190767" y="798323"/>
                </a:cubicBezTo>
                <a:cubicBezTo>
                  <a:pt x="1189483" y="799607"/>
                  <a:pt x="1189483" y="798323"/>
                  <a:pt x="1188198" y="799607"/>
                </a:cubicBezTo>
                <a:cubicBezTo>
                  <a:pt x="1188198" y="799928"/>
                  <a:pt x="1188118" y="800089"/>
                  <a:pt x="1188399" y="800570"/>
                </a:cubicBezTo>
                <a:lnTo>
                  <a:pt x="1190767" y="803459"/>
                </a:lnTo>
                <a:cubicBezTo>
                  <a:pt x="1192051" y="806028"/>
                  <a:pt x="1190767" y="804744"/>
                  <a:pt x="1189483" y="807312"/>
                </a:cubicBezTo>
                <a:cubicBezTo>
                  <a:pt x="1186914" y="809881"/>
                  <a:pt x="1193335" y="808596"/>
                  <a:pt x="1194620" y="809881"/>
                </a:cubicBezTo>
                <a:cubicBezTo>
                  <a:pt x="1198473" y="813733"/>
                  <a:pt x="1188198" y="813733"/>
                  <a:pt x="1189483" y="817586"/>
                </a:cubicBezTo>
                <a:cubicBezTo>
                  <a:pt x="1190767" y="820154"/>
                  <a:pt x="1197188" y="816301"/>
                  <a:pt x="1194620" y="821438"/>
                </a:cubicBezTo>
                <a:cubicBezTo>
                  <a:pt x="1193335" y="822723"/>
                  <a:pt x="1192051" y="822723"/>
                  <a:pt x="1192051" y="824007"/>
                </a:cubicBezTo>
                <a:cubicBezTo>
                  <a:pt x="1192051" y="827859"/>
                  <a:pt x="1194620" y="825291"/>
                  <a:pt x="1195904" y="825291"/>
                </a:cubicBezTo>
                <a:cubicBezTo>
                  <a:pt x="1198473" y="826575"/>
                  <a:pt x="1195904" y="831712"/>
                  <a:pt x="1199756" y="830427"/>
                </a:cubicBezTo>
                <a:cubicBezTo>
                  <a:pt x="1203609" y="830427"/>
                  <a:pt x="1202325" y="825291"/>
                  <a:pt x="1206178" y="825291"/>
                </a:cubicBezTo>
                <a:cubicBezTo>
                  <a:pt x="1207462" y="825291"/>
                  <a:pt x="1208746" y="826575"/>
                  <a:pt x="1210031" y="825291"/>
                </a:cubicBezTo>
                <a:lnTo>
                  <a:pt x="1212599" y="821438"/>
                </a:lnTo>
                <a:cubicBezTo>
                  <a:pt x="1215168" y="820154"/>
                  <a:pt x="1216451" y="822723"/>
                  <a:pt x="1217736" y="822723"/>
                </a:cubicBezTo>
                <a:cubicBezTo>
                  <a:pt x="1220304" y="822723"/>
                  <a:pt x="1221589" y="820154"/>
                  <a:pt x="1222873" y="822723"/>
                </a:cubicBezTo>
                <a:cubicBezTo>
                  <a:pt x="1222873" y="826575"/>
                  <a:pt x="1219020" y="829144"/>
                  <a:pt x="1221589" y="831712"/>
                </a:cubicBezTo>
                <a:lnTo>
                  <a:pt x="1231863" y="836849"/>
                </a:lnTo>
                <a:lnTo>
                  <a:pt x="1232665" y="840059"/>
                </a:lnTo>
                <a:cubicBezTo>
                  <a:pt x="1231863" y="840701"/>
                  <a:pt x="1230578" y="841343"/>
                  <a:pt x="1230578" y="843270"/>
                </a:cubicBezTo>
                <a:cubicBezTo>
                  <a:pt x="1229294" y="848406"/>
                  <a:pt x="1235715" y="850975"/>
                  <a:pt x="1238284" y="845838"/>
                </a:cubicBezTo>
                <a:cubicBezTo>
                  <a:pt x="1239568" y="841986"/>
                  <a:pt x="1238284" y="839417"/>
                  <a:pt x="1244705" y="840701"/>
                </a:cubicBezTo>
                <a:cubicBezTo>
                  <a:pt x="1248558" y="841986"/>
                  <a:pt x="1249842" y="839417"/>
                  <a:pt x="1248558" y="835564"/>
                </a:cubicBezTo>
                <a:cubicBezTo>
                  <a:pt x="1247274" y="830427"/>
                  <a:pt x="1244705" y="826575"/>
                  <a:pt x="1249842" y="824007"/>
                </a:cubicBezTo>
                <a:cubicBezTo>
                  <a:pt x="1252410" y="822723"/>
                  <a:pt x="1256263" y="822723"/>
                  <a:pt x="1257547" y="820154"/>
                </a:cubicBezTo>
                <a:cubicBezTo>
                  <a:pt x="1260116" y="816301"/>
                  <a:pt x="1258832" y="812449"/>
                  <a:pt x="1256263" y="809881"/>
                </a:cubicBezTo>
                <a:cubicBezTo>
                  <a:pt x="1253694" y="807312"/>
                  <a:pt x="1251126" y="804744"/>
                  <a:pt x="1251126" y="802175"/>
                </a:cubicBezTo>
                <a:cubicBezTo>
                  <a:pt x="1251126" y="799607"/>
                  <a:pt x="1253694" y="797039"/>
                  <a:pt x="1253694" y="794470"/>
                </a:cubicBezTo>
                <a:cubicBezTo>
                  <a:pt x="1253694" y="791902"/>
                  <a:pt x="1252410" y="788049"/>
                  <a:pt x="1254979" y="785481"/>
                </a:cubicBezTo>
                <a:cubicBezTo>
                  <a:pt x="1256263" y="784197"/>
                  <a:pt x="1258832" y="785481"/>
                  <a:pt x="1258832" y="781628"/>
                </a:cubicBezTo>
                <a:cubicBezTo>
                  <a:pt x="1260116" y="780344"/>
                  <a:pt x="1258832" y="779060"/>
                  <a:pt x="1261400" y="777776"/>
                </a:cubicBezTo>
                <a:cubicBezTo>
                  <a:pt x="1265253" y="775207"/>
                  <a:pt x="1267821" y="777776"/>
                  <a:pt x="1270390" y="772639"/>
                </a:cubicBezTo>
                <a:cubicBezTo>
                  <a:pt x="1271674" y="770071"/>
                  <a:pt x="1274242" y="766218"/>
                  <a:pt x="1274242" y="762365"/>
                </a:cubicBezTo>
                <a:lnTo>
                  <a:pt x="1275695" y="761639"/>
                </a:lnTo>
                <a:lnTo>
                  <a:pt x="1286268" y="770363"/>
                </a:lnTo>
                <a:cubicBezTo>
                  <a:pt x="1279379" y="775207"/>
                  <a:pt x="1276811" y="776492"/>
                  <a:pt x="1275527" y="779060"/>
                </a:cubicBezTo>
                <a:cubicBezTo>
                  <a:pt x="1274242" y="780344"/>
                  <a:pt x="1274242" y="781628"/>
                  <a:pt x="1274242" y="782913"/>
                </a:cubicBezTo>
                <a:cubicBezTo>
                  <a:pt x="1272958" y="786765"/>
                  <a:pt x="1275527" y="789333"/>
                  <a:pt x="1275527" y="793186"/>
                </a:cubicBezTo>
                <a:cubicBezTo>
                  <a:pt x="1276811" y="795755"/>
                  <a:pt x="1278095" y="797039"/>
                  <a:pt x="1278095" y="799607"/>
                </a:cubicBezTo>
                <a:cubicBezTo>
                  <a:pt x="1280664" y="802175"/>
                  <a:pt x="1279379" y="806028"/>
                  <a:pt x="1281948" y="808596"/>
                </a:cubicBezTo>
                <a:cubicBezTo>
                  <a:pt x="1284517" y="809881"/>
                  <a:pt x="1287085" y="809881"/>
                  <a:pt x="1289653" y="808596"/>
                </a:cubicBezTo>
                <a:cubicBezTo>
                  <a:pt x="1292222" y="806028"/>
                  <a:pt x="1294790" y="803459"/>
                  <a:pt x="1298643" y="803459"/>
                </a:cubicBezTo>
                <a:lnTo>
                  <a:pt x="1303780" y="806028"/>
                </a:lnTo>
                <a:cubicBezTo>
                  <a:pt x="1306348" y="807312"/>
                  <a:pt x="1307633" y="806028"/>
                  <a:pt x="1310201" y="806028"/>
                </a:cubicBezTo>
                <a:cubicBezTo>
                  <a:pt x="1312770" y="807312"/>
                  <a:pt x="1316622" y="811165"/>
                  <a:pt x="1311485" y="812449"/>
                </a:cubicBezTo>
                <a:cubicBezTo>
                  <a:pt x="1308917" y="813733"/>
                  <a:pt x="1306348" y="812449"/>
                  <a:pt x="1303780" y="812449"/>
                </a:cubicBezTo>
                <a:cubicBezTo>
                  <a:pt x="1299927" y="812449"/>
                  <a:pt x="1299927" y="815018"/>
                  <a:pt x="1297359" y="815018"/>
                </a:cubicBezTo>
                <a:cubicBezTo>
                  <a:pt x="1293506" y="816301"/>
                  <a:pt x="1290937" y="812449"/>
                  <a:pt x="1287085" y="815018"/>
                </a:cubicBezTo>
                <a:cubicBezTo>
                  <a:pt x="1279379" y="820154"/>
                  <a:pt x="1290937" y="826575"/>
                  <a:pt x="1285800" y="831712"/>
                </a:cubicBezTo>
                <a:cubicBezTo>
                  <a:pt x="1283232" y="835564"/>
                  <a:pt x="1280664" y="830427"/>
                  <a:pt x="1279379" y="829144"/>
                </a:cubicBezTo>
                <a:lnTo>
                  <a:pt x="1271674" y="832996"/>
                </a:lnTo>
                <a:cubicBezTo>
                  <a:pt x="1270390" y="836849"/>
                  <a:pt x="1272958" y="839417"/>
                  <a:pt x="1271674" y="843270"/>
                </a:cubicBezTo>
                <a:cubicBezTo>
                  <a:pt x="1271674" y="844553"/>
                  <a:pt x="1270390" y="844553"/>
                  <a:pt x="1269105" y="845838"/>
                </a:cubicBezTo>
                <a:cubicBezTo>
                  <a:pt x="1269105" y="848406"/>
                  <a:pt x="1270390" y="848406"/>
                  <a:pt x="1270390" y="849690"/>
                </a:cubicBezTo>
                <a:cubicBezTo>
                  <a:pt x="1269105" y="852259"/>
                  <a:pt x="1267821" y="850975"/>
                  <a:pt x="1266537" y="852259"/>
                </a:cubicBezTo>
                <a:cubicBezTo>
                  <a:pt x="1262684" y="852259"/>
                  <a:pt x="1263969" y="854827"/>
                  <a:pt x="1262684" y="856112"/>
                </a:cubicBezTo>
                <a:cubicBezTo>
                  <a:pt x="1260116" y="859964"/>
                  <a:pt x="1256263" y="858680"/>
                  <a:pt x="1252410" y="858680"/>
                </a:cubicBezTo>
                <a:cubicBezTo>
                  <a:pt x="1247274" y="858680"/>
                  <a:pt x="1244705" y="859964"/>
                  <a:pt x="1239568" y="862532"/>
                </a:cubicBezTo>
                <a:cubicBezTo>
                  <a:pt x="1234431" y="863817"/>
                  <a:pt x="1231863" y="859964"/>
                  <a:pt x="1228010" y="859964"/>
                </a:cubicBezTo>
                <a:cubicBezTo>
                  <a:pt x="1224157" y="858680"/>
                  <a:pt x="1226726" y="861248"/>
                  <a:pt x="1224157" y="862532"/>
                </a:cubicBezTo>
                <a:cubicBezTo>
                  <a:pt x="1221589" y="863817"/>
                  <a:pt x="1220304" y="862532"/>
                  <a:pt x="1219020" y="861248"/>
                </a:cubicBezTo>
                <a:cubicBezTo>
                  <a:pt x="1217736" y="861248"/>
                  <a:pt x="1216451" y="859964"/>
                  <a:pt x="1215168" y="858680"/>
                </a:cubicBezTo>
                <a:cubicBezTo>
                  <a:pt x="1211315" y="854827"/>
                  <a:pt x="1216451" y="853543"/>
                  <a:pt x="1215168" y="850975"/>
                </a:cubicBezTo>
                <a:cubicBezTo>
                  <a:pt x="1215168" y="847122"/>
                  <a:pt x="1213883" y="847122"/>
                  <a:pt x="1215168" y="844553"/>
                </a:cubicBezTo>
                <a:cubicBezTo>
                  <a:pt x="1215168" y="843270"/>
                  <a:pt x="1215168" y="841986"/>
                  <a:pt x="1215168" y="840701"/>
                </a:cubicBezTo>
                <a:cubicBezTo>
                  <a:pt x="1215168" y="839417"/>
                  <a:pt x="1215168" y="838133"/>
                  <a:pt x="1215168" y="835564"/>
                </a:cubicBezTo>
                <a:cubicBezTo>
                  <a:pt x="1216451" y="834280"/>
                  <a:pt x="1217736" y="827859"/>
                  <a:pt x="1213883" y="830427"/>
                </a:cubicBezTo>
                <a:cubicBezTo>
                  <a:pt x="1211315" y="830427"/>
                  <a:pt x="1212599" y="832996"/>
                  <a:pt x="1211315" y="832996"/>
                </a:cubicBezTo>
                <a:cubicBezTo>
                  <a:pt x="1210031" y="834280"/>
                  <a:pt x="1208746" y="832996"/>
                  <a:pt x="1207462" y="832996"/>
                </a:cubicBezTo>
                <a:cubicBezTo>
                  <a:pt x="1204893" y="835564"/>
                  <a:pt x="1211315" y="836849"/>
                  <a:pt x="1211315" y="838133"/>
                </a:cubicBezTo>
                <a:cubicBezTo>
                  <a:pt x="1208746" y="839417"/>
                  <a:pt x="1199756" y="839417"/>
                  <a:pt x="1202325" y="844553"/>
                </a:cubicBezTo>
                <a:cubicBezTo>
                  <a:pt x="1203609" y="845838"/>
                  <a:pt x="1204893" y="845838"/>
                  <a:pt x="1206178" y="847122"/>
                </a:cubicBezTo>
                <a:cubicBezTo>
                  <a:pt x="1206178" y="849690"/>
                  <a:pt x="1204893" y="849690"/>
                  <a:pt x="1204893" y="850975"/>
                </a:cubicBezTo>
                <a:cubicBezTo>
                  <a:pt x="1203609" y="854827"/>
                  <a:pt x="1208746" y="857396"/>
                  <a:pt x="1210031" y="859964"/>
                </a:cubicBezTo>
                <a:cubicBezTo>
                  <a:pt x="1211315" y="866385"/>
                  <a:pt x="1206178" y="865101"/>
                  <a:pt x="1199756" y="867669"/>
                </a:cubicBezTo>
                <a:cubicBezTo>
                  <a:pt x="1198473" y="868953"/>
                  <a:pt x="1197188" y="867669"/>
                  <a:pt x="1195904" y="867669"/>
                </a:cubicBezTo>
                <a:cubicBezTo>
                  <a:pt x="1192051" y="867669"/>
                  <a:pt x="1189483" y="868953"/>
                  <a:pt x="1186914" y="871522"/>
                </a:cubicBezTo>
                <a:cubicBezTo>
                  <a:pt x="1185630" y="875374"/>
                  <a:pt x="1186914" y="877943"/>
                  <a:pt x="1185630" y="880511"/>
                </a:cubicBezTo>
                <a:cubicBezTo>
                  <a:pt x="1183061" y="884364"/>
                  <a:pt x="1177925" y="884364"/>
                  <a:pt x="1174072" y="883080"/>
                </a:cubicBezTo>
                <a:cubicBezTo>
                  <a:pt x="1171503" y="883080"/>
                  <a:pt x="1168935" y="883080"/>
                  <a:pt x="1168935" y="886932"/>
                </a:cubicBezTo>
                <a:cubicBezTo>
                  <a:pt x="1168935" y="889500"/>
                  <a:pt x="1171503" y="890784"/>
                  <a:pt x="1170219" y="893353"/>
                </a:cubicBezTo>
                <a:cubicBezTo>
                  <a:pt x="1170219" y="895921"/>
                  <a:pt x="1166366" y="895921"/>
                  <a:pt x="1163798" y="895921"/>
                </a:cubicBezTo>
                <a:cubicBezTo>
                  <a:pt x="1161230" y="895921"/>
                  <a:pt x="1159945" y="893353"/>
                  <a:pt x="1157377" y="893353"/>
                </a:cubicBezTo>
                <a:lnTo>
                  <a:pt x="1154326" y="894477"/>
                </a:lnTo>
                <a:cubicBezTo>
                  <a:pt x="1154487" y="895600"/>
                  <a:pt x="1155451" y="897206"/>
                  <a:pt x="1156093" y="898490"/>
                </a:cubicBezTo>
                <a:cubicBezTo>
                  <a:pt x="1157377" y="902343"/>
                  <a:pt x="1152240" y="901058"/>
                  <a:pt x="1149671" y="901058"/>
                </a:cubicBezTo>
                <a:cubicBezTo>
                  <a:pt x="1145819" y="902343"/>
                  <a:pt x="1138113" y="899774"/>
                  <a:pt x="1138113" y="904911"/>
                </a:cubicBezTo>
                <a:cubicBezTo>
                  <a:pt x="1138113" y="908763"/>
                  <a:pt x="1143250" y="908763"/>
                  <a:pt x="1147103" y="910047"/>
                </a:cubicBezTo>
                <a:cubicBezTo>
                  <a:pt x="1150955" y="911332"/>
                  <a:pt x="1148387" y="916469"/>
                  <a:pt x="1152240" y="919037"/>
                </a:cubicBezTo>
                <a:cubicBezTo>
                  <a:pt x="1156093" y="921605"/>
                  <a:pt x="1163798" y="921605"/>
                  <a:pt x="1159945" y="928026"/>
                </a:cubicBezTo>
                <a:cubicBezTo>
                  <a:pt x="1158661" y="930595"/>
                  <a:pt x="1157377" y="930595"/>
                  <a:pt x="1156093" y="933163"/>
                </a:cubicBezTo>
                <a:cubicBezTo>
                  <a:pt x="1156093" y="935731"/>
                  <a:pt x="1156093" y="938300"/>
                  <a:pt x="1154808" y="940868"/>
                </a:cubicBezTo>
                <a:cubicBezTo>
                  <a:pt x="1152240" y="944721"/>
                  <a:pt x="1145819" y="944721"/>
                  <a:pt x="1141966" y="944721"/>
                </a:cubicBezTo>
                <a:cubicBezTo>
                  <a:pt x="1139397" y="944721"/>
                  <a:pt x="1135545" y="944721"/>
                  <a:pt x="1132976" y="943437"/>
                </a:cubicBezTo>
                <a:cubicBezTo>
                  <a:pt x="1131692" y="943437"/>
                  <a:pt x="1130407" y="943437"/>
                  <a:pt x="1129124" y="942152"/>
                </a:cubicBezTo>
                <a:cubicBezTo>
                  <a:pt x="1127839" y="942152"/>
                  <a:pt x="1126555" y="939584"/>
                  <a:pt x="1122702" y="940868"/>
                </a:cubicBezTo>
                <a:cubicBezTo>
                  <a:pt x="1121418" y="942152"/>
                  <a:pt x="1121418" y="942152"/>
                  <a:pt x="1120134" y="942152"/>
                </a:cubicBezTo>
                <a:cubicBezTo>
                  <a:pt x="1116281" y="943437"/>
                  <a:pt x="1113712" y="944721"/>
                  <a:pt x="1114997" y="948573"/>
                </a:cubicBezTo>
                <a:cubicBezTo>
                  <a:pt x="1114997" y="953710"/>
                  <a:pt x="1118850" y="957563"/>
                  <a:pt x="1116281" y="962699"/>
                </a:cubicBezTo>
                <a:cubicBezTo>
                  <a:pt x="1113712" y="965268"/>
                  <a:pt x="1112429" y="967836"/>
                  <a:pt x="1113712" y="970405"/>
                </a:cubicBezTo>
                <a:cubicBezTo>
                  <a:pt x="1113712" y="975541"/>
                  <a:pt x="1116281" y="981962"/>
                  <a:pt x="1120134" y="984531"/>
                </a:cubicBezTo>
                <a:lnTo>
                  <a:pt x="1126555" y="985815"/>
                </a:lnTo>
                <a:cubicBezTo>
                  <a:pt x="1129124" y="988383"/>
                  <a:pt x="1131692" y="989668"/>
                  <a:pt x="1135545" y="989668"/>
                </a:cubicBezTo>
                <a:cubicBezTo>
                  <a:pt x="1138113" y="989668"/>
                  <a:pt x="1139397" y="988383"/>
                  <a:pt x="1141966" y="988383"/>
                </a:cubicBezTo>
                <a:cubicBezTo>
                  <a:pt x="1144535" y="988383"/>
                  <a:pt x="1145819" y="990951"/>
                  <a:pt x="1148387" y="989668"/>
                </a:cubicBezTo>
                <a:cubicBezTo>
                  <a:pt x="1150955" y="989668"/>
                  <a:pt x="1152240" y="988383"/>
                  <a:pt x="1153524" y="985815"/>
                </a:cubicBezTo>
                <a:cubicBezTo>
                  <a:pt x="1153524" y="983246"/>
                  <a:pt x="1154808" y="983246"/>
                  <a:pt x="1157377" y="981962"/>
                </a:cubicBezTo>
                <a:cubicBezTo>
                  <a:pt x="1159945" y="980678"/>
                  <a:pt x="1162514" y="978109"/>
                  <a:pt x="1162514" y="975541"/>
                </a:cubicBezTo>
                <a:cubicBezTo>
                  <a:pt x="1163798" y="972973"/>
                  <a:pt x="1162514" y="970405"/>
                  <a:pt x="1163798" y="966552"/>
                </a:cubicBezTo>
                <a:cubicBezTo>
                  <a:pt x="1166366" y="963983"/>
                  <a:pt x="1167650" y="958847"/>
                  <a:pt x="1171503" y="957563"/>
                </a:cubicBezTo>
                <a:lnTo>
                  <a:pt x="1179209" y="953710"/>
                </a:lnTo>
                <a:cubicBezTo>
                  <a:pt x="1180493" y="949857"/>
                  <a:pt x="1177925" y="946005"/>
                  <a:pt x="1180493" y="943437"/>
                </a:cubicBezTo>
                <a:cubicBezTo>
                  <a:pt x="1181778" y="942152"/>
                  <a:pt x="1184346" y="942152"/>
                  <a:pt x="1186914" y="942152"/>
                </a:cubicBezTo>
                <a:lnTo>
                  <a:pt x="1193335" y="943437"/>
                </a:lnTo>
                <a:cubicBezTo>
                  <a:pt x="1194620" y="944721"/>
                  <a:pt x="1195904" y="943437"/>
                  <a:pt x="1198473" y="942152"/>
                </a:cubicBezTo>
                <a:lnTo>
                  <a:pt x="1203609" y="937015"/>
                </a:lnTo>
                <a:cubicBezTo>
                  <a:pt x="1204893" y="935731"/>
                  <a:pt x="1206178" y="935731"/>
                  <a:pt x="1208746" y="935731"/>
                </a:cubicBezTo>
                <a:cubicBezTo>
                  <a:pt x="1212599" y="935731"/>
                  <a:pt x="1215168" y="939584"/>
                  <a:pt x="1216451" y="942152"/>
                </a:cubicBezTo>
                <a:cubicBezTo>
                  <a:pt x="1216451" y="944721"/>
                  <a:pt x="1217736" y="946005"/>
                  <a:pt x="1219020" y="948573"/>
                </a:cubicBezTo>
                <a:cubicBezTo>
                  <a:pt x="1219020" y="949857"/>
                  <a:pt x="1220304" y="951141"/>
                  <a:pt x="1221589" y="952426"/>
                </a:cubicBezTo>
                <a:cubicBezTo>
                  <a:pt x="1224157" y="954994"/>
                  <a:pt x="1228010" y="957563"/>
                  <a:pt x="1230578" y="958847"/>
                </a:cubicBezTo>
                <a:cubicBezTo>
                  <a:pt x="1235715" y="960131"/>
                  <a:pt x="1238284" y="961415"/>
                  <a:pt x="1240852" y="966552"/>
                </a:cubicBezTo>
                <a:cubicBezTo>
                  <a:pt x="1242136" y="969120"/>
                  <a:pt x="1243421" y="971689"/>
                  <a:pt x="1243421" y="975541"/>
                </a:cubicBezTo>
                <a:lnTo>
                  <a:pt x="1242136" y="980678"/>
                </a:lnTo>
                <a:cubicBezTo>
                  <a:pt x="1240852" y="981962"/>
                  <a:pt x="1239568" y="981962"/>
                  <a:pt x="1238284" y="981962"/>
                </a:cubicBezTo>
                <a:cubicBezTo>
                  <a:pt x="1235715" y="981962"/>
                  <a:pt x="1234431" y="980678"/>
                  <a:pt x="1231863" y="980678"/>
                </a:cubicBezTo>
                <a:cubicBezTo>
                  <a:pt x="1228010" y="981962"/>
                  <a:pt x="1228010" y="984531"/>
                  <a:pt x="1230578" y="987099"/>
                </a:cubicBezTo>
                <a:cubicBezTo>
                  <a:pt x="1231863" y="988383"/>
                  <a:pt x="1233147" y="988383"/>
                  <a:pt x="1234431" y="988383"/>
                </a:cubicBezTo>
                <a:cubicBezTo>
                  <a:pt x="1235715" y="989668"/>
                  <a:pt x="1236999" y="989668"/>
                  <a:pt x="1238284" y="988383"/>
                </a:cubicBezTo>
                <a:cubicBezTo>
                  <a:pt x="1239568" y="987099"/>
                  <a:pt x="1239568" y="985815"/>
                  <a:pt x="1240852" y="984531"/>
                </a:cubicBezTo>
                <a:cubicBezTo>
                  <a:pt x="1242136" y="983246"/>
                  <a:pt x="1243421" y="983246"/>
                  <a:pt x="1244705" y="980678"/>
                </a:cubicBezTo>
                <a:cubicBezTo>
                  <a:pt x="1245989" y="979394"/>
                  <a:pt x="1245989" y="979394"/>
                  <a:pt x="1248558" y="975541"/>
                </a:cubicBezTo>
                <a:cubicBezTo>
                  <a:pt x="1249842" y="972973"/>
                  <a:pt x="1249842" y="972973"/>
                  <a:pt x="1248558" y="970405"/>
                </a:cubicBezTo>
                <a:cubicBezTo>
                  <a:pt x="1247274" y="969120"/>
                  <a:pt x="1247274" y="966552"/>
                  <a:pt x="1248558" y="965268"/>
                </a:cubicBezTo>
                <a:cubicBezTo>
                  <a:pt x="1249842" y="962699"/>
                  <a:pt x="1253694" y="967836"/>
                  <a:pt x="1254979" y="966552"/>
                </a:cubicBezTo>
                <a:cubicBezTo>
                  <a:pt x="1257547" y="965268"/>
                  <a:pt x="1252410" y="961415"/>
                  <a:pt x="1251126" y="960131"/>
                </a:cubicBezTo>
                <a:cubicBezTo>
                  <a:pt x="1249842" y="960131"/>
                  <a:pt x="1248558" y="960131"/>
                  <a:pt x="1245989" y="958847"/>
                </a:cubicBezTo>
                <a:cubicBezTo>
                  <a:pt x="1244705" y="957563"/>
                  <a:pt x="1244705" y="956278"/>
                  <a:pt x="1243421" y="954994"/>
                </a:cubicBezTo>
                <a:cubicBezTo>
                  <a:pt x="1239568" y="952426"/>
                  <a:pt x="1235715" y="951141"/>
                  <a:pt x="1233147" y="948573"/>
                </a:cubicBezTo>
                <a:cubicBezTo>
                  <a:pt x="1231863" y="946005"/>
                  <a:pt x="1230578" y="944721"/>
                  <a:pt x="1229294" y="942152"/>
                </a:cubicBezTo>
                <a:cubicBezTo>
                  <a:pt x="1228010" y="939584"/>
                  <a:pt x="1226726" y="938300"/>
                  <a:pt x="1225441" y="937015"/>
                </a:cubicBezTo>
                <a:cubicBezTo>
                  <a:pt x="1224157" y="933163"/>
                  <a:pt x="1224157" y="929311"/>
                  <a:pt x="1228010" y="929311"/>
                </a:cubicBezTo>
                <a:cubicBezTo>
                  <a:pt x="1230578" y="930595"/>
                  <a:pt x="1231863" y="931878"/>
                  <a:pt x="1233147" y="933163"/>
                </a:cubicBezTo>
                <a:cubicBezTo>
                  <a:pt x="1234431" y="935731"/>
                  <a:pt x="1235715" y="938300"/>
                  <a:pt x="1238284" y="939584"/>
                </a:cubicBezTo>
                <a:cubicBezTo>
                  <a:pt x="1240852" y="943437"/>
                  <a:pt x="1244705" y="946005"/>
                  <a:pt x="1248558" y="947289"/>
                </a:cubicBezTo>
                <a:cubicBezTo>
                  <a:pt x="1251126" y="948573"/>
                  <a:pt x="1254979" y="949857"/>
                  <a:pt x="1257547" y="951141"/>
                </a:cubicBezTo>
                <a:cubicBezTo>
                  <a:pt x="1258832" y="952426"/>
                  <a:pt x="1260116" y="953710"/>
                  <a:pt x="1261400" y="956278"/>
                </a:cubicBezTo>
                <a:cubicBezTo>
                  <a:pt x="1261400" y="958847"/>
                  <a:pt x="1261400" y="961415"/>
                  <a:pt x="1261400" y="965268"/>
                </a:cubicBezTo>
                <a:cubicBezTo>
                  <a:pt x="1262684" y="967836"/>
                  <a:pt x="1263969" y="970405"/>
                  <a:pt x="1266537" y="972973"/>
                </a:cubicBezTo>
                <a:cubicBezTo>
                  <a:pt x="1267821" y="974257"/>
                  <a:pt x="1267821" y="974257"/>
                  <a:pt x="1269105" y="975541"/>
                </a:cubicBezTo>
                <a:cubicBezTo>
                  <a:pt x="1270390" y="976825"/>
                  <a:pt x="1270390" y="976825"/>
                  <a:pt x="1271674" y="978109"/>
                </a:cubicBezTo>
                <a:lnTo>
                  <a:pt x="1276811" y="980678"/>
                </a:lnTo>
                <a:cubicBezTo>
                  <a:pt x="1278088" y="983233"/>
                  <a:pt x="1274281" y="981976"/>
                  <a:pt x="1274242" y="981962"/>
                </a:cubicBezTo>
                <a:cubicBezTo>
                  <a:pt x="1271674" y="981962"/>
                  <a:pt x="1271674" y="984531"/>
                  <a:pt x="1272958" y="985815"/>
                </a:cubicBezTo>
                <a:cubicBezTo>
                  <a:pt x="1272958" y="988383"/>
                  <a:pt x="1275527" y="989668"/>
                  <a:pt x="1278095" y="989668"/>
                </a:cubicBezTo>
                <a:cubicBezTo>
                  <a:pt x="1280664" y="989668"/>
                  <a:pt x="1280664" y="988383"/>
                  <a:pt x="1280664" y="987099"/>
                </a:cubicBezTo>
                <a:cubicBezTo>
                  <a:pt x="1280664" y="983246"/>
                  <a:pt x="1281948" y="983246"/>
                  <a:pt x="1284517" y="983246"/>
                </a:cubicBezTo>
                <a:lnTo>
                  <a:pt x="1285800" y="978109"/>
                </a:lnTo>
                <a:cubicBezTo>
                  <a:pt x="1285800" y="976825"/>
                  <a:pt x="1284517" y="975541"/>
                  <a:pt x="1283232" y="974257"/>
                </a:cubicBezTo>
                <a:cubicBezTo>
                  <a:pt x="1281948" y="972973"/>
                  <a:pt x="1280664" y="971689"/>
                  <a:pt x="1280664" y="969120"/>
                </a:cubicBezTo>
                <a:lnTo>
                  <a:pt x="1285800" y="967836"/>
                </a:lnTo>
                <a:cubicBezTo>
                  <a:pt x="1287085" y="966552"/>
                  <a:pt x="1287085" y="966552"/>
                  <a:pt x="1288369" y="966552"/>
                </a:cubicBezTo>
                <a:cubicBezTo>
                  <a:pt x="1288369" y="965268"/>
                  <a:pt x="1288369" y="963983"/>
                  <a:pt x="1288369" y="962699"/>
                </a:cubicBezTo>
                <a:cubicBezTo>
                  <a:pt x="1289653" y="961415"/>
                  <a:pt x="1290937" y="961415"/>
                  <a:pt x="1292222" y="961415"/>
                </a:cubicBezTo>
                <a:cubicBezTo>
                  <a:pt x="1293506" y="961415"/>
                  <a:pt x="1293506" y="961415"/>
                  <a:pt x="1294790" y="961415"/>
                </a:cubicBezTo>
                <a:cubicBezTo>
                  <a:pt x="1297359" y="962699"/>
                  <a:pt x="1297359" y="962699"/>
                  <a:pt x="1298643" y="965268"/>
                </a:cubicBezTo>
                <a:cubicBezTo>
                  <a:pt x="1299927" y="967836"/>
                  <a:pt x="1301212" y="970405"/>
                  <a:pt x="1301212" y="972973"/>
                </a:cubicBezTo>
                <a:cubicBezTo>
                  <a:pt x="1301212" y="978109"/>
                  <a:pt x="1299927" y="981962"/>
                  <a:pt x="1303780" y="987099"/>
                </a:cubicBezTo>
                <a:cubicBezTo>
                  <a:pt x="1305064" y="988383"/>
                  <a:pt x="1307633" y="988383"/>
                  <a:pt x="1308917" y="989668"/>
                </a:cubicBezTo>
                <a:lnTo>
                  <a:pt x="1314054" y="996088"/>
                </a:lnTo>
                <a:cubicBezTo>
                  <a:pt x="1317907" y="998657"/>
                  <a:pt x="1319190" y="993520"/>
                  <a:pt x="1323043" y="993520"/>
                </a:cubicBezTo>
                <a:cubicBezTo>
                  <a:pt x="1326896" y="990951"/>
                  <a:pt x="1328180" y="994804"/>
                  <a:pt x="1330749" y="996088"/>
                </a:cubicBezTo>
                <a:cubicBezTo>
                  <a:pt x="1334602" y="997372"/>
                  <a:pt x="1341023" y="996088"/>
                  <a:pt x="1342307" y="994804"/>
                </a:cubicBezTo>
                <a:cubicBezTo>
                  <a:pt x="1343591" y="993520"/>
                  <a:pt x="1346160" y="988383"/>
                  <a:pt x="1348728" y="992236"/>
                </a:cubicBezTo>
                <a:cubicBezTo>
                  <a:pt x="1353865" y="997372"/>
                  <a:pt x="1342307" y="1007646"/>
                  <a:pt x="1343591" y="1014067"/>
                </a:cubicBezTo>
                <a:cubicBezTo>
                  <a:pt x="1343591" y="1016635"/>
                  <a:pt x="1346160" y="1020488"/>
                  <a:pt x="1342307" y="1023056"/>
                </a:cubicBezTo>
                <a:cubicBezTo>
                  <a:pt x="1338454" y="1024340"/>
                  <a:pt x="1333318" y="1023056"/>
                  <a:pt x="1329465" y="1024340"/>
                </a:cubicBezTo>
                <a:cubicBezTo>
                  <a:pt x="1326896" y="1024340"/>
                  <a:pt x="1324328" y="1025625"/>
                  <a:pt x="1321759" y="1026909"/>
                </a:cubicBezTo>
                <a:cubicBezTo>
                  <a:pt x="1317907" y="1029477"/>
                  <a:pt x="1315338" y="1028193"/>
                  <a:pt x="1311485" y="1026909"/>
                </a:cubicBezTo>
                <a:cubicBezTo>
                  <a:pt x="1310201" y="1025625"/>
                  <a:pt x="1308917" y="1025625"/>
                  <a:pt x="1307633" y="1025625"/>
                </a:cubicBezTo>
                <a:cubicBezTo>
                  <a:pt x="1306348" y="1025625"/>
                  <a:pt x="1306348" y="1026909"/>
                  <a:pt x="1305064" y="1026909"/>
                </a:cubicBezTo>
                <a:cubicBezTo>
                  <a:pt x="1303780" y="1028193"/>
                  <a:pt x="1303780" y="1026909"/>
                  <a:pt x="1301212" y="1026909"/>
                </a:cubicBezTo>
                <a:cubicBezTo>
                  <a:pt x="1296075" y="1026909"/>
                  <a:pt x="1290937" y="1028193"/>
                  <a:pt x="1285800" y="1024340"/>
                </a:cubicBezTo>
                <a:cubicBezTo>
                  <a:pt x="1281948" y="1020488"/>
                  <a:pt x="1278095" y="1016635"/>
                  <a:pt x="1272958" y="1016635"/>
                </a:cubicBezTo>
                <a:cubicBezTo>
                  <a:pt x="1269105" y="1017920"/>
                  <a:pt x="1265253" y="1019203"/>
                  <a:pt x="1263969" y="1024340"/>
                </a:cubicBezTo>
                <a:cubicBezTo>
                  <a:pt x="1263969" y="1026909"/>
                  <a:pt x="1265253" y="1030762"/>
                  <a:pt x="1261400" y="1032046"/>
                </a:cubicBezTo>
                <a:cubicBezTo>
                  <a:pt x="1257547" y="1034614"/>
                  <a:pt x="1245989" y="1030762"/>
                  <a:pt x="1243421" y="1026909"/>
                </a:cubicBezTo>
                <a:cubicBezTo>
                  <a:pt x="1239568" y="1023056"/>
                  <a:pt x="1235715" y="1020488"/>
                  <a:pt x="1229294" y="1019203"/>
                </a:cubicBezTo>
                <a:cubicBezTo>
                  <a:pt x="1224157" y="1017920"/>
                  <a:pt x="1217736" y="1015351"/>
                  <a:pt x="1215168" y="1010214"/>
                </a:cubicBezTo>
                <a:cubicBezTo>
                  <a:pt x="1212599" y="1003794"/>
                  <a:pt x="1221589" y="992236"/>
                  <a:pt x="1213883" y="987099"/>
                </a:cubicBezTo>
                <a:cubicBezTo>
                  <a:pt x="1208746" y="985815"/>
                  <a:pt x="1202325" y="985815"/>
                  <a:pt x="1198473" y="988383"/>
                </a:cubicBezTo>
                <a:cubicBezTo>
                  <a:pt x="1192051" y="989668"/>
                  <a:pt x="1185630" y="990951"/>
                  <a:pt x="1179209" y="989668"/>
                </a:cubicBezTo>
                <a:cubicBezTo>
                  <a:pt x="1172788" y="989668"/>
                  <a:pt x="1168935" y="990951"/>
                  <a:pt x="1163798" y="994804"/>
                </a:cubicBezTo>
                <a:cubicBezTo>
                  <a:pt x="1157377" y="998657"/>
                  <a:pt x="1153524" y="1002509"/>
                  <a:pt x="1147103" y="999941"/>
                </a:cubicBezTo>
                <a:cubicBezTo>
                  <a:pt x="1143250" y="998657"/>
                  <a:pt x="1143250" y="999941"/>
                  <a:pt x="1139397" y="999941"/>
                </a:cubicBezTo>
                <a:cubicBezTo>
                  <a:pt x="1136829" y="999941"/>
                  <a:pt x="1135545" y="996088"/>
                  <a:pt x="1132976" y="996088"/>
                </a:cubicBezTo>
                <a:cubicBezTo>
                  <a:pt x="1125271" y="997372"/>
                  <a:pt x="1129124" y="1003794"/>
                  <a:pt x="1127839" y="1007646"/>
                </a:cubicBezTo>
                <a:cubicBezTo>
                  <a:pt x="1126555" y="1011499"/>
                  <a:pt x="1120134" y="1011499"/>
                  <a:pt x="1117565" y="1014067"/>
                </a:cubicBezTo>
                <a:cubicBezTo>
                  <a:pt x="1112429" y="1019203"/>
                  <a:pt x="1111144" y="1028193"/>
                  <a:pt x="1111144" y="1034614"/>
                </a:cubicBezTo>
                <a:cubicBezTo>
                  <a:pt x="1111144" y="1041035"/>
                  <a:pt x="1108576" y="1046172"/>
                  <a:pt x="1104723" y="1050024"/>
                </a:cubicBezTo>
                <a:cubicBezTo>
                  <a:pt x="1098302" y="1055161"/>
                  <a:pt x="1093165" y="1056445"/>
                  <a:pt x="1090596" y="1062866"/>
                </a:cubicBezTo>
                <a:cubicBezTo>
                  <a:pt x="1088028" y="1068003"/>
                  <a:pt x="1088028" y="1071856"/>
                  <a:pt x="1082891" y="1075708"/>
                </a:cubicBezTo>
                <a:cubicBezTo>
                  <a:pt x="1080322" y="1078276"/>
                  <a:pt x="1079038" y="1079560"/>
                  <a:pt x="1077754" y="1082129"/>
                </a:cubicBezTo>
                <a:cubicBezTo>
                  <a:pt x="1077754" y="1088550"/>
                  <a:pt x="1073901" y="1092402"/>
                  <a:pt x="1076470" y="1097539"/>
                </a:cubicBezTo>
                <a:cubicBezTo>
                  <a:pt x="1079038" y="1100108"/>
                  <a:pt x="1077754" y="1103960"/>
                  <a:pt x="1079038" y="1106528"/>
                </a:cubicBezTo>
                <a:cubicBezTo>
                  <a:pt x="1079038" y="1109097"/>
                  <a:pt x="1080322" y="1111665"/>
                  <a:pt x="1080322" y="1115518"/>
                </a:cubicBezTo>
                <a:cubicBezTo>
                  <a:pt x="1080322" y="1119371"/>
                  <a:pt x="1077754" y="1121939"/>
                  <a:pt x="1076470" y="1125791"/>
                </a:cubicBezTo>
                <a:lnTo>
                  <a:pt x="1075186" y="1141202"/>
                </a:lnTo>
                <a:cubicBezTo>
                  <a:pt x="1075186" y="1148907"/>
                  <a:pt x="1082891" y="1152759"/>
                  <a:pt x="1085459" y="1157896"/>
                </a:cubicBezTo>
                <a:cubicBezTo>
                  <a:pt x="1091881" y="1166885"/>
                  <a:pt x="1094449" y="1184864"/>
                  <a:pt x="1104723" y="1191285"/>
                </a:cubicBezTo>
                <a:cubicBezTo>
                  <a:pt x="1112429" y="1195138"/>
                  <a:pt x="1122702" y="1201559"/>
                  <a:pt x="1131692" y="1197706"/>
                </a:cubicBezTo>
                <a:cubicBezTo>
                  <a:pt x="1136829" y="1196422"/>
                  <a:pt x="1140682" y="1195138"/>
                  <a:pt x="1147103" y="1195138"/>
                </a:cubicBezTo>
                <a:lnTo>
                  <a:pt x="1152240" y="1193853"/>
                </a:lnTo>
                <a:lnTo>
                  <a:pt x="1157377" y="1196422"/>
                </a:lnTo>
                <a:cubicBezTo>
                  <a:pt x="1163798" y="1197706"/>
                  <a:pt x="1168935" y="1193853"/>
                  <a:pt x="1174072" y="1192570"/>
                </a:cubicBezTo>
                <a:lnTo>
                  <a:pt x="1181778" y="1191285"/>
                </a:lnTo>
                <a:cubicBezTo>
                  <a:pt x="1185630" y="1191285"/>
                  <a:pt x="1185630" y="1192570"/>
                  <a:pt x="1188198" y="1193853"/>
                </a:cubicBezTo>
                <a:cubicBezTo>
                  <a:pt x="1192051" y="1196422"/>
                  <a:pt x="1194620" y="1198990"/>
                  <a:pt x="1198473" y="1200275"/>
                </a:cubicBezTo>
                <a:cubicBezTo>
                  <a:pt x="1213883" y="1205412"/>
                  <a:pt x="1210031" y="1222106"/>
                  <a:pt x="1207462" y="1234948"/>
                </a:cubicBezTo>
                <a:cubicBezTo>
                  <a:pt x="1206178" y="1240084"/>
                  <a:pt x="1208746" y="1247790"/>
                  <a:pt x="1212599" y="1252926"/>
                </a:cubicBezTo>
                <a:cubicBezTo>
                  <a:pt x="1216451" y="1258063"/>
                  <a:pt x="1221589" y="1261916"/>
                  <a:pt x="1224157" y="1267052"/>
                </a:cubicBezTo>
                <a:cubicBezTo>
                  <a:pt x="1226726" y="1269621"/>
                  <a:pt x="1228010" y="1273473"/>
                  <a:pt x="1228010" y="1276042"/>
                </a:cubicBezTo>
                <a:cubicBezTo>
                  <a:pt x="1228010" y="1278610"/>
                  <a:pt x="1228010" y="1279895"/>
                  <a:pt x="1229294" y="1281178"/>
                </a:cubicBezTo>
                <a:cubicBezTo>
                  <a:pt x="1229294" y="1287600"/>
                  <a:pt x="1225441" y="1291452"/>
                  <a:pt x="1229294" y="1296589"/>
                </a:cubicBezTo>
                <a:cubicBezTo>
                  <a:pt x="1235715" y="1305578"/>
                  <a:pt x="1225441" y="1317136"/>
                  <a:pt x="1222873" y="1326125"/>
                </a:cubicBezTo>
                <a:cubicBezTo>
                  <a:pt x="1221589" y="1332546"/>
                  <a:pt x="1219020" y="1341535"/>
                  <a:pt x="1222873" y="1346672"/>
                </a:cubicBezTo>
                <a:cubicBezTo>
                  <a:pt x="1224157" y="1347957"/>
                  <a:pt x="1226726" y="1349241"/>
                  <a:pt x="1228010" y="1350525"/>
                </a:cubicBezTo>
                <a:cubicBezTo>
                  <a:pt x="1230578" y="1354377"/>
                  <a:pt x="1230578" y="1358230"/>
                  <a:pt x="1231863" y="1360798"/>
                </a:cubicBezTo>
                <a:cubicBezTo>
                  <a:pt x="1233147" y="1363367"/>
                  <a:pt x="1233147" y="1367220"/>
                  <a:pt x="1233147" y="1369788"/>
                </a:cubicBezTo>
                <a:cubicBezTo>
                  <a:pt x="1234431" y="1373640"/>
                  <a:pt x="1236999" y="1374925"/>
                  <a:pt x="1238284" y="1378777"/>
                </a:cubicBezTo>
                <a:cubicBezTo>
                  <a:pt x="1239568" y="1389051"/>
                  <a:pt x="1236999" y="1398040"/>
                  <a:pt x="1240852" y="1407029"/>
                </a:cubicBezTo>
                <a:cubicBezTo>
                  <a:pt x="1243421" y="1412166"/>
                  <a:pt x="1245989" y="1417303"/>
                  <a:pt x="1248558" y="1422440"/>
                </a:cubicBezTo>
                <a:cubicBezTo>
                  <a:pt x="1251126" y="1425008"/>
                  <a:pt x="1252410" y="1427576"/>
                  <a:pt x="1252410" y="1431429"/>
                </a:cubicBezTo>
                <a:cubicBezTo>
                  <a:pt x="1253694" y="1436566"/>
                  <a:pt x="1251126" y="1442986"/>
                  <a:pt x="1251126" y="1448123"/>
                </a:cubicBezTo>
                <a:lnTo>
                  <a:pt x="1252893" y="1450331"/>
                </a:lnTo>
                <a:cubicBezTo>
                  <a:pt x="1181930" y="1502527"/>
                  <a:pt x="1094187" y="1532774"/>
                  <a:pt x="999379" y="1532774"/>
                </a:cubicBezTo>
                <a:cubicBezTo>
                  <a:pt x="942720" y="1532774"/>
                  <a:pt x="888583" y="1521971"/>
                  <a:pt x="839242" y="1501491"/>
                </a:cubicBezTo>
                <a:cubicBezTo>
                  <a:pt x="842403" y="1500292"/>
                  <a:pt x="844299" y="1496331"/>
                  <a:pt x="841522" y="1491702"/>
                </a:cubicBezTo>
                <a:cubicBezTo>
                  <a:pt x="842485" y="1488815"/>
                  <a:pt x="844089" y="1489136"/>
                  <a:pt x="845373" y="1489136"/>
                </a:cubicBezTo>
                <a:lnTo>
                  <a:pt x="854360" y="1485284"/>
                </a:lnTo>
                <a:cubicBezTo>
                  <a:pt x="858211" y="1485284"/>
                  <a:pt x="860779" y="1485284"/>
                  <a:pt x="863346" y="1484001"/>
                </a:cubicBezTo>
                <a:cubicBezTo>
                  <a:pt x="865914" y="1482717"/>
                  <a:pt x="867198" y="1480151"/>
                  <a:pt x="868482" y="1477583"/>
                </a:cubicBezTo>
                <a:cubicBezTo>
                  <a:pt x="869766" y="1476299"/>
                  <a:pt x="871049" y="1475016"/>
                  <a:pt x="869766" y="1472449"/>
                </a:cubicBezTo>
                <a:lnTo>
                  <a:pt x="865914" y="1468598"/>
                </a:lnTo>
                <a:cubicBezTo>
                  <a:pt x="865914" y="1466031"/>
                  <a:pt x="867198" y="1464748"/>
                  <a:pt x="867198" y="1463464"/>
                </a:cubicBezTo>
                <a:cubicBezTo>
                  <a:pt x="865914" y="1460896"/>
                  <a:pt x="862063" y="1460896"/>
                  <a:pt x="860779" y="1458330"/>
                </a:cubicBezTo>
                <a:cubicBezTo>
                  <a:pt x="859495" y="1455763"/>
                  <a:pt x="858211" y="1453195"/>
                  <a:pt x="858211" y="1450628"/>
                </a:cubicBezTo>
                <a:lnTo>
                  <a:pt x="863346" y="1449345"/>
                </a:lnTo>
                <a:cubicBezTo>
                  <a:pt x="864630" y="1451912"/>
                  <a:pt x="864630" y="1455763"/>
                  <a:pt x="867198" y="1457046"/>
                </a:cubicBezTo>
                <a:cubicBezTo>
                  <a:pt x="868482" y="1459613"/>
                  <a:pt x="871049" y="1460896"/>
                  <a:pt x="873617" y="1459613"/>
                </a:cubicBezTo>
                <a:cubicBezTo>
                  <a:pt x="874901" y="1459613"/>
                  <a:pt x="876185" y="1458330"/>
                  <a:pt x="877469" y="1459613"/>
                </a:cubicBezTo>
                <a:cubicBezTo>
                  <a:pt x="878752" y="1459613"/>
                  <a:pt x="880036" y="1459613"/>
                  <a:pt x="881320" y="1459613"/>
                </a:cubicBezTo>
                <a:cubicBezTo>
                  <a:pt x="882604" y="1459613"/>
                  <a:pt x="886456" y="1454479"/>
                  <a:pt x="889023" y="1450628"/>
                </a:cubicBezTo>
                <a:cubicBezTo>
                  <a:pt x="890307" y="1448061"/>
                  <a:pt x="891591" y="1446777"/>
                  <a:pt x="891591" y="1445494"/>
                </a:cubicBezTo>
                <a:cubicBezTo>
                  <a:pt x="891591" y="1442927"/>
                  <a:pt x="890307" y="1442927"/>
                  <a:pt x="890307" y="1441643"/>
                </a:cubicBezTo>
                <a:lnTo>
                  <a:pt x="894159" y="1436509"/>
                </a:lnTo>
                <a:cubicBezTo>
                  <a:pt x="895442" y="1435225"/>
                  <a:pt x="896726" y="1432658"/>
                  <a:pt x="901862" y="1431375"/>
                </a:cubicBezTo>
                <a:lnTo>
                  <a:pt x="904429" y="1426240"/>
                </a:lnTo>
                <a:cubicBezTo>
                  <a:pt x="905713" y="1423673"/>
                  <a:pt x="906997" y="1422389"/>
                  <a:pt x="909564" y="1419822"/>
                </a:cubicBezTo>
                <a:cubicBezTo>
                  <a:pt x="915983" y="1413404"/>
                  <a:pt x="909564" y="1406987"/>
                  <a:pt x="910848" y="1399285"/>
                </a:cubicBezTo>
                <a:cubicBezTo>
                  <a:pt x="910848" y="1395434"/>
                  <a:pt x="915983" y="1392868"/>
                  <a:pt x="919835" y="1390300"/>
                </a:cubicBezTo>
                <a:cubicBezTo>
                  <a:pt x="921119" y="1389016"/>
                  <a:pt x="923686" y="1387733"/>
                  <a:pt x="926254" y="1385166"/>
                </a:cubicBezTo>
                <a:cubicBezTo>
                  <a:pt x="927538" y="1385166"/>
                  <a:pt x="927538" y="1383882"/>
                  <a:pt x="928821" y="1382599"/>
                </a:cubicBezTo>
                <a:cubicBezTo>
                  <a:pt x="932673" y="1381315"/>
                  <a:pt x="937808" y="1378748"/>
                  <a:pt x="941660" y="1377465"/>
                </a:cubicBezTo>
                <a:cubicBezTo>
                  <a:pt x="944227" y="1376181"/>
                  <a:pt x="948079" y="1376181"/>
                  <a:pt x="949363" y="1372330"/>
                </a:cubicBezTo>
                <a:lnTo>
                  <a:pt x="949363" y="1367196"/>
                </a:lnTo>
                <a:cubicBezTo>
                  <a:pt x="949363" y="1364628"/>
                  <a:pt x="950647" y="1363345"/>
                  <a:pt x="951930" y="1362062"/>
                </a:cubicBezTo>
                <a:lnTo>
                  <a:pt x="957066" y="1355644"/>
                </a:lnTo>
                <a:cubicBezTo>
                  <a:pt x="958350" y="1353077"/>
                  <a:pt x="958350" y="1351793"/>
                  <a:pt x="958350" y="1347942"/>
                </a:cubicBezTo>
                <a:cubicBezTo>
                  <a:pt x="957066" y="1346659"/>
                  <a:pt x="958350" y="1345375"/>
                  <a:pt x="959633" y="1342808"/>
                </a:cubicBezTo>
                <a:cubicBezTo>
                  <a:pt x="960917" y="1340241"/>
                  <a:pt x="960917" y="1336390"/>
                  <a:pt x="960917" y="1333823"/>
                </a:cubicBezTo>
                <a:cubicBezTo>
                  <a:pt x="960917" y="1329972"/>
                  <a:pt x="958350" y="1327405"/>
                  <a:pt x="958350" y="1323554"/>
                </a:cubicBezTo>
                <a:cubicBezTo>
                  <a:pt x="958350" y="1320987"/>
                  <a:pt x="958350" y="1319704"/>
                  <a:pt x="959633" y="1317136"/>
                </a:cubicBezTo>
                <a:cubicBezTo>
                  <a:pt x="960917" y="1315853"/>
                  <a:pt x="962201" y="1313286"/>
                  <a:pt x="963485" y="1312002"/>
                </a:cubicBezTo>
                <a:cubicBezTo>
                  <a:pt x="964769" y="1312002"/>
                  <a:pt x="966053" y="1312002"/>
                  <a:pt x="968620" y="1310718"/>
                </a:cubicBezTo>
                <a:cubicBezTo>
                  <a:pt x="969904" y="1308151"/>
                  <a:pt x="971188" y="1305584"/>
                  <a:pt x="972472" y="1301733"/>
                </a:cubicBezTo>
                <a:cubicBezTo>
                  <a:pt x="973756" y="1300450"/>
                  <a:pt x="973756" y="1299166"/>
                  <a:pt x="975039" y="1297883"/>
                </a:cubicBezTo>
                <a:cubicBezTo>
                  <a:pt x="975039" y="1296599"/>
                  <a:pt x="976323" y="1295316"/>
                  <a:pt x="977607" y="1295316"/>
                </a:cubicBezTo>
                <a:cubicBezTo>
                  <a:pt x="980175" y="1294032"/>
                  <a:pt x="981459" y="1291465"/>
                  <a:pt x="982742" y="1290181"/>
                </a:cubicBezTo>
                <a:cubicBezTo>
                  <a:pt x="984026" y="1286330"/>
                  <a:pt x="985310" y="1281197"/>
                  <a:pt x="984026" y="1276062"/>
                </a:cubicBezTo>
                <a:lnTo>
                  <a:pt x="981459" y="1270928"/>
                </a:lnTo>
                <a:cubicBezTo>
                  <a:pt x="980175" y="1268360"/>
                  <a:pt x="977607" y="1267077"/>
                  <a:pt x="976323" y="1265794"/>
                </a:cubicBezTo>
                <a:cubicBezTo>
                  <a:pt x="972472" y="1263226"/>
                  <a:pt x="968620" y="1259376"/>
                  <a:pt x="964769" y="1256809"/>
                </a:cubicBezTo>
                <a:cubicBezTo>
                  <a:pt x="960917" y="1254241"/>
                  <a:pt x="957066" y="1252957"/>
                  <a:pt x="953214" y="1251674"/>
                </a:cubicBezTo>
                <a:cubicBezTo>
                  <a:pt x="950647" y="1251674"/>
                  <a:pt x="946795" y="1251674"/>
                  <a:pt x="944227" y="1251674"/>
                </a:cubicBezTo>
                <a:cubicBezTo>
                  <a:pt x="940376" y="1250391"/>
                  <a:pt x="936524" y="1249107"/>
                  <a:pt x="933957" y="1245256"/>
                </a:cubicBezTo>
                <a:cubicBezTo>
                  <a:pt x="932673" y="1242689"/>
                  <a:pt x="931389" y="1242689"/>
                  <a:pt x="928821" y="1241406"/>
                </a:cubicBezTo>
                <a:cubicBezTo>
                  <a:pt x="926254" y="1240122"/>
                  <a:pt x="924970" y="1237554"/>
                  <a:pt x="922402" y="1237554"/>
                </a:cubicBezTo>
                <a:cubicBezTo>
                  <a:pt x="919835" y="1237554"/>
                  <a:pt x="918551" y="1237554"/>
                  <a:pt x="915983" y="1237554"/>
                </a:cubicBezTo>
                <a:cubicBezTo>
                  <a:pt x="913416" y="1236271"/>
                  <a:pt x="912132" y="1233704"/>
                  <a:pt x="909564" y="1232421"/>
                </a:cubicBezTo>
                <a:cubicBezTo>
                  <a:pt x="905713" y="1229853"/>
                  <a:pt x="903145" y="1226003"/>
                  <a:pt x="901862" y="1222152"/>
                </a:cubicBezTo>
                <a:cubicBezTo>
                  <a:pt x="900578" y="1219585"/>
                  <a:pt x="899294" y="1215734"/>
                  <a:pt x="898010" y="1213167"/>
                </a:cubicBezTo>
                <a:cubicBezTo>
                  <a:pt x="896726" y="1208033"/>
                  <a:pt x="894159" y="1199047"/>
                  <a:pt x="887739" y="1197764"/>
                </a:cubicBezTo>
                <a:cubicBezTo>
                  <a:pt x="885172" y="1196480"/>
                  <a:pt x="882604" y="1193913"/>
                  <a:pt x="880036" y="1192630"/>
                </a:cubicBezTo>
                <a:cubicBezTo>
                  <a:pt x="876185" y="1191346"/>
                  <a:pt x="872333" y="1190062"/>
                  <a:pt x="868482" y="1188779"/>
                </a:cubicBezTo>
                <a:cubicBezTo>
                  <a:pt x="860779" y="1186212"/>
                  <a:pt x="853076" y="1179794"/>
                  <a:pt x="847941" y="1173376"/>
                </a:cubicBezTo>
                <a:cubicBezTo>
                  <a:pt x="846657" y="1170809"/>
                  <a:pt x="844089" y="1166958"/>
                  <a:pt x="841522" y="1165674"/>
                </a:cubicBezTo>
                <a:cubicBezTo>
                  <a:pt x="838954" y="1164391"/>
                  <a:pt x="835103" y="1164391"/>
                  <a:pt x="831251" y="1163107"/>
                </a:cubicBezTo>
                <a:cubicBezTo>
                  <a:pt x="827400" y="1161824"/>
                  <a:pt x="822264" y="1161824"/>
                  <a:pt x="818413" y="1161824"/>
                </a:cubicBezTo>
                <a:cubicBezTo>
                  <a:pt x="814561" y="1161824"/>
                  <a:pt x="809426" y="1163107"/>
                  <a:pt x="805575" y="1161824"/>
                </a:cubicBezTo>
                <a:cubicBezTo>
                  <a:pt x="803007" y="1161824"/>
                  <a:pt x="800439" y="1161824"/>
                  <a:pt x="795304" y="1168242"/>
                </a:cubicBezTo>
                <a:cubicBezTo>
                  <a:pt x="796588" y="1169526"/>
                  <a:pt x="796588" y="1170809"/>
                  <a:pt x="795304" y="1174659"/>
                </a:cubicBezTo>
                <a:cubicBezTo>
                  <a:pt x="792736" y="1175943"/>
                  <a:pt x="791452" y="1173376"/>
                  <a:pt x="790168" y="1170809"/>
                </a:cubicBezTo>
                <a:lnTo>
                  <a:pt x="788885" y="1164391"/>
                </a:lnTo>
                <a:cubicBezTo>
                  <a:pt x="786317" y="1161824"/>
                  <a:pt x="785033" y="1161824"/>
                  <a:pt x="782465" y="1163107"/>
                </a:cubicBezTo>
                <a:cubicBezTo>
                  <a:pt x="779898" y="1164391"/>
                  <a:pt x="777330" y="1165674"/>
                  <a:pt x="776046" y="1168242"/>
                </a:cubicBezTo>
                <a:cubicBezTo>
                  <a:pt x="774763" y="1170809"/>
                  <a:pt x="774763" y="1174659"/>
                  <a:pt x="772195" y="1175943"/>
                </a:cubicBezTo>
                <a:lnTo>
                  <a:pt x="765776" y="1175943"/>
                </a:lnTo>
                <a:cubicBezTo>
                  <a:pt x="763208" y="1174659"/>
                  <a:pt x="760641" y="1172092"/>
                  <a:pt x="758073" y="1170809"/>
                </a:cubicBezTo>
                <a:cubicBezTo>
                  <a:pt x="754222" y="1169526"/>
                  <a:pt x="750370" y="1172092"/>
                  <a:pt x="746519" y="1172092"/>
                </a:cubicBezTo>
                <a:cubicBezTo>
                  <a:pt x="743951" y="1172092"/>
                  <a:pt x="740100" y="1172092"/>
                  <a:pt x="737532" y="1169526"/>
                </a:cubicBezTo>
                <a:cubicBezTo>
                  <a:pt x="736248" y="1166958"/>
                  <a:pt x="736248" y="1163107"/>
                  <a:pt x="736248" y="1160540"/>
                </a:cubicBezTo>
                <a:cubicBezTo>
                  <a:pt x="734964" y="1157973"/>
                  <a:pt x="733680" y="1156689"/>
                  <a:pt x="732397" y="1154123"/>
                </a:cubicBezTo>
                <a:lnTo>
                  <a:pt x="731113" y="1146421"/>
                </a:lnTo>
                <a:cubicBezTo>
                  <a:pt x="731113" y="1141286"/>
                  <a:pt x="732397" y="1137436"/>
                  <a:pt x="729829" y="1132302"/>
                </a:cubicBezTo>
                <a:lnTo>
                  <a:pt x="725977" y="1128451"/>
                </a:lnTo>
                <a:cubicBezTo>
                  <a:pt x="722126" y="1127167"/>
                  <a:pt x="719558" y="1128451"/>
                  <a:pt x="716991" y="1128451"/>
                </a:cubicBezTo>
                <a:cubicBezTo>
                  <a:pt x="714423" y="1129735"/>
                  <a:pt x="711855" y="1129735"/>
                  <a:pt x="709288" y="1129735"/>
                </a:cubicBezTo>
                <a:cubicBezTo>
                  <a:pt x="706720" y="1129735"/>
                  <a:pt x="704152" y="1128451"/>
                  <a:pt x="705436" y="1125883"/>
                </a:cubicBezTo>
                <a:cubicBezTo>
                  <a:pt x="708004" y="1123317"/>
                  <a:pt x="710571" y="1120750"/>
                  <a:pt x="710571" y="1118182"/>
                </a:cubicBezTo>
                <a:cubicBezTo>
                  <a:pt x="711855" y="1115615"/>
                  <a:pt x="710571" y="1115615"/>
                  <a:pt x="710571" y="1111764"/>
                </a:cubicBezTo>
                <a:cubicBezTo>
                  <a:pt x="711855" y="1111764"/>
                  <a:pt x="713139" y="1111764"/>
                  <a:pt x="714423" y="1111764"/>
                </a:cubicBezTo>
                <a:lnTo>
                  <a:pt x="714423" y="1106630"/>
                </a:lnTo>
                <a:lnTo>
                  <a:pt x="715707" y="1101496"/>
                </a:lnTo>
                <a:cubicBezTo>
                  <a:pt x="715707" y="1098929"/>
                  <a:pt x="716991" y="1096362"/>
                  <a:pt x="715707" y="1093794"/>
                </a:cubicBezTo>
                <a:lnTo>
                  <a:pt x="710571" y="1091227"/>
                </a:lnTo>
                <a:cubicBezTo>
                  <a:pt x="706720" y="1091227"/>
                  <a:pt x="702868" y="1093794"/>
                  <a:pt x="700301" y="1096362"/>
                </a:cubicBezTo>
                <a:cubicBezTo>
                  <a:pt x="697733" y="1098929"/>
                  <a:pt x="696449" y="1102779"/>
                  <a:pt x="695165" y="1105347"/>
                </a:cubicBezTo>
                <a:cubicBezTo>
                  <a:pt x="692598" y="1109197"/>
                  <a:pt x="686179" y="1110481"/>
                  <a:pt x="682327" y="1111764"/>
                </a:cubicBezTo>
                <a:cubicBezTo>
                  <a:pt x="679760" y="1111764"/>
                  <a:pt x="677192" y="1113048"/>
                  <a:pt x="674625" y="1113048"/>
                </a:cubicBezTo>
                <a:cubicBezTo>
                  <a:pt x="672057" y="1111764"/>
                  <a:pt x="672057" y="1107914"/>
                  <a:pt x="670773" y="1105347"/>
                </a:cubicBezTo>
                <a:cubicBezTo>
                  <a:pt x="669489" y="1104063"/>
                  <a:pt x="668206" y="1101496"/>
                  <a:pt x="666922" y="1100212"/>
                </a:cubicBezTo>
                <a:cubicBezTo>
                  <a:pt x="663070" y="1096362"/>
                  <a:pt x="661786" y="1088660"/>
                  <a:pt x="661786" y="1083526"/>
                </a:cubicBezTo>
                <a:cubicBezTo>
                  <a:pt x="661786" y="1079675"/>
                  <a:pt x="661786" y="1075824"/>
                  <a:pt x="663070" y="1073257"/>
                </a:cubicBezTo>
                <a:cubicBezTo>
                  <a:pt x="663070" y="1070690"/>
                  <a:pt x="664354" y="1069406"/>
                  <a:pt x="664354" y="1066839"/>
                </a:cubicBezTo>
                <a:cubicBezTo>
                  <a:pt x="664354" y="1064272"/>
                  <a:pt x="664354" y="1061705"/>
                  <a:pt x="664354" y="1057855"/>
                </a:cubicBezTo>
                <a:cubicBezTo>
                  <a:pt x="665638" y="1054003"/>
                  <a:pt x="666922" y="1051436"/>
                  <a:pt x="670773" y="1045018"/>
                </a:cubicBezTo>
                <a:lnTo>
                  <a:pt x="677192" y="1041168"/>
                </a:lnTo>
                <a:cubicBezTo>
                  <a:pt x="681044" y="1039884"/>
                  <a:pt x="686179" y="1036034"/>
                  <a:pt x="690030" y="1037317"/>
                </a:cubicBezTo>
                <a:cubicBezTo>
                  <a:pt x="695165" y="1037317"/>
                  <a:pt x="699017" y="1042452"/>
                  <a:pt x="704152" y="1041168"/>
                </a:cubicBezTo>
                <a:lnTo>
                  <a:pt x="705436" y="1036034"/>
                </a:lnTo>
                <a:lnTo>
                  <a:pt x="714423" y="1032183"/>
                </a:lnTo>
                <a:cubicBezTo>
                  <a:pt x="720842" y="1032183"/>
                  <a:pt x="725977" y="1033467"/>
                  <a:pt x="731113" y="1038600"/>
                </a:cubicBezTo>
                <a:cubicBezTo>
                  <a:pt x="736248" y="1043735"/>
                  <a:pt x="734964" y="1048869"/>
                  <a:pt x="737532" y="1055287"/>
                </a:cubicBezTo>
                <a:cubicBezTo>
                  <a:pt x="738816" y="1059138"/>
                  <a:pt x="741384" y="1064272"/>
                  <a:pt x="746519" y="1065556"/>
                </a:cubicBezTo>
                <a:cubicBezTo>
                  <a:pt x="751654" y="1066839"/>
                  <a:pt x="751654" y="1060421"/>
                  <a:pt x="751654" y="1056571"/>
                </a:cubicBezTo>
                <a:cubicBezTo>
                  <a:pt x="750370" y="1051436"/>
                  <a:pt x="747803" y="1047586"/>
                  <a:pt x="746519" y="1042452"/>
                </a:cubicBezTo>
                <a:cubicBezTo>
                  <a:pt x="743951" y="1037317"/>
                  <a:pt x="743951" y="1032183"/>
                  <a:pt x="746519" y="1027049"/>
                </a:cubicBezTo>
                <a:cubicBezTo>
                  <a:pt x="749087" y="1021914"/>
                  <a:pt x="754222" y="1018064"/>
                  <a:pt x="758073" y="1014212"/>
                </a:cubicBezTo>
                <a:cubicBezTo>
                  <a:pt x="760641" y="1010362"/>
                  <a:pt x="764492" y="1009079"/>
                  <a:pt x="767060" y="1005228"/>
                </a:cubicBezTo>
                <a:cubicBezTo>
                  <a:pt x="768344" y="1002661"/>
                  <a:pt x="769627" y="1000093"/>
                  <a:pt x="769627" y="997526"/>
                </a:cubicBezTo>
                <a:cubicBezTo>
                  <a:pt x="769627" y="996243"/>
                  <a:pt x="768344" y="994959"/>
                  <a:pt x="768344" y="993676"/>
                </a:cubicBezTo>
                <a:cubicBezTo>
                  <a:pt x="768344" y="991108"/>
                  <a:pt x="768344" y="989825"/>
                  <a:pt x="768344" y="988541"/>
                </a:cubicBezTo>
                <a:cubicBezTo>
                  <a:pt x="768344" y="984691"/>
                  <a:pt x="767060" y="980840"/>
                  <a:pt x="768344" y="976989"/>
                </a:cubicBezTo>
                <a:cubicBezTo>
                  <a:pt x="768344" y="975705"/>
                  <a:pt x="770911" y="970571"/>
                  <a:pt x="772195" y="973138"/>
                </a:cubicBezTo>
                <a:cubicBezTo>
                  <a:pt x="773479" y="974422"/>
                  <a:pt x="773479" y="975705"/>
                  <a:pt x="772195" y="976989"/>
                </a:cubicBezTo>
                <a:cubicBezTo>
                  <a:pt x="772195" y="978273"/>
                  <a:pt x="772195" y="979556"/>
                  <a:pt x="773479" y="980840"/>
                </a:cubicBezTo>
                <a:cubicBezTo>
                  <a:pt x="774763" y="982123"/>
                  <a:pt x="777330" y="983407"/>
                  <a:pt x="778614" y="980840"/>
                </a:cubicBezTo>
                <a:lnTo>
                  <a:pt x="778614" y="974422"/>
                </a:lnTo>
                <a:cubicBezTo>
                  <a:pt x="778614" y="973138"/>
                  <a:pt x="778614" y="973138"/>
                  <a:pt x="778614" y="971855"/>
                </a:cubicBezTo>
                <a:cubicBezTo>
                  <a:pt x="779898" y="969288"/>
                  <a:pt x="782465" y="968004"/>
                  <a:pt x="783749" y="966720"/>
                </a:cubicBezTo>
                <a:cubicBezTo>
                  <a:pt x="783749" y="965437"/>
                  <a:pt x="783749" y="964153"/>
                  <a:pt x="785033" y="962870"/>
                </a:cubicBezTo>
                <a:cubicBezTo>
                  <a:pt x="785033" y="961586"/>
                  <a:pt x="786317" y="960303"/>
                  <a:pt x="787601" y="959019"/>
                </a:cubicBezTo>
                <a:cubicBezTo>
                  <a:pt x="791452" y="953885"/>
                  <a:pt x="795304" y="948750"/>
                  <a:pt x="799155" y="943616"/>
                </a:cubicBezTo>
                <a:cubicBezTo>
                  <a:pt x="801723" y="941049"/>
                  <a:pt x="808142" y="935915"/>
                  <a:pt x="811994" y="935915"/>
                </a:cubicBezTo>
                <a:cubicBezTo>
                  <a:pt x="814561" y="934631"/>
                  <a:pt x="817129" y="935915"/>
                  <a:pt x="818413" y="933347"/>
                </a:cubicBezTo>
                <a:cubicBezTo>
                  <a:pt x="819697" y="930781"/>
                  <a:pt x="818413" y="930781"/>
                  <a:pt x="820981" y="929497"/>
                </a:cubicBezTo>
                <a:cubicBezTo>
                  <a:pt x="822264" y="928213"/>
                  <a:pt x="829967" y="925646"/>
                  <a:pt x="829967" y="929497"/>
                </a:cubicBezTo>
                <a:cubicBezTo>
                  <a:pt x="828684" y="930781"/>
                  <a:pt x="827400" y="932064"/>
                  <a:pt x="826116" y="933347"/>
                </a:cubicBezTo>
                <a:cubicBezTo>
                  <a:pt x="824832" y="934631"/>
                  <a:pt x="823548" y="935915"/>
                  <a:pt x="824832" y="938482"/>
                </a:cubicBezTo>
                <a:cubicBezTo>
                  <a:pt x="826116" y="939765"/>
                  <a:pt x="828684" y="941049"/>
                  <a:pt x="831251" y="941049"/>
                </a:cubicBezTo>
                <a:cubicBezTo>
                  <a:pt x="833819" y="941049"/>
                  <a:pt x="835103" y="939765"/>
                  <a:pt x="837670" y="937198"/>
                </a:cubicBezTo>
                <a:cubicBezTo>
                  <a:pt x="838954" y="935915"/>
                  <a:pt x="838954" y="933347"/>
                  <a:pt x="841522" y="932064"/>
                </a:cubicBezTo>
                <a:lnTo>
                  <a:pt x="847941" y="928213"/>
                </a:lnTo>
                <a:cubicBezTo>
                  <a:pt x="850508" y="924363"/>
                  <a:pt x="838954" y="925646"/>
                  <a:pt x="837670" y="925646"/>
                </a:cubicBezTo>
                <a:lnTo>
                  <a:pt x="831251" y="917944"/>
                </a:lnTo>
                <a:cubicBezTo>
                  <a:pt x="829967" y="914094"/>
                  <a:pt x="831251" y="911527"/>
                  <a:pt x="828684" y="910243"/>
                </a:cubicBezTo>
                <a:cubicBezTo>
                  <a:pt x="827400" y="908960"/>
                  <a:pt x="826116" y="908960"/>
                  <a:pt x="826116" y="905109"/>
                </a:cubicBezTo>
                <a:cubicBezTo>
                  <a:pt x="827400" y="903825"/>
                  <a:pt x="828684" y="905109"/>
                  <a:pt x="829967" y="903825"/>
                </a:cubicBezTo>
                <a:cubicBezTo>
                  <a:pt x="831251" y="902541"/>
                  <a:pt x="832535" y="901258"/>
                  <a:pt x="831251" y="898691"/>
                </a:cubicBezTo>
                <a:cubicBezTo>
                  <a:pt x="829967" y="894840"/>
                  <a:pt x="826116" y="894840"/>
                  <a:pt x="822264" y="896124"/>
                </a:cubicBezTo>
                <a:lnTo>
                  <a:pt x="818413" y="897408"/>
                </a:lnTo>
                <a:cubicBezTo>
                  <a:pt x="815845" y="898691"/>
                  <a:pt x="811994" y="901258"/>
                  <a:pt x="809426" y="903825"/>
                </a:cubicBezTo>
                <a:cubicBezTo>
                  <a:pt x="809426" y="905109"/>
                  <a:pt x="808142" y="906393"/>
                  <a:pt x="806858" y="906393"/>
                </a:cubicBezTo>
                <a:lnTo>
                  <a:pt x="808142" y="901258"/>
                </a:lnTo>
                <a:cubicBezTo>
                  <a:pt x="809426" y="899975"/>
                  <a:pt x="810710" y="897408"/>
                  <a:pt x="811994" y="896124"/>
                </a:cubicBezTo>
                <a:cubicBezTo>
                  <a:pt x="815845" y="892273"/>
                  <a:pt x="819697" y="889706"/>
                  <a:pt x="823548" y="889706"/>
                </a:cubicBezTo>
                <a:cubicBezTo>
                  <a:pt x="826116" y="888422"/>
                  <a:pt x="827400" y="888422"/>
                  <a:pt x="828684" y="888422"/>
                </a:cubicBezTo>
                <a:cubicBezTo>
                  <a:pt x="833819" y="888422"/>
                  <a:pt x="837670" y="889706"/>
                  <a:pt x="841522" y="888422"/>
                </a:cubicBezTo>
                <a:cubicBezTo>
                  <a:pt x="845373" y="888422"/>
                  <a:pt x="849224" y="889706"/>
                  <a:pt x="851792" y="888422"/>
                </a:cubicBezTo>
                <a:cubicBezTo>
                  <a:pt x="853076" y="888422"/>
                  <a:pt x="854360" y="887139"/>
                  <a:pt x="855643" y="887139"/>
                </a:cubicBezTo>
                <a:cubicBezTo>
                  <a:pt x="858211" y="885855"/>
                  <a:pt x="859495" y="884572"/>
                  <a:pt x="860779" y="883288"/>
                </a:cubicBezTo>
                <a:cubicBezTo>
                  <a:pt x="863346" y="882005"/>
                  <a:pt x="862063" y="879437"/>
                  <a:pt x="863346" y="878154"/>
                </a:cubicBezTo>
                <a:cubicBezTo>
                  <a:pt x="867198" y="873020"/>
                  <a:pt x="873617" y="879437"/>
                  <a:pt x="877469" y="875587"/>
                </a:cubicBezTo>
                <a:cubicBezTo>
                  <a:pt x="880036" y="874303"/>
                  <a:pt x="881320" y="870452"/>
                  <a:pt x="881320" y="867885"/>
                </a:cubicBezTo>
                <a:cubicBezTo>
                  <a:pt x="880036" y="865318"/>
                  <a:pt x="878752" y="865318"/>
                  <a:pt x="877469" y="864034"/>
                </a:cubicBezTo>
                <a:cubicBezTo>
                  <a:pt x="874901" y="864034"/>
                  <a:pt x="874901" y="862751"/>
                  <a:pt x="872333" y="862751"/>
                </a:cubicBezTo>
                <a:cubicBezTo>
                  <a:pt x="871049" y="862751"/>
                  <a:pt x="869766" y="864034"/>
                  <a:pt x="868482" y="864034"/>
                </a:cubicBezTo>
                <a:cubicBezTo>
                  <a:pt x="864630" y="866602"/>
                  <a:pt x="862063" y="867885"/>
                  <a:pt x="859495" y="867885"/>
                </a:cubicBezTo>
                <a:cubicBezTo>
                  <a:pt x="856927" y="867885"/>
                  <a:pt x="854360" y="865318"/>
                  <a:pt x="855643" y="862751"/>
                </a:cubicBezTo>
                <a:cubicBezTo>
                  <a:pt x="855643" y="860184"/>
                  <a:pt x="859495" y="860184"/>
                  <a:pt x="860779" y="857617"/>
                </a:cubicBezTo>
                <a:cubicBezTo>
                  <a:pt x="863346" y="856333"/>
                  <a:pt x="864630" y="853766"/>
                  <a:pt x="862063" y="852482"/>
                </a:cubicBezTo>
                <a:cubicBezTo>
                  <a:pt x="859495" y="851199"/>
                  <a:pt x="855643" y="851199"/>
                  <a:pt x="853076" y="851199"/>
                </a:cubicBezTo>
                <a:cubicBezTo>
                  <a:pt x="847941" y="849915"/>
                  <a:pt x="849224" y="847348"/>
                  <a:pt x="849224" y="844781"/>
                </a:cubicBezTo>
                <a:cubicBezTo>
                  <a:pt x="849224" y="843497"/>
                  <a:pt x="849224" y="842214"/>
                  <a:pt x="849224" y="840930"/>
                </a:cubicBezTo>
                <a:cubicBezTo>
                  <a:pt x="847941" y="838363"/>
                  <a:pt x="846657" y="837079"/>
                  <a:pt x="846657" y="835796"/>
                </a:cubicBezTo>
                <a:cubicBezTo>
                  <a:pt x="846657" y="833229"/>
                  <a:pt x="846657" y="831945"/>
                  <a:pt x="845373" y="829378"/>
                </a:cubicBezTo>
                <a:cubicBezTo>
                  <a:pt x="845373" y="826811"/>
                  <a:pt x="845373" y="825527"/>
                  <a:pt x="844089" y="824244"/>
                </a:cubicBezTo>
                <a:cubicBezTo>
                  <a:pt x="842805" y="821676"/>
                  <a:pt x="838954" y="820393"/>
                  <a:pt x="837670" y="817826"/>
                </a:cubicBezTo>
                <a:cubicBezTo>
                  <a:pt x="835103" y="815258"/>
                  <a:pt x="836386" y="813975"/>
                  <a:pt x="835103" y="811408"/>
                </a:cubicBezTo>
                <a:cubicBezTo>
                  <a:pt x="833819" y="808841"/>
                  <a:pt x="831251" y="806273"/>
                  <a:pt x="828684" y="808841"/>
                </a:cubicBezTo>
                <a:cubicBezTo>
                  <a:pt x="827400" y="810125"/>
                  <a:pt x="826116" y="812692"/>
                  <a:pt x="824832" y="813975"/>
                </a:cubicBezTo>
                <a:cubicBezTo>
                  <a:pt x="822264" y="817826"/>
                  <a:pt x="817129" y="817826"/>
                  <a:pt x="813278" y="816542"/>
                </a:cubicBezTo>
                <a:cubicBezTo>
                  <a:pt x="809426" y="815258"/>
                  <a:pt x="806858" y="811408"/>
                  <a:pt x="805575" y="807557"/>
                </a:cubicBezTo>
                <a:cubicBezTo>
                  <a:pt x="805575" y="803707"/>
                  <a:pt x="805575" y="799856"/>
                  <a:pt x="801723" y="797289"/>
                </a:cubicBezTo>
                <a:cubicBezTo>
                  <a:pt x="799155" y="794722"/>
                  <a:pt x="795304" y="793438"/>
                  <a:pt x="791452" y="790870"/>
                </a:cubicBezTo>
                <a:cubicBezTo>
                  <a:pt x="790168" y="788304"/>
                  <a:pt x="787601" y="785737"/>
                  <a:pt x="785033" y="784453"/>
                </a:cubicBezTo>
                <a:cubicBezTo>
                  <a:pt x="781182" y="784453"/>
                  <a:pt x="777330" y="785737"/>
                  <a:pt x="774763" y="788304"/>
                </a:cubicBezTo>
                <a:cubicBezTo>
                  <a:pt x="772195" y="789587"/>
                  <a:pt x="768344" y="788304"/>
                  <a:pt x="765776" y="789587"/>
                </a:cubicBezTo>
                <a:cubicBezTo>
                  <a:pt x="760641" y="790870"/>
                  <a:pt x="764492" y="797289"/>
                  <a:pt x="763208" y="801139"/>
                </a:cubicBezTo>
                <a:cubicBezTo>
                  <a:pt x="763208" y="802423"/>
                  <a:pt x="761925" y="802423"/>
                  <a:pt x="761925" y="803707"/>
                </a:cubicBezTo>
                <a:cubicBezTo>
                  <a:pt x="763208" y="804990"/>
                  <a:pt x="763208" y="804990"/>
                  <a:pt x="764492" y="806273"/>
                </a:cubicBezTo>
                <a:lnTo>
                  <a:pt x="761925" y="811408"/>
                </a:lnTo>
                <a:lnTo>
                  <a:pt x="756789" y="816542"/>
                </a:lnTo>
                <a:cubicBezTo>
                  <a:pt x="756789" y="820393"/>
                  <a:pt x="761925" y="820393"/>
                  <a:pt x="763208" y="822960"/>
                </a:cubicBezTo>
                <a:cubicBezTo>
                  <a:pt x="764492" y="824244"/>
                  <a:pt x="764492" y="825527"/>
                  <a:pt x="765776" y="828094"/>
                </a:cubicBezTo>
                <a:lnTo>
                  <a:pt x="768344" y="834513"/>
                </a:lnTo>
                <a:lnTo>
                  <a:pt x="768344" y="842214"/>
                </a:lnTo>
                <a:lnTo>
                  <a:pt x="764492" y="848632"/>
                </a:lnTo>
                <a:cubicBezTo>
                  <a:pt x="761925" y="849915"/>
                  <a:pt x="759357" y="851199"/>
                  <a:pt x="758073" y="853766"/>
                </a:cubicBezTo>
                <a:cubicBezTo>
                  <a:pt x="755506" y="856333"/>
                  <a:pt x="756789" y="860184"/>
                  <a:pt x="758073" y="862751"/>
                </a:cubicBezTo>
                <a:lnTo>
                  <a:pt x="756789" y="870452"/>
                </a:lnTo>
                <a:cubicBezTo>
                  <a:pt x="754222" y="873020"/>
                  <a:pt x="750370" y="874303"/>
                  <a:pt x="747803" y="873020"/>
                </a:cubicBezTo>
                <a:cubicBezTo>
                  <a:pt x="745235" y="873020"/>
                  <a:pt x="742667" y="867885"/>
                  <a:pt x="742667" y="864034"/>
                </a:cubicBezTo>
                <a:lnTo>
                  <a:pt x="740100" y="851199"/>
                </a:lnTo>
                <a:cubicBezTo>
                  <a:pt x="737532" y="848632"/>
                  <a:pt x="732397" y="848632"/>
                  <a:pt x="728545" y="847348"/>
                </a:cubicBezTo>
                <a:cubicBezTo>
                  <a:pt x="723410" y="847348"/>
                  <a:pt x="719558" y="843497"/>
                  <a:pt x="715707" y="840930"/>
                </a:cubicBezTo>
                <a:cubicBezTo>
                  <a:pt x="713139" y="839646"/>
                  <a:pt x="711855" y="837079"/>
                  <a:pt x="709288" y="837079"/>
                </a:cubicBezTo>
                <a:cubicBezTo>
                  <a:pt x="706720" y="835796"/>
                  <a:pt x="702868" y="834513"/>
                  <a:pt x="700301" y="834513"/>
                </a:cubicBezTo>
                <a:cubicBezTo>
                  <a:pt x="693882" y="833229"/>
                  <a:pt x="686179" y="828094"/>
                  <a:pt x="684895" y="821676"/>
                </a:cubicBezTo>
                <a:cubicBezTo>
                  <a:pt x="683611" y="817826"/>
                  <a:pt x="681044" y="815258"/>
                  <a:pt x="678476" y="811408"/>
                </a:cubicBezTo>
                <a:lnTo>
                  <a:pt x="680631" y="800639"/>
                </a:lnTo>
                <a:lnTo>
                  <a:pt x="687957" y="791759"/>
                </a:lnTo>
                <a:cubicBezTo>
                  <a:pt x="690227" y="790498"/>
                  <a:pt x="691504" y="788209"/>
                  <a:pt x="693882" y="787020"/>
                </a:cubicBezTo>
                <a:lnTo>
                  <a:pt x="694661" y="785073"/>
                </a:lnTo>
                <a:lnTo>
                  <a:pt x="705598" y="776049"/>
                </a:lnTo>
                <a:cubicBezTo>
                  <a:pt x="707144" y="775327"/>
                  <a:pt x="708858" y="774755"/>
                  <a:pt x="710571" y="774184"/>
                </a:cubicBezTo>
                <a:cubicBezTo>
                  <a:pt x="711855" y="772901"/>
                  <a:pt x="713139" y="772901"/>
                  <a:pt x="713139" y="771617"/>
                </a:cubicBezTo>
                <a:lnTo>
                  <a:pt x="712768" y="770133"/>
                </a:lnTo>
                <a:lnTo>
                  <a:pt x="730336" y="755638"/>
                </a:lnTo>
                <a:lnTo>
                  <a:pt x="737532" y="752363"/>
                </a:lnTo>
                <a:cubicBezTo>
                  <a:pt x="741384" y="751080"/>
                  <a:pt x="743951" y="749796"/>
                  <a:pt x="747803" y="749796"/>
                </a:cubicBezTo>
                <a:cubicBezTo>
                  <a:pt x="750370" y="748513"/>
                  <a:pt x="751654" y="747229"/>
                  <a:pt x="750370" y="744662"/>
                </a:cubicBezTo>
                <a:cubicBezTo>
                  <a:pt x="750370" y="742664"/>
                  <a:pt x="749679" y="741703"/>
                  <a:pt x="748668" y="740513"/>
                </a:cubicBezTo>
                <a:cubicBezTo>
                  <a:pt x="757366" y="733451"/>
                  <a:pt x="766760" y="727349"/>
                  <a:pt x="777261" y="723065"/>
                </a:cubicBezTo>
                <a:cubicBezTo>
                  <a:pt x="783363" y="727046"/>
                  <a:pt x="787824" y="733460"/>
                  <a:pt x="788700" y="740472"/>
                </a:cubicBezTo>
                <a:cubicBezTo>
                  <a:pt x="789983" y="745610"/>
                  <a:pt x="787416" y="750749"/>
                  <a:pt x="786132" y="754603"/>
                </a:cubicBezTo>
                <a:lnTo>
                  <a:pt x="786132" y="762310"/>
                </a:lnTo>
                <a:cubicBezTo>
                  <a:pt x="786132" y="764880"/>
                  <a:pt x="783564" y="767449"/>
                  <a:pt x="780997" y="768734"/>
                </a:cubicBezTo>
                <a:lnTo>
                  <a:pt x="770726" y="770019"/>
                </a:lnTo>
                <a:cubicBezTo>
                  <a:pt x="768159" y="770019"/>
                  <a:pt x="764307" y="768734"/>
                  <a:pt x="761740" y="770019"/>
                </a:cubicBezTo>
                <a:cubicBezTo>
                  <a:pt x="759172" y="772588"/>
                  <a:pt x="761740" y="777727"/>
                  <a:pt x="764307" y="779011"/>
                </a:cubicBezTo>
                <a:cubicBezTo>
                  <a:pt x="769443" y="782865"/>
                  <a:pt x="778429" y="775157"/>
                  <a:pt x="783564" y="779011"/>
                </a:cubicBezTo>
                <a:cubicBezTo>
                  <a:pt x="786132" y="780296"/>
                  <a:pt x="787416" y="782865"/>
                  <a:pt x="789983" y="784150"/>
                </a:cubicBezTo>
                <a:cubicBezTo>
                  <a:pt x="792551" y="785434"/>
                  <a:pt x="793835" y="786719"/>
                  <a:pt x="795119" y="786719"/>
                </a:cubicBezTo>
                <a:cubicBezTo>
                  <a:pt x="798970" y="788004"/>
                  <a:pt x="801538" y="786719"/>
                  <a:pt x="805389" y="786719"/>
                </a:cubicBezTo>
                <a:cubicBezTo>
                  <a:pt x="807957" y="786719"/>
                  <a:pt x="811808" y="786719"/>
                  <a:pt x="814376" y="788004"/>
                </a:cubicBezTo>
                <a:cubicBezTo>
                  <a:pt x="815660" y="789288"/>
                  <a:pt x="818227" y="789288"/>
                  <a:pt x="820795" y="790573"/>
                </a:cubicBezTo>
                <a:cubicBezTo>
                  <a:pt x="822079" y="790573"/>
                  <a:pt x="823362" y="790573"/>
                  <a:pt x="823362" y="788004"/>
                </a:cubicBezTo>
                <a:lnTo>
                  <a:pt x="819511" y="785434"/>
                </a:lnTo>
                <a:cubicBezTo>
                  <a:pt x="816943" y="784150"/>
                  <a:pt x="809240" y="782865"/>
                  <a:pt x="810524" y="779011"/>
                </a:cubicBezTo>
                <a:cubicBezTo>
                  <a:pt x="811808" y="776442"/>
                  <a:pt x="814376" y="777727"/>
                  <a:pt x="816943" y="777727"/>
                </a:cubicBezTo>
                <a:cubicBezTo>
                  <a:pt x="819511" y="777727"/>
                  <a:pt x="820795" y="776442"/>
                  <a:pt x="823362" y="776442"/>
                </a:cubicBezTo>
                <a:cubicBezTo>
                  <a:pt x="825930" y="775157"/>
                  <a:pt x="828498" y="775157"/>
                  <a:pt x="828498" y="772588"/>
                </a:cubicBezTo>
                <a:lnTo>
                  <a:pt x="824646" y="766165"/>
                </a:lnTo>
                <a:cubicBezTo>
                  <a:pt x="820795" y="764880"/>
                  <a:pt x="814376" y="759741"/>
                  <a:pt x="816943" y="754603"/>
                </a:cubicBezTo>
                <a:cubicBezTo>
                  <a:pt x="818227" y="752033"/>
                  <a:pt x="825930" y="754603"/>
                  <a:pt x="828498" y="755887"/>
                </a:cubicBezTo>
                <a:cubicBezTo>
                  <a:pt x="831065" y="758456"/>
                  <a:pt x="834917" y="762310"/>
                  <a:pt x="838768" y="762310"/>
                </a:cubicBezTo>
                <a:cubicBezTo>
                  <a:pt x="843903" y="762310"/>
                  <a:pt x="847755" y="757172"/>
                  <a:pt x="849039" y="752033"/>
                </a:cubicBezTo>
                <a:cubicBezTo>
                  <a:pt x="851606" y="746895"/>
                  <a:pt x="847755" y="744325"/>
                  <a:pt x="842620" y="744325"/>
                </a:cubicBezTo>
                <a:cubicBezTo>
                  <a:pt x="838768" y="744325"/>
                  <a:pt x="834917" y="744325"/>
                  <a:pt x="829781" y="741756"/>
                </a:cubicBezTo>
                <a:cubicBezTo>
                  <a:pt x="825930" y="740472"/>
                  <a:pt x="822079" y="739187"/>
                  <a:pt x="818227" y="736618"/>
                </a:cubicBezTo>
                <a:cubicBezTo>
                  <a:pt x="814376" y="731479"/>
                  <a:pt x="813092" y="725055"/>
                  <a:pt x="810524" y="719917"/>
                </a:cubicBezTo>
                <a:cubicBezTo>
                  <a:pt x="809240" y="716063"/>
                  <a:pt x="806673" y="712209"/>
                  <a:pt x="804105" y="709640"/>
                </a:cubicBezTo>
                <a:lnTo>
                  <a:pt x="802798" y="709204"/>
                </a:lnTo>
                <a:cubicBezTo>
                  <a:pt x="825545" y="695518"/>
                  <a:pt x="850387" y="685600"/>
                  <a:pt x="876810" y="680004"/>
                </a:cubicBezTo>
                <a:cubicBezTo>
                  <a:pt x="879309" y="684035"/>
                  <a:pt x="881965" y="688245"/>
                  <a:pt x="879970" y="693231"/>
                </a:cubicBezTo>
                <a:cubicBezTo>
                  <a:pt x="878687" y="694514"/>
                  <a:pt x="877404" y="694514"/>
                  <a:pt x="877404" y="695797"/>
                </a:cubicBezTo>
                <a:cubicBezTo>
                  <a:pt x="877404" y="699646"/>
                  <a:pt x="879970" y="699646"/>
                  <a:pt x="882537" y="699646"/>
                </a:cubicBezTo>
                <a:cubicBezTo>
                  <a:pt x="887670" y="699646"/>
                  <a:pt x="895369" y="699646"/>
                  <a:pt x="897936" y="704778"/>
                </a:cubicBezTo>
                <a:lnTo>
                  <a:pt x="896652" y="709910"/>
                </a:lnTo>
                <a:lnTo>
                  <a:pt x="890236" y="708627"/>
                </a:lnTo>
                <a:lnTo>
                  <a:pt x="881254" y="709910"/>
                </a:lnTo>
                <a:cubicBezTo>
                  <a:pt x="879970" y="712476"/>
                  <a:pt x="882537" y="712476"/>
                  <a:pt x="883820" y="713760"/>
                </a:cubicBezTo>
                <a:cubicBezTo>
                  <a:pt x="885104" y="713760"/>
                  <a:pt x="885104" y="715042"/>
                  <a:pt x="886386" y="716326"/>
                </a:cubicBezTo>
                <a:cubicBezTo>
                  <a:pt x="886364" y="716333"/>
                  <a:pt x="881254" y="717612"/>
                  <a:pt x="881254" y="718892"/>
                </a:cubicBezTo>
                <a:cubicBezTo>
                  <a:pt x="881254" y="721458"/>
                  <a:pt x="883820" y="721458"/>
                  <a:pt x="883820" y="724024"/>
                </a:cubicBezTo>
                <a:cubicBezTo>
                  <a:pt x="885104" y="725307"/>
                  <a:pt x="882537" y="725307"/>
                  <a:pt x="882537" y="727873"/>
                </a:cubicBezTo>
                <a:lnTo>
                  <a:pt x="887670" y="730439"/>
                </a:lnTo>
                <a:cubicBezTo>
                  <a:pt x="895369" y="729156"/>
                  <a:pt x="887670" y="720175"/>
                  <a:pt x="890236" y="717608"/>
                </a:cubicBezTo>
                <a:cubicBezTo>
                  <a:pt x="894086" y="713760"/>
                  <a:pt x="905635" y="718892"/>
                  <a:pt x="908201" y="720175"/>
                </a:cubicBezTo>
                <a:cubicBezTo>
                  <a:pt x="912051" y="721458"/>
                  <a:pt x="912051" y="725307"/>
                  <a:pt x="909485" y="727873"/>
                </a:cubicBezTo>
                <a:cubicBezTo>
                  <a:pt x="906918" y="730439"/>
                  <a:pt x="904352" y="730439"/>
                  <a:pt x="903068" y="734288"/>
                </a:cubicBezTo>
                <a:cubicBezTo>
                  <a:pt x="903068" y="736854"/>
                  <a:pt x="901785" y="738138"/>
                  <a:pt x="900502" y="739420"/>
                </a:cubicBezTo>
                <a:cubicBezTo>
                  <a:pt x="896652" y="740704"/>
                  <a:pt x="894086" y="739420"/>
                  <a:pt x="891520" y="740704"/>
                </a:cubicBezTo>
                <a:cubicBezTo>
                  <a:pt x="890236" y="740704"/>
                  <a:pt x="888953" y="741987"/>
                  <a:pt x="887670" y="743270"/>
                </a:cubicBezTo>
                <a:cubicBezTo>
                  <a:pt x="887670" y="745836"/>
                  <a:pt x="888953" y="745836"/>
                  <a:pt x="890236" y="747119"/>
                </a:cubicBezTo>
                <a:lnTo>
                  <a:pt x="890236" y="753534"/>
                </a:lnTo>
                <a:cubicBezTo>
                  <a:pt x="888953" y="754817"/>
                  <a:pt x="888953" y="754817"/>
                  <a:pt x="888953" y="756100"/>
                </a:cubicBezTo>
                <a:cubicBezTo>
                  <a:pt x="888953" y="759949"/>
                  <a:pt x="892803" y="761232"/>
                  <a:pt x="894086" y="763798"/>
                </a:cubicBezTo>
                <a:cubicBezTo>
                  <a:pt x="894086" y="765081"/>
                  <a:pt x="894086" y="766364"/>
                  <a:pt x="895369" y="767647"/>
                </a:cubicBezTo>
                <a:cubicBezTo>
                  <a:pt x="896652" y="770213"/>
                  <a:pt x="896652" y="768930"/>
                  <a:pt x="899219" y="770213"/>
                </a:cubicBezTo>
                <a:cubicBezTo>
                  <a:pt x="900502" y="770213"/>
                  <a:pt x="901785" y="770213"/>
                  <a:pt x="900502" y="772780"/>
                </a:cubicBezTo>
                <a:cubicBezTo>
                  <a:pt x="900502" y="774062"/>
                  <a:pt x="897936" y="772780"/>
                  <a:pt x="897936" y="775346"/>
                </a:cubicBezTo>
                <a:lnTo>
                  <a:pt x="903068" y="780478"/>
                </a:lnTo>
                <a:lnTo>
                  <a:pt x="904352" y="784327"/>
                </a:lnTo>
                <a:cubicBezTo>
                  <a:pt x="905635" y="788176"/>
                  <a:pt x="908201" y="786893"/>
                  <a:pt x="910768" y="788176"/>
                </a:cubicBezTo>
                <a:cubicBezTo>
                  <a:pt x="913334" y="788176"/>
                  <a:pt x="913334" y="792025"/>
                  <a:pt x="914617" y="793308"/>
                </a:cubicBezTo>
                <a:cubicBezTo>
                  <a:pt x="915901" y="797157"/>
                  <a:pt x="918467" y="799723"/>
                  <a:pt x="922317" y="799723"/>
                </a:cubicBezTo>
                <a:cubicBezTo>
                  <a:pt x="924883" y="799723"/>
                  <a:pt x="924883" y="798440"/>
                  <a:pt x="927449" y="799723"/>
                </a:cubicBezTo>
                <a:cubicBezTo>
                  <a:pt x="930016" y="801006"/>
                  <a:pt x="931299" y="802289"/>
                  <a:pt x="933866" y="804855"/>
                </a:cubicBezTo>
                <a:lnTo>
                  <a:pt x="938999" y="807421"/>
                </a:lnTo>
                <a:cubicBezTo>
                  <a:pt x="940282" y="806139"/>
                  <a:pt x="940282" y="804855"/>
                  <a:pt x="940282" y="803573"/>
                </a:cubicBezTo>
                <a:cubicBezTo>
                  <a:pt x="941565" y="802289"/>
                  <a:pt x="942848" y="801006"/>
                  <a:pt x="944132" y="799723"/>
                </a:cubicBezTo>
                <a:lnTo>
                  <a:pt x="944132" y="794591"/>
                </a:lnTo>
                <a:cubicBezTo>
                  <a:pt x="945415" y="792025"/>
                  <a:pt x="946698" y="790742"/>
                  <a:pt x="946698" y="789459"/>
                </a:cubicBezTo>
                <a:cubicBezTo>
                  <a:pt x="947981" y="786893"/>
                  <a:pt x="947981" y="785610"/>
                  <a:pt x="949264" y="783044"/>
                </a:cubicBezTo>
                <a:cubicBezTo>
                  <a:pt x="950548" y="781761"/>
                  <a:pt x="950548" y="781761"/>
                  <a:pt x="951831" y="779194"/>
                </a:cubicBezTo>
                <a:cubicBezTo>
                  <a:pt x="951831" y="776628"/>
                  <a:pt x="949264" y="772780"/>
                  <a:pt x="950548" y="770213"/>
                </a:cubicBezTo>
                <a:lnTo>
                  <a:pt x="958247" y="766364"/>
                </a:lnTo>
                <a:lnTo>
                  <a:pt x="962097" y="762515"/>
                </a:lnTo>
                <a:cubicBezTo>
                  <a:pt x="964663" y="758666"/>
                  <a:pt x="964663" y="757383"/>
                  <a:pt x="968513" y="757383"/>
                </a:cubicBezTo>
                <a:cubicBezTo>
                  <a:pt x="972363" y="757383"/>
                  <a:pt x="974929" y="758666"/>
                  <a:pt x="978779" y="756100"/>
                </a:cubicBezTo>
                <a:cubicBezTo>
                  <a:pt x="982628" y="754817"/>
                  <a:pt x="983911" y="752251"/>
                  <a:pt x="986478" y="749685"/>
                </a:cubicBezTo>
                <a:cubicBezTo>
                  <a:pt x="986478" y="748402"/>
                  <a:pt x="987761" y="747119"/>
                  <a:pt x="989044" y="745836"/>
                </a:cubicBezTo>
                <a:cubicBezTo>
                  <a:pt x="990328" y="744553"/>
                  <a:pt x="992894" y="744553"/>
                  <a:pt x="995460" y="743270"/>
                </a:cubicBezTo>
                <a:cubicBezTo>
                  <a:pt x="996744" y="741987"/>
                  <a:pt x="996744" y="740704"/>
                  <a:pt x="998027" y="739420"/>
                </a:cubicBezTo>
                <a:cubicBezTo>
                  <a:pt x="1000593" y="735572"/>
                  <a:pt x="1007010" y="736854"/>
                  <a:pt x="1010859" y="736854"/>
                </a:cubicBezTo>
                <a:cubicBezTo>
                  <a:pt x="1017275" y="736854"/>
                  <a:pt x="1023691" y="734288"/>
                  <a:pt x="1030107" y="731722"/>
                </a:cubicBezTo>
                <a:lnTo>
                  <a:pt x="1036523" y="726590"/>
                </a:lnTo>
                <a:cubicBezTo>
                  <a:pt x="1037807" y="725307"/>
                  <a:pt x="1040373" y="725307"/>
                  <a:pt x="1042940" y="724024"/>
                </a:cubicBezTo>
                <a:cubicBezTo>
                  <a:pt x="1045506" y="722741"/>
                  <a:pt x="1048072" y="721458"/>
                  <a:pt x="1046790" y="718892"/>
                </a:cubicBezTo>
                <a:cubicBezTo>
                  <a:pt x="1045506" y="715042"/>
                  <a:pt x="1039090" y="717608"/>
                  <a:pt x="1036523" y="716326"/>
                </a:cubicBezTo>
                <a:cubicBezTo>
                  <a:pt x="1033957" y="713760"/>
                  <a:pt x="1035240" y="711194"/>
                  <a:pt x="1033957" y="708627"/>
                </a:cubicBezTo>
                <a:lnTo>
                  <a:pt x="1028824" y="708627"/>
                </a:lnTo>
                <a:cubicBezTo>
                  <a:pt x="1028824" y="706061"/>
                  <a:pt x="1028824" y="706061"/>
                  <a:pt x="1027541" y="704778"/>
                </a:cubicBezTo>
                <a:cubicBezTo>
                  <a:pt x="1027541" y="703495"/>
                  <a:pt x="1024975" y="703495"/>
                  <a:pt x="1024975" y="702212"/>
                </a:cubicBezTo>
                <a:lnTo>
                  <a:pt x="1028824" y="699646"/>
                </a:lnTo>
                <a:lnTo>
                  <a:pt x="1039090" y="702212"/>
                </a:lnTo>
                <a:cubicBezTo>
                  <a:pt x="1040373" y="703495"/>
                  <a:pt x="1042940" y="704778"/>
                  <a:pt x="1044223" y="707344"/>
                </a:cubicBezTo>
                <a:cubicBezTo>
                  <a:pt x="1045506" y="708627"/>
                  <a:pt x="1046790" y="709910"/>
                  <a:pt x="1048072" y="711194"/>
                </a:cubicBezTo>
                <a:cubicBezTo>
                  <a:pt x="1050639" y="711194"/>
                  <a:pt x="1051922" y="711194"/>
                  <a:pt x="1051922" y="708627"/>
                </a:cubicBezTo>
                <a:cubicBezTo>
                  <a:pt x="1051922" y="707344"/>
                  <a:pt x="1050639" y="706061"/>
                  <a:pt x="1049356" y="704778"/>
                </a:cubicBezTo>
                <a:cubicBezTo>
                  <a:pt x="1049356" y="702212"/>
                  <a:pt x="1049356" y="700929"/>
                  <a:pt x="1050639" y="699646"/>
                </a:cubicBezTo>
                <a:cubicBezTo>
                  <a:pt x="1051922" y="697080"/>
                  <a:pt x="1051922" y="693231"/>
                  <a:pt x="1049356" y="690665"/>
                </a:cubicBezTo>
                <a:cubicBezTo>
                  <a:pt x="1048072" y="689382"/>
                  <a:pt x="1045506" y="689382"/>
                  <a:pt x="1046790" y="686816"/>
                </a:cubicBezTo>
                <a:lnTo>
                  <a:pt x="1058338" y="686816"/>
                </a:lnTo>
                <a:cubicBezTo>
                  <a:pt x="1059622" y="685533"/>
                  <a:pt x="1060905" y="685533"/>
                  <a:pt x="1060905" y="684250"/>
                </a:cubicBezTo>
                <a:cubicBezTo>
                  <a:pt x="1060905" y="681684"/>
                  <a:pt x="1059622" y="681684"/>
                  <a:pt x="1057055" y="681684"/>
                </a:cubicBezTo>
                <a:lnTo>
                  <a:pt x="1050639" y="677834"/>
                </a:lnTo>
                <a:cubicBezTo>
                  <a:pt x="1050158" y="673986"/>
                  <a:pt x="1056413" y="673986"/>
                  <a:pt x="1058338" y="673986"/>
                </a:cubicBezTo>
                <a:cubicBezTo>
                  <a:pt x="1059622" y="673986"/>
                  <a:pt x="1064754" y="676552"/>
                  <a:pt x="1064754" y="673986"/>
                </a:cubicBezTo>
                <a:cubicBezTo>
                  <a:pt x="1066038" y="671420"/>
                  <a:pt x="1058338" y="671420"/>
                  <a:pt x="1059622" y="667570"/>
                </a:cubicBezTo>
                <a:close/>
                <a:moveTo>
                  <a:pt x="1065059" y="644628"/>
                </a:moveTo>
                <a:lnTo>
                  <a:pt x="1073323" y="646832"/>
                </a:lnTo>
                <a:lnTo>
                  <a:pt x="1068398" y="646336"/>
                </a:lnTo>
                <a:cubicBezTo>
                  <a:pt x="1068086" y="645834"/>
                  <a:pt x="1067679" y="645759"/>
                  <a:pt x="1067321" y="645759"/>
                </a:cubicBezTo>
                <a:close/>
                <a:moveTo>
                  <a:pt x="999379" y="639378"/>
                </a:moveTo>
                <a:cubicBezTo>
                  <a:pt x="998987" y="639378"/>
                  <a:pt x="998595" y="639379"/>
                  <a:pt x="998203" y="639497"/>
                </a:cubicBezTo>
                <a:cubicBezTo>
                  <a:pt x="971578" y="639464"/>
                  <a:pt x="945496" y="641848"/>
                  <a:pt x="920379" y="647342"/>
                </a:cubicBezTo>
                <a:cubicBezTo>
                  <a:pt x="899534" y="649819"/>
                  <a:pt x="879362" y="654810"/>
                  <a:pt x="860441" y="663193"/>
                </a:cubicBezTo>
                <a:lnTo>
                  <a:pt x="858109" y="661862"/>
                </a:lnTo>
                <a:lnTo>
                  <a:pt x="842130" y="668877"/>
                </a:lnTo>
                <a:cubicBezTo>
                  <a:pt x="825571" y="673228"/>
                  <a:pt x="809995" y="679980"/>
                  <a:pt x="795747" y="689240"/>
                </a:cubicBezTo>
                <a:lnTo>
                  <a:pt x="781029" y="695701"/>
                </a:lnTo>
                <a:lnTo>
                  <a:pt x="782872" y="696228"/>
                </a:lnTo>
                <a:cubicBezTo>
                  <a:pt x="768415" y="701624"/>
                  <a:pt x="755385" y="709559"/>
                  <a:pt x="742864" y="718195"/>
                </a:cubicBezTo>
                <a:lnTo>
                  <a:pt x="742177" y="718057"/>
                </a:lnTo>
                <a:lnTo>
                  <a:pt x="737755" y="721706"/>
                </a:lnTo>
                <a:lnTo>
                  <a:pt x="738227" y="722021"/>
                </a:lnTo>
                <a:lnTo>
                  <a:pt x="724694" y="733187"/>
                </a:lnTo>
                <a:lnTo>
                  <a:pt x="724694" y="733110"/>
                </a:lnTo>
                <a:cubicBezTo>
                  <a:pt x="725977" y="731826"/>
                  <a:pt x="725977" y="730543"/>
                  <a:pt x="727261" y="730543"/>
                </a:cubicBezTo>
                <a:lnTo>
                  <a:pt x="727400" y="730249"/>
                </a:lnTo>
                <a:lnTo>
                  <a:pt x="713121" y="742030"/>
                </a:lnTo>
                <a:cubicBezTo>
                  <a:pt x="713116" y="742059"/>
                  <a:pt x="713127" y="742078"/>
                  <a:pt x="713139" y="742095"/>
                </a:cubicBezTo>
                <a:lnTo>
                  <a:pt x="713482" y="742438"/>
                </a:lnTo>
                <a:cubicBezTo>
                  <a:pt x="608487" y="824638"/>
                  <a:pt x="542179" y="952865"/>
                  <a:pt x="542179" y="1096578"/>
                </a:cubicBezTo>
                <a:cubicBezTo>
                  <a:pt x="542179" y="1349083"/>
                  <a:pt x="746874" y="1553778"/>
                  <a:pt x="999379" y="1553778"/>
                </a:cubicBezTo>
                <a:cubicBezTo>
                  <a:pt x="1162388" y="1553778"/>
                  <a:pt x="1305472" y="1468470"/>
                  <a:pt x="1385427" y="1339435"/>
                </a:cubicBezTo>
                <a:lnTo>
                  <a:pt x="1785689" y="1613205"/>
                </a:lnTo>
                <a:lnTo>
                  <a:pt x="1785689" y="1387583"/>
                </a:lnTo>
                <a:lnTo>
                  <a:pt x="2115709" y="1387583"/>
                </a:lnTo>
                <a:lnTo>
                  <a:pt x="2115709" y="1194193"/>
                </a:lnTo>
                <a:lnTo>
                  <a:pt x="1785689" y="1194193"/>
                </a:lnTo>
                <a:lnTo>
                  <a:pt x="1785689" y="968571"/>
                </a:lnTo>
                <a:lnTo>
                  <a:pt x="1442834" y="1203076"/>
                </a:lnTo>
                <a:cubicBezTo>
                  <a:pt x="1452238" y="1169106"/>
                  <a:pt x="1456579" y="1133349"/>
                  <a:pt x="1456579" y="1096578"/>
                </a:cubicBezTo>
                <a:cubicBezTo>
                  <a:pt x="1456579" y="1012997"/>
                  <a:pt x="1434151" y="934654"/>
                  <a:pt x="1393297" y="868220"/>
                </a:cubicBezTo>
                <a:cubicBezTo>
                  <a:pt x="1393106" y="867646"/>
                  <a:pt x="1392810" y="867132"/>
                  <a:pt x="1392448" y="866656"/>
                </a:cubicBezTo>
                <a:cubicBezTo>
                  <a:pt x="1377647" y="837655"/>
                  <a:pt x="1358306" y="811522"/>
                  <a:pt x="1335388" y="788705"/>
                </a:cubicBezTo>
                <a:cubicBezTo>
                  <a:pt x="1335328" y="788596"/>
                  <a:pt x="1335246" y="788507"/>
                  <a:pt x="1335157" y="788425"/>
                </a:cubicBezTo>
                <a:cubicBezTo>
                  <a:pt x="1296816" y="744516"/>
                  <a:pt x="1249305" y="709147"/>
                  <a:pt x="1195456" y="685139"/>
                </a:cubicBezTo>
                <a:cubicBezTo>
                  <a:pt x="1168878" y="668452"/>
                  <a:pt x="1138908" y="657520"/>
                  <a:pt x="1106711" y="653382"/>
                </a:cubicBezTo>
                <a:cubicBezTo>
                  <a:pt x="1100591" y="650570"/>
                  <a:pt x="1094113" y="649156"/>
                  <a:pt x="1087511" y="648263"/>
                </a:cubicBezTo>
                <a:cubicBezTo>
                  <a:pt x="1079872" y="644257"/>
                  <a:pt x="1071681" y="642933"/>
                  <a:pt x="1063417" y="641838"/>
                </a:cubicBezTo>
                <a:lnTo>
                  <a:pt x="1063471" y="641909"/>
                </a:lnTo>
                <a:cubicBezTo>
                  <a:pt x="1064754" y="643193"/>
                  <a:pt x="1063471" y="643193"/>
                  <a:pt x="1064754" y="644475"/>
                </a:cubicBezTo>
                <a:cubicBezTo>
                  <a:pt x="1064754" y="644540"/>
                  <a:pt x="1064758" y="644601"/>
                  <a:pt x="1065059" y="644628"/>
                </a:cubicBezTo>
                <a:lnTo>
                  <a:pt x="999645" y="639378"/>
                </a:lnTo>
                <a:lnTo>
                  <a:pt x="999499" y="639390"/>
                </a:lnTo>
                <a:close/>
                <a:moveTo>
                  <a:pt x="2420008" y="517582"/>
                </a:moveTo>
                <a:lnTo>
                  <a:pt x="2420242" y="517582"/>
                </a:lnTo>
                <a:lnTo>
                  <a:pt x="2420008" y="518739"/>
                </a:lnTo>
                <a:close/>
                <a:moveTo>
                  <a:pt x="311517" y="382148"/>
                </a:moveTo>
                <a:lnTo>
                  <a:pt x="956736" y="425169"/>
                </a:lnTo>
                <a:lnTo>
                  <a:pt x="956736" y="424822"/>
                </a:lnTo>
                <a:lnTo>
                  <a:pt x="2419502" y="521246"/>
                </a:lnTo>
                <a:lnTo>
                  <a:pt x="2419041" y="523529"/>
                </a:lnTo>
                <a:cubicBezTo>
                  <a:pt x="2457627" y="527513"/>
                  <a:pt x="2492277" y="546825"/>
                  <a:pt x="2489692" y="585709"/>
                </a:cubicBezTo>
                <a:lnTo>
                  <a:pt x="2488840" y="670935"/>
                </a:lnTo>
                <a:lnTo>
                  <a:pt x="2487534" y="671173"/>
                </a:lnTo>
                <a:lnTo>
                  <a:pt x="2421648" y="1671080"/>
                </a:lnTo>
                <a:cubicBezTo>
                  <a:pt x="2408325" y="1707656"/>
                  <a:pt x="2386877" y="1726260"/>
                  <a:pt x="2359534" y="1724079"/>
                </a:cubicBezTo>
                <a:lnTo>
                  <a:pt x="145534" y="1736658"/>
                </a:lnTo>
                <a:cubicBezTo>
                  <a:pt x="174077" y="1308592"/>
                  <a:pt x="202622" y="880528"/>
                  <a:pt x="231160" y="452462"/>
                </a:cubicBezTo>
                <a:cubicBezTo>
                  <a:pt x="233930" y="410856"/>
                  <a:pt x="269910" y="379374"/>
                  <a:pt x="311517" y="382148"/>
                </a:cubicBezTo>
                <a:close/>
                <a:moveTo>
                  <a:pt x="1300253" y="0"/>
                </a:moveTo>
                <a:lnTo>
                  <a:pt x="2203833" y="0"/>
                </a:lnTo>
                <a:cubicBezTo>
                  <a:pt x="2251087" y="0"/>
                  <a:pt x="2290930" y="31720"/>
                  <a:pt x="2301543" y="75508"/>
                </a:cubicBezTo>
                <a:lnTo>
                  <a:pt x="2302960" y="75508"/>
                </a:lnTo>
                <a:lnTo>
                  <a:pt x="2302960" y="153340"/>
                </a:lnTo>
                <a:cubicBezTo>
                  <a:pt x="2302960" y="185560"/>
                  <a:pt x="2322135" y="213304"/>
                  <a:pt x="2349730" y="225539"/>
                </a:cubicBezTo>
                <a:lnTo>
                  <a:pt x="2352691" y="225539"/>
                </a:lnTo>
                <a:cubicBezTo>
                  <a:pt x="2390137" y="225539"/>
                  <a:pt x="2420490" y="255892"/>
                  <a:pt x="2420490" y="293337"/>
                </a:cubicBezTo>
                <a:lnTo>
                  <a:pt x="2420490" y="478155"/>
                </a:lnTo>
                <a:lnTo>
                  <a:pt x="2420008" y="478155"/>
                </a:lnTo>
                <a:lnTo>
                  <a:pt x="2418385" y="478044"/>
                </a:lnTo>
                <a:lnTo>
                  <a:pt x="2418385" y="477489"/>
                </a:lnTo>
                <a:lnTo>
                  <a:pt x="955892" y="376628"/>
                </a:lnTo>
                <a:lnTo>
                  <a:pt x="995936" y="380425"/>
                </a:lnTo>
                <a:lnTo>
                  <a:pt x="953777" y="377532"/>
                </a:lnTo>
                <a:lnTo>
                  <a:pt x="953797" y="377981"/>
                </a:lnTo>
                <a:lnTo>
                  <a:pt x="265757" y="332107"/>
                </a:lnTo>
                <a:cubicBezTo>
                  <a:pt x="221689" y="329168"/>
                  <a:pt x="183585" y="362511"/>
                  <a:pt x="180646" y="406578"/>
                </a:cubicBezTo>
                <a:lnTo>
                  <a:pt x="92708" y="1725472"/>
                </a:lnTo>
                <a:lnTo>
                  <a:pt x="75504" y="1725472"/>
                </a:lnTo>
                <a:cubicBezTo>
                  <a:pt x="33806" y="1725472"/>
                  <a:pt x="0" y="1691667"/>
                  <a:pt x="0" y="1649970"/>
                </a:cubicBezTo>
                <a:lnTo>
                  <a:pt x="4" y="307622"/>
                </a:lnTo>
                <a:cubicBezTo>
                  <a:pt x="0" y="265921"/>
                  <a:pt x="33806" y="232116"/>
                  <a:pt x="75504" y="232116"/>
                </a:cubicBezTo>
                <a:lnTo>
                  <a:pt x="996290" y="232116"/>
                </a:lnTo>
                <a:lnTo>
                  <a:pt x="997952" y="231729"/>
                </a:lnTo>
                <a:lnTo>
                  <a:pt x="1163695" y="231729"/>
                </a:lnTo>
                <a:cubicBezTo>
                  <a:pt x="1186126" y="231729"/>
                  <a:pt x="1204309" y="213546"/>
                  <a:pt x="1204309" y="191115"/>
                </a:cubicBezTo>
                <a:lnTo>
                  <a:pt x="1204309" y="71429"/>
                </a:lnTo>
                <a:cubicBezTo>
                  <a:pt x="1215773" y="29676"/>
                  <a:pt x="1254548" y="0"/>
                  <a:pt x="1300253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212" tIns="46607" rIns="46607" bIns="93212" numCol="1" spcCol="0" rtlCol="0" fromWordArt="0" anchor="b" anchorCtr="0" forceAA="0" compatLnSpc="1">
            <a:noAutofit/>
          </a:bodyPr>
          <a:lstStyle/>
          <a:p>
            <a:pPr marL="0" marR="0" lvl="0" indent="0" algn="ctr" defTabSz="93154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-51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Rectangle 92166"/>
          <p:cNvSpPr/>
          <p:nvPr>
            <p:custDataLst>
              <p:tags r:id="rId2"/>
            </p:custDataLst>
          </p:nvPr>
        </p:nvSpPr>
        <p:spPr bwMode="auto">
          <a:xfrm flipV="1">
            <a:off x="5628163" y="4022416"/>
            <a:ext cx="504081" cy="587525"/>
          </a:xfrm>
          <a:custGeom>
            <a:avLst/>
            <a:gdLst/>
            <a:ahLst/>
            <a:cxnLst/>
            <a:rect l="l" t="t" r="r" b="b"/>
            <a:pathLst>
              <a:path w="822103" h="1128292">
                <a:moveTo>
                  <a:pt x="698119" y="563492"/>
                </a:moveTo>
                <a:lnTo>
                  <a:pt x="370918" y="284334"/>
                </a:lnTo>
                <a:lnTo>
                  <a:pt x="280941" y="205737"/>
                </a:lnTo>
                <a:lnTo>
                  <a:pt x="128851" y="379847"/>
                </a:lnTo>
                <a:lnTo>
                  <a:pt x="56929" y="317022"/>
                </a:lnTo>
                <a:lnTo>
                  <a:pt x="264169" y="79779"/>
                </a:lnTo>
                <a:cubicBezTo>
                  <a:pt x="269372" y="74505"/>
                  <a:pt x="274695" y="68970"/>
                  <a:pt x="280207" y="63224"/>
                </a:cubicBezTo>
                <a:lnTo>
                  <a:pt x="765173" y="487802"/>
                </a:lnTo>
                <a:lnTo>
                  <a:pt x="702684" y="559339"/>
                </a:lnTo>
                <a:close/>
                <a:moveTo>
                  <a:pt x="574455" y="1110341"/>
                </a:moveTo>
                <a:lnTo>
                  <a:pt x="574455" y="823073"/>
                </a:lnTo>
                <a:lnTo>
                  <a:pt x="803055" y="823073"/>
                </a:lnTo>
                <a:close/>
                <a:moveTo>
                  <a:pt x="0" y="1128292"/>
                </a:moveTo>
                <a:lnTo>
                  <a:pt x="593503" y="1128292"/>
                </a:lnTo>
                <a:lnTo>
                  <a:pt x="822103" y="841025"/>
                </a:lnTo>
                <a:lnTo>
                  <a:pt x="82210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lIns="91406" tIns="45702" rIns="91406" bIns="45702" rtlCol="0" anchor="ctr"/>
          <a:lstStyle/>
          <a:p>
            <a:pPr marL="0" marR="0" lvl="0" indent="0" algn="ctr" defTabSz="9315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dirty="0" err="1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6" name="Freeform 14"/>
          <p:cNvSpPr>
            <a:spLocks noEditPoints="1"/>
          </p:cNvSpPr>
          <p:nvPr/>
        </p:nvSpPr>
        <p:spPr bwMode="black">
          <a:xfrm rot="900000">
            <a:off x="8237912" y="4001571"/>
            <a:ext cx="571005" cy="70027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75" tIns="41138" rIns="82275" bIns="41138" numCol="1" anchor="t" anchorCtr="0" compatLnSpc="1"/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>
              <a:solidFill>
                <a:srgbClr val="FFFFFF"/>
              </a:solidFill>
              <a:latin typeface="Segoe UI" panose="020B0502040204020203"/>
            </a:endParaRPr>
          </a:p>
        </p:txBody>
      </p:sp>
      <p:sp>
        <p:nvSpPr>
          <p:cNvPr id="88" name="Freeform 15"/>
          <p:cNvSpPr>
            <a:spLocks noEditPoints="1"/>
          </p:cNvSpPr>
          <p:nvPr/>
        </p:nvSpPr>
        <p:spPr bwMode="black">
          <a:xfrm>
            <a:off x="2967465" y="2886556"/>
            <a:ext cx="786220" cy="654252"/>
          </a:xfrm>
          <a:custGeom>
            <a:avLst/>
            <a:gdLst>
              <a:gd name="T0" fmla="*/ 300 w 300"/>
              <a:gd name="T1" fmla="*/ 201 h 255"/>
              <a:gd name="T2" fmla="*/ 288 w 300"/>
              <a:gd name="T3" fmla="*/ 210 h 255"/>
              <a:gd name="T4" fmla="*/ 285 w 300"/>
              <a:gd name="T5" fmla="*/ 214 h 255"/>
              <a:gd name="T6" fmla="*/ 266 w 300"/>
              <a:gd name="T7" fmla="*/ 230 h 255"/>
              <a:gd name="T8" fmla="*/ 229 w 300"/>
              <a:gd name="T9" fmla="*/ 245 h 255"/>
              <a:gd name="T10" fmla="*/ 169 w 300"/>
              <a:gd name="T11" fmla="*/ 253 h 255"/>
              <a:gd name="T12" fmla="*/ 47 w 300"/>
              <a:gd name="T13" fmla="*/ 231 h 255"/>
              <a:gd name="T14" fmla="*/ 47 w 300"/>
              <a:gd name="T15" fmla="*/ 186 h 255"/>
              <a:gd name="T16" fmla="*/ 89 w 300"/>
              <a:gd name="T17" fmla="*/ 168 h 255"/>
              <a:gd name="T18" fmla="*/ 130 w 300"/>
              <a:gd name="T19" fmla="*/ 171 h 255"/>
              <a:gd name="T20" fmla="*/ 163 w 300"/>
              <a:gd name="T21" fmla="*/ 174 h 255"/>
              <a:gd name="T22" fmla="*/ 198 w 300"/>
              <a:gd name="T23" fmla="*/ 169 h 255"/>
              <a:gd name="T24" fmla="*/ 219 w 300"/>
              <a:gd name="T25" fmla="*/ 182 h 255"/>
              <a:gd name="T26" fmla="*/ 201 w 300"/>
              <a:gd name="T27" fmla="*/ 195 h 255"/>
              <a:gd name="T28" fmla="*/ 174 w 300"/>
              <a:gd name="T29" fmla="*/ 194 h 255"/>
              <a:gd name="T30" fmla="*/ 144 w 300"/>
              <a:gd name="T31" fmla="*/ 202 h 255"/>
              <a:gd name="T32" fmla="*/ 177 w 300"/>
              <a:gd name="T33" fmla="*/ 217 h 255"/>
              <a:gd name="T34" fmla="*/ 223 w 300"/>
              <a:gd name="T35" fmla="*/ 218 h 255"/>
              <a:gd name="T36" fmla="*/ 255 w 300"/>
              <a:gd name="T37" fmla="*/ 209 h 255"/>
              <a:gd name="T38" fmla="*/ 287 w 300"/>
              <a:gd name="T39" fmla="*/ 193 h 255"/>
              <a:gd name="T40" fmla="*/ 300 w 300"/>
              <a:gd name="T41" fmla="*/ 201 h 255"/>
              <a:gd name="T42" fmla="*/ 34 w 300"/>
              <a:gd name="T43" fmla="*/ 173 h 255"/>
              <a:gd name="T44" fmla="*/ 0 w 300"/>
              <a:gd name="T45" fmla="*/ 173 h 255"/>
              <a:gd name="T46" fmla="*/ 0 w 300"/>
              <a:gd name="T47" fmla="*/ 240 h 255"/>
              <a:gd name="T48" fmla="*/ 34 w 300"/>
              <a:gd name="T49" fmla="*/ 240 h 255"/>
              <a:gd name="T50" fmla="*/ 39 w 300"/>
              <a:gd name="T51" fmla="*/ 235 h 255"/>
              <a:gd name="T52" fmla="*/ 39 w 300"/>
              <a:gd name="T53" fmla="*/ 177 h 255"/>
              <a:gd name="T54" fmla="*/ 34 w 300"/>
              <a:gd name="T55" fmla="*/ 173 h 255"/>
              <a:gd name="T56" fmla="*/ 246 w 300"/>
              <a:gd name="T57" fmla="*/ 24 h 255"/>
              <a:gd name="T58" fmla="*/ 246 w 300"/>
              <a:gd name="T59" fmla="*/ 147 h 255"/>
              <a:gd name="T60" fmla="*/ 123 w 300"/>
              <a:gd name="T61" fmla="*/ 147 h 255"/>
              <a:gd name="T62" fmla="*/ 123 w 300"/>
              <a:gd name="T63" fmla="*/ 122 h 255"/>
              <a:gd name="T64" fmla="*/ 99 w 300"/>
              <a:gd name="T65" fmla="*/ 122 h 255"/>
              <a:gd name="T66" fmla="*/ 99 w 300"/>
              <a:gd name="T67" fmla="*/ 0 h 255"/>
              <a:gd name="T68" fmla="*/ 221 w 300"/>
              <a:gd name="T69" fmla="*/ 0 h 255"/>
              <a:gd name="T70" fmla="*/ 221 w 300"/>
              <a:gd name="T71" fmla="*/ 24 h 255"/>
              <a:gd name="T72" fmla="*/ 246 w 300"/>
              <a:gd name="T73" fmla="*/ 24 h 255"/>
              <a:gd name="T74" fmla="*/ 123 w 300"/>
              <a:gd name="T75" fmla="*/ 116 h 255"/>
              <a:gd name="T76" fmla="*/ 123 w 300"/>
              <a:gd name="T77" fmla="*/ 24 h 255"/>
              <a:gd name="T78" fmla="*/ 215 w 300"/>
              <a:gd name="T79" fmla="*/ 24 h 255"/>
              <a:gd name="T80" fmla="*/ 215 w 300"/>
              <a:gd name="T81" fmla="*/ 6 h 255"/>
              <a:gd name="T82" fmla="*/ 105 w 300"/>
              <a:gd name="T83" fmla="*/ 6 h 255"/>
              <a:gd name="T84" fmla="*/ 105 w 300"/>
              <a:gd name="T85" fmla="*/ 116 h 255"/>
              <a:gd name="T86" fmla="*/ 123 w 300"/>
              <a:gd name="T87" fmla="*/ 116 h 255"/>
              <a:gd name="T88" fmla="*/ 224 w 300"/>
              <a:gd name="T89" fmla="*/ 85 h 255"/>
              <a:gd name="T90" fmla="*/ 183 w 300"/>
              <a:gd name="T91" fmla="*/ 56 h 255"/>
              <a:gd name="T92" fmla="*/ 183 w 300"/>
              <a:gd name="T93" fmla="*/ 76 h 255"/>
              <a:gd name="T94" fmla="*/ 145 w 300"/>
              <a:gd name="T95" fmla="*/ 76 h 255"/>
              <a:gd name="T96" fmla="*/ 145 w 300"/>
              <a:gd name="T97" fmla="*/ 94 h 255"/>
              <a:gd name="T98" fmla="*/ 183 w 300"/>
              <a:gd name="T99" fmla="*/ 94 h 255"/>
              <a:gd name="T100" fmla="*/ 183 w 300"/>
              <a:gd name="T101" fmla="*/ 115 h 255"/>
              <a:gd name="T102" fmla="*/ 224 w 300"/>
              <a:gd name="T103" fmla="*/ 8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00" h="255">
                <a:moveTo>
                  <a:pt x="300" y="201"/>
                </a:moveTo>
                <a:cubicBezTo>
                  <a:pt x="300" y="201"/>
                  <a:pt x="299" y="202"/>
                  <a:pt x="288" y="210"/>
                </a:cubicBezTo>
                <a:cubicBezTo>
                  <a:pt x="288" y="210"/>
                  <a:pt x="286" y="214"/>
                  <a:pt x="285" y="214"/>
                </a:cubicBezTo>
                <a:cubicBezTo>
                  <a:pt x="280" y="218"/>
                  <a:pt x="275" y="223"/>
                  <a:pt x="266" y="230"/>
                </a:cubicBezTo>
                <a:cubicBezTo>
                  <a:pt x="257" y="231"/>
                  <a:pt x="238" y="240"/>
                  <a:pt x="229" y="245"/>
                </a:cubicBezTo>
                <a:cubicBezTo>
                  <a:pt x="212" y="244"/>
                  <a:pt x="187" y="248"/>
                  <a:pt x="169" y="253"/>
                </a:cubicBezTo>
                <a:cubicBezTo>
                  <a:pt x="143" y="249"/>
                  <a:pt x="140" y="255"/>
                  <a:pt x="47" y="231"/>
                </a:cubicBezTo>
                <a:cubicBezTo>
                  <a:pt x="47" y="231"/>
                  <a:pt x="47" y="194"/>
                  <a:pt x="47" y="186"/>
                </a:cubicBezTo>
                <a:cubicBezTo>
                  <a:pt x="64" y="182"/>
                  <a:pt x="69" y="171"/>
                  <a:pt x="89" y="168"/>
                </a:cubicBezTo>
                <a:cubicBezTo>
                  <a:pt x="103" y="166"/>
                  <a:pt x="116" y="167"/>
                  <a:pt x="130" y="171"/>
                </a:cubicBezTo>
                <a:cubicBezTo>
                  <a:pt x="139" y="174"/>
                  <a:pt x="148" y="176"/>
                  <a:pt x="163" y="174"/>
                </a:cubicBezTo>
                <a:cubicBezTo>
                  <a:pt x="176" y="173"/>
                  <a:pt x="181" y="169"/>
                  <a:pt x="198" y="169"/>
                </a:cubicBezTo>
                <a:cubicBezTo>
                  <a:pt x="209" y="169"/>
                  <a:pt x="220" y="176"/>
                  <a:pt x="219" y="182"/>
                </a:cubicBezTo>
                <a:cubicBezTo>
                  <a:pt x="219" y="188"/>
                  <a:pt x="208" y="194"/>
                  <a:pt x="201" y="195"/>
                </a:cubicBezTo>
                <a:cubicBezTo>
                  <a:pt x="185" y="195"/>
                  <a:pt x="189" y="194"/>
                  <a:pt x="174" y="194"/>
                </a:cubicBezTo>
                <a:cubicBezTo>
                  <a:pt x="156" y="194"/>
                  <a:pt x="155" y="197"/>
                  <a:pt x="144" y="202"/>
                </a:cubicBezTo>
                <a:cubicBezTo>
                  <a:pt x="155" y="205"/>
                  <a:pt x="162" y="209"/>
                  <a:pt x="177" y="217"/>
                </a:cubicBezTo>
                <a:cubicBezTo>
                  <a:pt x="193" y="215"/>
                  <a:pt x="209" y="217"/>
                  <a:pt x="223" y="218"/>
                </a:cubicBezTo>
                <a:cubicBezTo>
                  <a:pt x="235" y="215"/>
                  <a:pt x="241" y="210"/>
                  <a:pt x="255" y="209"/>
                </a:cubicBezTo>
                <a:cubicBezTo>
                  <a:pt x="264" y="202"/>
                  <a:pt x="276" y="191"/>
                  <a:pt x="287" y="193"/>
                </a:cubicBezTo>
                <a:cubicBezTo>
                  <a:pt x="293" y="194"/>
                  <a:pt x="300" y="201"/>
                  <a:pt x="300" y="201"/>
                </a:cubicBezTo>
                <a:close/>
                <a:moveTo>
                  <a:pt x="34" y="173"/>
                </a:moveTo>
                <a:cubicBezTo>
                  <a:pt x="0" y="173"/>
                  <a:pt x="0" y="173"/>
                  <a:pt x="0" y="173"/>
                </a:cubicBezTo>
                <a:cubicBezTo>
                  <a:pt x="0" y="240"/>
                  <a:pt x="0" y="240"/>
                  <a:pt x="0" y="240"/>
                </a:cubicBezTo>
                <a:cubicBezTo>
                  <a:pt x="34" y="240"/>
                  <a:pt x="34" y="240"/>
                  <a:pt x="34" y="240"/>
                </a:cubicBezTo>
                <a:cubicBezTo>
                  <a:pt x="37" y="240"/>
                  <a:pt x="39" y="238"/>
                  <a:pt x="39" y="235"/>
                </a:cubicBezTo>
                <a:cubicBezTo>
                  <a:pt x="39" y="177"/>
                  <a:pt x="39" y="177"/>
                  <a:pt x="39" y="177"/>
                </a:cubicBezTo>
                <a:cubicBezTo>
                  <a:pt x="39" y="175"/>
                  <a:pt x="37" y="173"/>
                  <a:pt x="34" y="173"/>
                </a:cubicBezTo>
                <a:close/>
                <a:moveTo>
                  <a:pt x="246" y="24"/>
                </a:moveTo>
                <a:cubicBezTo>
                  <a:pt x="246" y="147"/>
                  <a:pt x="246" y="147"/>
                  <a:pt x="246" y="147"/>
                </a:cubicBezTo>
                <a:cubicBezTo>
                  <a:pt x="123" y="147"/>
                  <a:pt x="123" y="147"/>
                  <a:pt x="123" y="147"/>
                </a:cubicBezTo>
                <a:cubicBezTo>
                  <a:pt x="123" y="122"/>
                  <a:pt x="123" y="122"/>
                  <a:pt x="123" y="122"/>
                </a:cubicBezTo>
                <a:cubicBezTo>
                  <a:pt x="99" y="122"/>
                  <a:pt x="99" y="122"/>
                  <a:pt x="99" y="122"/>
                </a:cubicBezTo>
                <a:cubicBezTo>
                  <a:pt x="99" y="0"/>
                  <a:pt x="99" y="0"/>
                  <a:pt x="99" y="0"/>
                </a:cubicBezTo>
                <a:cubicBezTo>
                  <a:pt x="221" y="0"/>
                  <a:pt x="221" y="0"/>
                  <a:pt x="221" y="0"/>
                </a:cubicBezTo>
                <a:cubicBezTo>
                  <a:pt x="221" y="24"/>
                  <a:pt x="221" y="24"/>
                  <a:pt x="221" y="24"/>
                </a:cubicBezTo>
                <a:lnTo>
                  <a:pt x="246" y="24"/>
                </a:lnTo>
                <a:close/>
                <a:moveTo>
                  <a:pt x="123" y="116"/>
                </a:moveTo>
                <a:cubicBezTo>
                  <a:pt x="123" y="24"/>
                  <a:pt x="123" y="24"/>
                  <a:pt x="123" y="24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215" y="6"/>
                  <a:pt x="215" y="6"/>
                  <a:pt x="215" y="6"/>
                </a:cubicBezTo>
                <a:cubicBezTo>
                  <a:pt x="105" y="6"/>
                  <a:pt x="105" y="6"/>
                  <a:pt x="105" y="6"/>
                </a:cubicBezTo>
                <a:cubicBezTo>
                  <a:pt x="105" y="116"/>
                  <a:pt x="105" y="116"/>
                  <a:pt x="105" y="116"/>
                </a:cubicBezTo>
                <a:lnTo>
                  <a:pt x="123" y="116"/>
                </a:lnTo>
                <a:close/>
                <a:moveTo>
                  <a:pt x="224" y="85"/>
                </a:moveTo>
                <a:cubicBezTo>
                  <a:pt x="183" y="56"/>
                  <a:pt x="183" y="56"/>
                  <a:pt x="183" y="56"/>
                </a:cubicBezTo>
                <a:cubicBezTo>
                  <a:pt x="183" y="76"/>
                  <a:pt x="183" y="76"/>
                  <a:pt x="183" y="76"/>
                </a:cubicBezTo>
                <a:cubicBezTo>
                  <a:pt x="145" y="76"/>
                  <a:pt x="145" y="76"/>
                  <a:pt x="145" y="76"/>
                </a:cubicBezTo>
                <a:cubicBezTo>
                  <a:pt x="145" y="94"/>
                  <a:pt x="145" y="94"/>
                  <a:pt x="145" y="94"/>
                </a:cubicBezTo>
                <a:cubicBezTo>
                  <a:pt x="183" y="94"/>
                  <a:pt x="183" y="94"/>
                  <a:pt x="183" y="94"/>
                </a:cubicBezTo>
                <a:cubicBezTo>
                  <a:pt x="183" y="115"/>
                  <a:pt x="183" y="115"/>
                  <a:pt x="183" y="115"/>
                </a:cubicBezTo>
                <a:lnTo>
                  <a:pt x="224" y="8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75" tIns="41138" rIns="82275" bIns="41138" numCol="1" anchor="t" anchorCtr="0" compatLnSpc="1"/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pic>
        <p:nvPicPr>
          <p:cNvPr id="91" name="Picture 7" descr="\\MAGNUM\Projects\Microsoft\Cloud Power FY12\Design\Icons\PNGs\Pooled.png"/>
          <p:cNvPicPr>
            <a:picLocks noChangeAspect="1" noChangeArrowheads="1"/>
          </p:cNvPicPr>
          <p:nvPr/>
        </p:nvPicPr>
        <p:blipFill>
          <a:blip r:embed="rId3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6545" y="1570352"/>
            <a:ext cx="923036" cy="922796"/>
          </a:xfrm>
          <a:prstGeom prst="rect">
            <a:avLst/>
          </a:prstGeom>
          <a:noFill/>
        </p:spPr>
      </p:pic>
      <p:sp>
        <p:nvSpPr>
          <p:cNvPr id="142" name="Freeform 134"/>
          <p:cNvSpPr>
            <a:spLocks noEditPoints="1"/>
          </p:cNvSpPr>
          <p:nvPr/>
        </p:nvSpPr>
        <p:spPr bwMode="auto">
          <a:xfrm>
            <a:off x="8053548" y="2883205"/>
            <a:ext cx="687962" cy="606320"/>
          </a:xfrm>
          <a:custGeom>
            <a:avLst/>
            <a:gdLst>
              <a:gd name="T0" fmla="*/ 2220 w 3152"/>
              <a:gd name="T1" fmla="*/ 905 h 2780"/>
              <a:gd name="T2" fmla="*/ 2131 w 3152"/>
              <a:gd name="T3" fmla="*/ 764 h 2780"/>
              <a:gd name="T4" fmla="*/ 1420 w 3152"/>
              <a:gd name="T5" fmla="*/ 92 h 2780"/>
              <a:gd name="T6" fmla="*/ 1243 w 3152"/>
              <a:gd name="T7" fmla="*/ 2 h 2780"/>
              <a:gd name="T8" fmla="*/ 1243 w 3152"/>
              <a:gd name="T9" fmla="*/ 2 h 2780"/>
              <a:gd name="T10" fmla="*/ 1243 w 3152"/>
              <a:gd name="T11" fmla="*/ 2 h 2780"/>
              <a:gd name="T12" fmla="*/ 266 w 3152"/>
              <a:gd name="T13" fmla="*/ 2 h 2780"/>
              <a:gd name="T14" fmla="*/ 0 w 3152"/>
              <a:gd name="T15" fmla="*/ 226 h 2780"/>
              <a:gd name="T16" fmla="*/ 0 w 3152"/>
              <a:gd name="T17" fmla="*/ 2511 h 2780"/>
              <a:gd name="T18" fmla="*/ 266 w 3152"/>
              <a:gd name="T19" fmla="*/ 2780 h 2780"/>
              <a:gd name="T20" fmla="*/ 1953 w 3152"/>
              <a:gd name="T21" fmla="*/ 2780 h 2780"/>
              <a:gd name="T22" fmla="*/ 2220 w 3152"/>
              <a:gd name="T23" fmla="*/ 2511 h 2780"/>
              <a:gd name="T24" fmla="*/ 2220 w 3152"/>
              <a:gd name="T25" fmla="*/ 943 h 2780"/>
              <a:gd name="T26" fmla="*/ 2220 w 3152"/>
              <a:gd name="T27" fmla="*/ 905 h 2780"/>
              <a:gd name="T28" fmla="*/ 1243 w 3152"/>
              <a:gd name="T29" fmla="*/ 226 h 2780"/>
              <a:gd name="T30" fmla="*/ 1953 w 3152"/>
              <a:gd name="T31" fmla="*/ 943 h 2780"/>
              <a:gd name="T32" fmla="*/ 1243 w 3152"/>
              <a:gd name="T33" fmla="*/ 943 h 2780"/>
              <a:gd name="T34" fmla="*/ 1243 w 3152"/>
              <a:gd name="T35" fmla="*/ 226 h 2780"/>
              <a:gd name="T36" fmla="*/ 1243 w 3152"/>
              <a:gd name="T37" fmla="*/ 226 h 2780"/>
              <a:gd name="T38" fmla="*/ 1953 w 3152"/>
              <a:gd name="T39" fmla="*/ 2511 h 2780"/>
              <a:gd name="T40" fmla="*/ 266 w 3152"/>
              <a:gd name="T41" fmla="*/ 2511 h 2780"/>
              <a:gd name="T42" fmla="*/ 266 w 3152"/>
              <a:gd name="T43" fmla="*/ 226 h 2780"/>
              <a:gd name="T44" fmla="*/ 1021 w 3152"/>
              <a:gd name="T45" fmla="*/ 226 h 2780"/>
              <a:gd name="T46" fmla="*/ 1021 w 3152"/>
              <a:gd name="T47" fmla="*/ 943 h 2780"/>
              <a:gd name="T48" fmla="*/ 1243 w 3152"/>
              <a:gd name="T49" fmla="*/ 1212 h 2780"/>
              <a:gd name="T50" fmla="*/ 1953 w 3152"/>
              <a:gd name="T51" fmla="*/ 1212 h 2780"/>
              <a:gd name="T52" fmla="*/ 1953 w 3152"/>
              <a:gd name="T53" fmla="*/ 2511 h 2780"/>
              <a:gd name="T54" fmla="*/ 1953 w 3152"/>
              <a:gd name="T55" fmla="*/ 2511 h 2780"/>
              <a:gd name="T56" fmla="*/ 2575 w 3152"/>
              <a:gd name="T57" fmla="*/ 630 h 2780"/>
              <a:gd name="T58" fmla="*/ 2664 w 3152"/>
              <a:gd name="T59" fmla="*/ 854 h 2780"/>
              <a:gd name="T60" fmla="*/ 2664 w 3152"/>
              <a:gd name="T61" fmla="*/ 2511 h 2780"/>
              <a:gd name="T62" fmla="*/ 2442 w 3152"/>
              <a:gd name="T63" fmla="*/ 2780 h 2780"/>
              <a:gd name="T64" fmla="*/ 2353 w 3152"/>
              <a:gd name="T65" fmla="*/ 2780 h 2780"/>
              <a:gd name="T66" fmla="*/ 2442 w 3152"/>
              <a:gd name="T67" fmla="*/ 2556 h 2780"/>
              <a:gd name="T68" fmla="*/ 2442 w 3152"/>
              <a:gd name="T69" fmla="*/ 943 h 2780"/>
              <a:gd name="T70" fmla="*/ 2353 w 3152"/>
              <a:gd name="T71" fmla="*/ 674 h 2780"/>
              <a:gd name="T72" fmla="*/ 1642 w 3152"/>
              <a:gd name="T73" fmla="*/ 2 h 2780"/>
              <a:gd name="T74" fmla="*/ 1642 w 3152"/>
              <a:gd name="T75" fmla="*/ 2 h 2780"/>
              <a:gd name="T76" fmla="*/ 1731 w 3152"/>
              <a:gd name="T77" fmla="*/ 2 h 2780"/>
              <a:gd name="T78" fmla="*/ 1776 w 3152"/>
              <a:gd name="T79" fmla="*/ 2 h 2780"/>
              <a:gd name="T80" fmla="*/ 2086 w 3152"/>
              <a:gd name="T81" fmla="*/ 137 h 2780"/>
              <a:gd name="T82" fmla="*/ 2575 w 3152"/>
              <a:gd name="T83" fmla="*/ 630 h 2780"/>
              <a:gd name="T84" fmla="*/ 3063 w 3152"/>
              <a:gd name="T85" fmla="*/ 585 h 2780"/>
              <a:gd name="T86" fmla="*/ 3152 w 3152"/>
              <a:gd name="T87" fmla="*/ 764 h 2780"/>
              <a:gd name="T88" fmla="*/ 3152 w 3152"/>
              <a:gd name="T89" fmla="*/ 2511 h 2780"/>
              <a:gd name="T90" fmla="*/ 2886 w 3152"/>
              <a:gd name="T91" fmla="*/ 2780 h 2780"/>
              <a:gd name="T92" fmla="*/ 2841 w 3152"/>
              <a:gd name="T93" fmla="*/ 2780 h 2780"/>
              <a:gd name="T94" fmla="*/ 2886 w 3152"/>
              <a:gd name="T95" fmla="*/ 2556 h 2780"/>
              <a:gd name="T96" fmla="*/ 2886 w 3152"/>
              <a:gd name="T97" fmla="*/ 809 h 2780"/>
              <a:gd name="T98" fmla="*/ 2841 w 3152"/>
              <a:gd name="T99" fmla="*/ 630 h 2780"/>
              <a:gd name="T100" fmla="*/ 2220 w 3152"/>
              <a:gd name="T101" fmla="*/ 2 h 2780"/>
              <a:gd name="T102" fmla="*/ 2220 w 3152"/>
              <a:gd name="T103" fmla="*/ 2 h 2780"/>
              <a:gd name="T104" fmla="*/ 2264 w 3152"/>
              <a:gd name="T105" fmla="*/ 2 h 2780"/>
              <a:gd name="T106" fmla="*/ 2308 w 3152"/>
              <a:gd name="T107" fmla="*/ 2 h 2780"/>
              <a:gd name="T108" fmla="*/ 2619 w 3152"/>
              <a:gd name="T109" fmla="*/ 137 h 2780"/>
              <a:gd name="T110" fmla="*/ 3063 w 3152"/>
              <a:gd name="T111" fmla="*/ 585 h 2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152" h="2780">
                <a:moveTo>
                  <a:pt x="2220" y="905"/>
                </a:moveTo>
                <a:cubicBezTo>
                  <a:pt x="2220" y="860"/>
                  <a:pt x="2204" y="833"/>
                  <a:pt x="2131" y="764"/>
                </a:cubicBezTo>
                <a:cubicBezTo>
                  <a:pt x="1419" y="93"/>
                  <a:pt x="1420" y="92"/>
                  <a:pt x="1420" y="92"/>
                </a:cubicBezTo>
                <a:cubicBezTo>
                  <a:pt x="1358" y="23"/>
                  <a:pt x="1304" y="2"/>
                  <a:pt x="1243" y="2"/>
                </a:cubicBezTo>
                <a:cubicBezTo>
                  <a:pt x="1243" y="2"/>
                  <a:pt x="1243" y="2"/>
                  <a:pt x="1243" y="2"/>
                </a:cubicBezTo>
                <a:cubicBezTo>
                  <a:pt x="1243" y="2"/>
                  <a:pt x="1243" y="2"/>
                  <a:pt x="1243" y="2"/>
                </a:cubicBezTo>
                <a:cubicBezTo>
                  <a:pt x="266" y="2"/>
                  <a:pt x="266" y="2"/>
                  <a:pt x="266" y="2"/>
                </a:cubicBezTo>
                <a:cubicBezTo>
                  <a:pt x="133" y="2"/>
                  <a:pt x="0" y="92"/>
                  <a:pt x="0" y="226"/>
                </a:cubicBezTo>
                <a:cubicBezTo>
                  <a:pt x="0" y="2511"/>
                  <a:pt x="0" y="2511"/>
                  <a:pt x="0" y="2511"/>
                </a:cubicBezTo>
                <a:cubicBezTo>
                  <a:pt x="0" y="2646"/>
                  <a:pt x="133" y="2780"/>
                  <a:pt x="266" y="2780"/>
                </a:cubicBezTo>
                <a:cubicBezTo>
                  <a:pt x="1953" y="2780"/>
                  <a:pt x="1953" y="2780"/>
                  <a:pt x="1953" y="2780"/>
                </a:cubicBezTo>
                <a:cubicBezTo>
                  <a:pt x="2086" y="2780"/>
                  <a:pt x="2220" y="2646"/>
                  <a:pt x="2220" y="2511"/>
                </a:cubicBezTo>
                <a:cubicBezTo>
                  <a:pt x="2220" y="943"/>
                  <a:pt x="2220" y="943"/>
                  <a:pt x="2220" y="943"/>
                </a:cubicBezTo>
                <a:lnTo>
                  <a:pt x="2220" y="905"/>
                </a:lnTo>
                <a:close/>
                <a:moveTo>
                  <a:pt x="1243" y="226"/>
                </a:moveTo>
                <a:cubicBezTo>
                  <a:pt x="1953" y="943"/>
                  <a:pt x="1953" y="943"/>
                  <a:pt x="1953" y="943"/>
                </a:cubicBezTo>
                <a:cubicBezTo>
                  <a:pt x="1243" y="943"/>
                  <a:pt x="1243" y="943"/>
                  <a:pt x="1243" y="943"/>
                </a:cubicBezTo>
                <a:cubicBezTo>
                  <a:pt x="1243" y="226"/>
                  <a:pt x="1243" y="226"/>
                  <a:pt x="1243" y="226"/>
                </a:cubicBezTo>
                <a:cubicBezTo>
                  <a:pt x="1243" y="226"/>
                  <a:pt x="1243" y="226"/>
                  <a:pt x="1243" y="226"/>
                </a:cubicBezTo>
                <a:close/>
                <a:moveTo>
                  <a:pt x="1953" y="2511"/>
                </a:moveTo>
                <a:cubicBezTo>
                  <a:pt x="266" y="2511"/>
                  <a:pt x="266" y="2511"/>
                  <a:pt x="266" y="2511"/>
                </a:cubicBezTo>
                <a:cubicBezTo>
                  <a:pt x="266" y="226"/>
                  <a:pt x="266" y="226"/>
                  <a:pt x="266" y="226"/>
                </a:cubicBezTo>
                <a:cubicBezTo>
                  <a:pt x="1021" y="226"/>
                  <a:pt x="1021" y="226"/>
                  <a:pt x="1021" y="226"/>
                </a:cubicBezTo>
                <a:cubicBezTo>
                  <a:pt x="1021" y="943"/>
                  <a:pt x="1021" y="943"/>
                  <a:pt x="1021" y="943"/>
                </a:cubicBezTo>
                <a:cubicBezTo>
                  <a:pt x="1021" y="1078"/>
                  <a:pt x="1110" y="1212"/>
                  <a:pt x="1243" y="1212"/>
                </a:cubicBezTo>
                <a:cubicBezTo>
                  <a:pt x="1953" y="1212"/>
                  <a:pt x="1953" y="1212"/>
                  <a:pt x="1953" y="1212"/>
                </a:cubicBezTo>
                <a:cubicBezTo>
                  <a:pt x="1953" y="2511"/>
                  <a:pt x="1953" y="2511"/>
                  <a:pt x="1953" y="2511"/>
                </a:cubicBezTo>
                <a:cubicBezTo>
                  <a:pt x="1953" y="2511"/>
                  <a:pt x="1953" y="2511"/>
                  <a:pt x="1953" y="2511"/>
                </a:cubicBezTo>
                <a:close/>
                <a:moveTo>
                  <a:pt x="2575" y="630"/>
                </a:moveTo>
                <a:cubicBezTo>
                  <a:pt x="2619" y="674"/>
                  <a:pt x="2664" y="764"/>
                  <a:pt x="2664" y="854"/>
                </a:cubicBezTo>
                <a:cubicBezTo>
                  <a:pt x="2664" y="2511"/>
                  <a:pt x="2664" y="2511"/>
                  <a:pt x="2664" y="2511"/>
                </a:cubicBezTo>
                <a:cubicBezTo>
                  <a:pt x="2664" y="2646"/>
                  <a:pt x="2575" y="2780"/>
                  <a:pt x="2442" y="2780"/>
                </a:cubicBezTo>
                <a:cubicBezTo>
                  <a:pt x="2353" y="2780"/>
                  <a:pt x="2353" y="2780"/>
                  <a:pt x="2353" y="2780"/>
                </a:cubicBezTo>
                <a:cubicBezTo>
                  <a:pt x="2397" y="2691"/>
                  <a:pt x="2442" y="2646"/>
                  <a:pt x="2442" y="2556"/>
                </a:cubicBezTo>
                <a:cubicBezTo>
                  <a:pt x="2442" y="943"/>
                  <a:pt x="2442" y="943"/>
                  <a:pt x="2442" y="943"/>
                </a:cubicBezTo>
                <a:cubicBezTo>
                  <a:pt x="2442" y="854"/>
                  <a:pt x="2452" y="769"/>
                  <a:pt x="2353" y="674"/>
                </a:cubicBezTo>
                <a:cubicBezTo>
                  <a:pt x="1645" y="0"/>
                  <a:pt x="1642" y="2"/>
                  <a:pt x="1642" y="2"/>
                </a:cubicBezTo>
                <a:cubicBezTo>
                  <a:pt x="1642" y="2"/>
                  <a:pt x="1642" y="2"/>
                  <a:pt x="1642" y="2"/>
                </a:cubicBezTo>
                <a:cubicBezTo>
                  <a:pt x="1731" y="2"/>
                  <a:pt x="1731" y="2"/>
                  <a:pt x="1731" y="2"/>
                </a:cubicBezTo>
                <a:cubicBezTo>
                  <a:pt x="1776" y="2"/>
                  <a:pt x="1776" y="2"/>
                  <a:pt x="1776" y="2"/>
                </a:cubicBezTo>
                <a:cubicBezTo>
                  <a:pt x="1820" y="2"/>
                  <a:pt x="1953" y="2"/>
                  <a:pt x="2086" y="137"/>
                </a:cubicBezTo>
                <a:cubicBezTo>
                  <a:pt x="2575" y="630"/>
                  <a:pt x="2575" y="630"/>
                  <a:pt x="2575" y="630"/>
                </a:cubicBezTo>
                <a:moveTo>
                  <a:pt x="3063" y="585"/>
                </a:moveTo>
                <a:cubicBezTo>
                  <a:pt x="3108" y="630"/>
                  <a:pt x="3152" y="719"/>
                  <a:pt x="3152" y="764"/>
                </a:cubicBezTo>
                <a:cubicBezTo>
                  <a:pt x="3152" y="2511"/>
                  <a:pt x="3152" y="2511"/>
                  <a:pt x="3152" y="2511"/>
                </a:cubicBezTo>
                <a:cubicBezTo>
                  <a:pt x="3152" y="2646"/>
                  <a:pt x="3019" y="2780"/>
                  <a:pt x="2886" y="2780"/>
                </a:cubicBezTo>
                <a:cubicBezTo>
                  <a:pt x="2841" y="2780"/>
                  <a:pt x="2841" y="2780"/>
                  <a:pt x="2841" y="2780"/>
                </a:cubicBezTo>
                <a:cubicBezTo>
                  <a:pt x="2886" y="2691"/>
                  <a:pt x="2886" y="2646"/>
                  <a:pt x="2886" y="2556"/>
                </a:cubicBezTo>
                <a:cubicBezTo>
                  <a:pt x="2886" y="809"/>
                  <a:pt x="2886" y="809"/>
                  <a:pt x="2886" y="809"/>
                </a:cubicBezTo>
                <a:cubicBezTo>
                  <a:pt x="2886" y="764"/>
                  <a:pt x="2886" y="674"/>
                  <a:pt x="2841" y="630"/>
                </a:cubicBezTo>
                <a:cubicBezTo>
                  <a:pt x="2220" y="2"/>
                  <a:pt x="2220" y="2"/>
                  <a:pt x="2220" y="2"/>
                </a:cubicBezTo>
                <a:cubicBezTo>
                  <a:pt x="2220" y="2"/>
                  <a:pt x="2220" y="2"/>
                  <a:pt x="2220" y="2"/>
                </a:cubicBezTo>
                <a:cubicBezTo>
                  <a:pt x="2264" y="2"/>
                  <a:pt x="2264" y="2"/>
                  <a:pt x="2264" y="2"/>
                </a:cubicBezTo>
                <a:cubicBezTo>
                  <a:pt x="2308" y="2"/>
                  <a:pt x="2308" y="2"/>
                  <a:pt x="2308" y="2"/>
                </a:cubicBezTo>
                <a:cubicBezTo>
                  <a:pt x="2397" y="2"/>
                  <a:pt x="2486" y="2"/>
                  <a:pt x="2619" y="137"/>
                </a:cubicBezTo>
                <a:cubicBezTo>
                  <a:pt x="3063" y="585"/>
                  <a:pt x="3063" y="585"/>
                  <a:pt x="3063" y="585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3" tIns="45701" rIns="91403" bIns="45701" numCol="1" anchor="t" anchorCtr="0" compatLnSpc="1"/>
          <a:lstStyle/>
          <a:p>
            <a:pPr defTabSz="1238250"/>
            <a:endParaRPr lang="en-US" sz="2400" dirty="0">
              <a:solidFill>
                <a:srgbClr val="292929"/>
              </a:solidFill>
            </a:endParaRPr>
          </a:p>
        </p:txBody>
      </p:sp>
      <p:sp>
        <p:nvSpPr>
          <p:cNvPr id="155" name="Freeform 110">
            <a:hlinkClick r:id="rId4"/>
          </p:cNvPr>
          <p:cNvSpPr>
            <a:spLocks noEditPoints="1"/>
          </p:cNvSpPr>
          <p:nvPr/>
        </p:nvSpPr>
        <p:spPr bwMode="black">
          <a:xfrm>
            <a:off x="1801350" y="4022416"/>
            <a:ext cx="576064" cy="581070"/>
          </a:xfrm>
          <a:custGeom>
            <a:avLst/>
            <a:gdLst>
              <a:gd name="T0" fmla="*/ 9 w 70"/>
              <a:gd name="T1" fmla="*/ 68 h 70"/>
              <a:gd name="T2" fmla="*/ 10 w 70"/>
              <a:gd name="T3" fmla="*/ 66 h 70"/>
              <a:gd name="T4" fmla="*/ 4 w 70"/>
              <a:gd name="T5" fmla="*/ 60 h 70"/>
              <a:gd name="T6" fmla="*/ 2 w 70"/>
              <a:gd name="T7" fmla="*/ 61 h 70"/>
              <a:gd name="T8" fmla="*/ 0 w 70"/>
              <a:gd name="T9" fmla="*/ 68 h 70"/>
              <a:gd name="T10" fmla="*/ 2 w 70"/>
              <a:gd name="T11" fmla="*/ 70 h 70"/>
              <a:gd name="T12" fmla="*/ 9 w 70"/>
              <a:gd name="T13" fmla="*/ 68 h 70"/>
              <a:gd name="T14" fmla="*/ 64 w 70"/>
              <a:gd name="T15" fmla="*/ 6 h 70"/>
              <a:gd name="T16" fmla="*/ 52 w 70"/>
              <a:gd name="T17" fmla="*/ 4 h 70"/>
              <a:gd name="T18" fmla="*/ 49 w 70"/>
              <a:gd name="T19" fmla="*/ 7 h 70"/>
              <a:gd name="T20" fmla="*/ 49 w 70"/>
              <a:gd name="T21" fmla="*/ 11 h 70"/>
              <a:gd name="T22" fmla="*/ 60 w 70"/>
              <a:gd name="T23" fmla="*/ 21 h 70"/>
              <a:gd name="T24" fmla="*/ 63 w 70"/>
              <a:gd name="T25" fmla="*/ 21 h 70"/>
              <a:gd name="T26" fmla="*/ 66 w 70"/>
              <a:gd name="T27" fmla="*/ 18 h 70"/>
              <a:gd name="T28" fmla="*/ 64 w 70"/>
              <a:gd name="T29" fmla="*/ 6 h 70"/>
              <a:gd name="T30" fmla="*/ 22 w 70"/>
              <a:gd name="T31" fmla="*/ 62 h 70"/>
              <a:gd name="T32" fmla="*/ 19 w 70"/>
              <a:gd name="T33" fmla="*/ 62 h 70"/>
              <a:gd name="T34" fmla="*/ 8 w 70"/>
              <a:gd name="T35" fmla="*/ 51 h 70"/>
              <a:gd name="T36" fmla="*/ 8 w 70"/>
              <a:gd name="T37" fmla="*/ 48 h 70"/>
              <a:gd name="T38" fmla="*/ 42 w 70"/>
              <a:gd name="T39" fmla="*/ 14 h 70"/>
              <a:gd name="T40" fmla="*/ 45 w 70"/>
              <a:gd name="T41" fmla="*/ 14 h 70"/>
              <a:gd name="T42" fmla="*/ 56 w 70"/>
              <a:gd name="T43" fmla="*/ 25 h 70"/>
              <a:gd name="T44" fmla="*/ 56 w 70"/>
              <a:gd name="T45" fmla="*/ 28 h 70"/>
              <a:gd name="T46" fmla="*/ 22 w 70"/>
              <a:gd name="T47" fmla="*/ 62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0" h="70">
                <a:moveTo>
                  <a:pt x="9" y="68"/>
                </a:moveTo>
                <a:cubicBezTo>
                  <a:pt x="10" y="67"/>
                  <a:pt x="11" y="67"/>
                  <a:pt x="10" y="66"/>
                </a:cubicBezTo>
                <a:cubicBezTo>
                  <a:pt x="4" y="60"/>
                  <a:pt x="4" y="60"/>
                  <a:pt x="4" y="60"/>
                </a:cubicBezTo>
                <a:cubicBezTo>
                  <a:pt x="4" y="59"/>
                  <a:pt x="3" y="60"/>
                  <a:pt x="2" y="61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69"/>
                  <a:pt x="1" y="70"/>
                  <a:pt x="2" y="70"/>
                </a:cubicBezTo>
                <a:lnTo>
                  <a:pt x="9" y="68"/>
                </a:lnTo>
                <a:close/>
                <a:moveTo>
                  <a:pt x="64" y="6"/>
                </a:moveTo>
                <a:cubicBezTo>
                  <a:pt x="58" y="0"/>
                  <a:pt x="52" y="4"/>
                  <a:pt x="52" y="4"/>
                </a:cubicBezTo>
                <a:cubicBezTo>
                  <a:pt x="51" y="5"/>
                  <a:pt x="50" y="6"/>
                  <a:pt x="49" y="7"/>
                </a:cubicBezTo>
                <a:cubicBezTo>
                  <a:pt x="48" y="8"/>
                  <a:pt x="48" y="10"/>
                  <a:pt x="49" y="11"/>
                </a:cubicBezTo>
                <a:cubicBezTo>
                  <a:pt x="60" y="21"/>
                  <a:pt x="60" y="21"/>
                  <a:pt x="60" y="21"/>
                </a:cubicBezTo>
                <a:cubicBezTo>
                  <a:pt x="60" y="22"/>
                  <a:pt x="62" y="22"/>
                  <a:pt x="63" y="21"/>
                </a:cubicBezTo>
                <a:cubicBezTo>
                  <a:pt x="64" y="20"/>
                  <a:pt x="65" y="19"/>
                  <a:pt x="66" y="18"/>
                </a:cubicBezTo>
                <a:cubicBezTo>
                  <a:pt x="66" y="18"/>
                  <a:pt x="70" y="12"/>
                  <a:pt x="64" y="6"/>
                </a:cubicBezTo>
                <a:moveTo>
                  <a:pt x="22" y="62"/>
                </a:moveTo>
                <a:cubicBezTo>
                  <a:pt x="21" y="63"/>
                  <a:pt x="20" y="63"/>
                  <a:pt x="19" y="62"/>
                </a:cubicBezTo>
                <a:cubicBezTo>
                  <a:pt x="8" y="51"/>
                  <a:pt x="8" y="51"/>
                  <a:pt x="8" y="51"/>
                </a:cubicBezTo>
                <a:cubicBezTo>
                  <a:pt x="7" y="51"/>
                  <a:pt x="7" y="49"/>
                  <a:pt x="8" y="48"/>
                </a:cubicBezTo>
                <a:cubicBezTo>
                  <a:pt x="42" y="14"/>
                  <a:pt x="42" y="14"/>
                  <a:pt x="42" y="14"/>
                </a:cubicBezTo>
                <a:cubicBezTo>
                  <a:pt x="43" y="13"/>
                  <a:pt x="44" y="13"/>
                  <a:pt x="45" y="14"/>
                </a:cubicBezTo>
                <a:cubicBezTo>
                  <a:pt x="56" y="25"/>
                  <a:pt x="56" y="25"/>
                  <a:pt x="56" y="25"/>
                </a:cubicBezTo>
                <a:cubicBezTo>
                  <a:pt x="57" y="26"/>
                  <a:pt x="57" y="27"/>
                  <a:pt x="56" y="28"/>
                </a:cubicBezTo>
                <a:lnTo>
                  <a:pt x="22" y="6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60" tIns="46630" rIns="93260" bIns="46630" numCol="1" anchor="t" anchorCtr="0" compatLnSpc="1"/>
          <a:lstStyle/>
          <a:p>
            <a:pPr defTabSz="932180"/>
            <a:endParaRPr lang="en-US" dirty="0">
              <a:gradFill>
                <a:gsLst>
                  <a:gs pos="5000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56" name="Freeform 13"/>
          <p:cNvSpPr>
            <a:spLocks noEditPoints="1"/>
          </p:cNvSpPr>
          <p:nvPr/>
        </p:nvSpPr>
        <p:spPr bwMode="black">
          <a:xfrm>
            <a:off x="2962685" y="521704"/>
            <a:ext cx="840743" cy="715834"/>
          </a:xfrm>
          <a:custGeom>
            <a:avLst/>
            <a:gdLst>
              <a:gd name="T0" fmla="*/ 344 w 414"/>
              <a:gd name="T1" fmla="*/ 55 h 353"/>
              <a:gd name="T2" fmla="*/ 296 w 414"/>
              <a:gd name="T3" fmla="*/ 9 h 353"/>
              <a:gd name="T4" fmla="*/ 206 w 414"/>
              <a:gd name="T5" fmla="*/ 45 h 353"/>
              <a:gd name="T6" fmla="*/ 0 w 414"/>
              <a:gd name="T7" fmla="*/ 174 h 353"/>
              <a:gd name="T8" fmla="*/ 158 w 414"/>
              <a:gd name="T9" fmla="*/ 278 h 353"/>
              <a:gd name="T10" fmla="*/ 160 w 414"/>
              <a:gd name="T11" fmla="*/ 278 h 353"/>
              <a:gd name="T12" fmla="*/ 160 w 414"/>
              <a:gd name="T13" fmla="*/ 332 h 353"/>
              <a:gd name="T14" fmla="*/ 133 w 414"/>
              <a:gd name="T15" fmla="*/ 337 h 353"/>
              <a:gd name="T16" fmla="*/ 128 w 414"/>
              <a:gd name="T17" fmla="*/ 347 h 353"/>
              <a:gd name="T18" fmla="*/ 137 w 414"/>
              <a:gd name="T19" fmla="*/ 352 h 353"/>
              <a:gd name="T20" fmla="*/ 137 w 414"/>
              <a:gd name="T21" fmla="*/ 352 h 353"/>
              <a:gd name="T22" fmla="*/ 176 w 414"/>
              <a:gd name="T23" fmla="*/ 346 h 353"/>
              <a:gd name="T24" fmla="*/ 215 w 414"/>
              <a:gd name="T25" fmla="*/ 352 h 353"/>
              <a:gd name="T26" fmla="*/ 218 w 414"/>
              <a:gd name="T27" fmla="*/ 352 h 353"/>
              <a:gd name="T28" fmla="*/ 224 w 414"/>
              <a:gd name="T29" fmla="*/ 347 h 353"/>
              <a:gd name="T30" fmla="*/ 245 w 414"/>
              <a:gd name="T31" fmla="*/ 352 h 353"/>
              <a:gd name="T32" fmla="*/ 248 w 414"/>
              <a:gd name="T33" fmla="*/ 352 h 353"/>
              <a:gd name="T34" fmla="*/ 255 w 414"/>
              <a:gd name="T35" fmla="*/ 347 h 353"/>
              <a:gd name="T36" fmla="*/ 250 w 414"/>
              <a:gd name="T37" fmla="*/ 337 h 353"/>
              <a:gd name="T38" fmla="*/ 207 w 414"/>
              <a:gd name="T39" fmla="*/ 331 h 353"/>
              <a:gd name="T40" fmla="*/ 207 w 414"/>
              <a:gd name="T41" fmla="*/ 271 h 353"/>
              <a:gd name="T42" fmla="*/ 343 w 414"/>
              <a:gd name="T43" fmla="*/ 112 h 353"/>
              <a:gd name="T44" fmla="*/ 414 w 414"/>
              <a:gd name="T45" fmla="*/ 83 h 353"/>
              <a:gd name="T46" fmla="*/ 344 w 414"/>
              <a:gd name="T47" fmla="*/ 55 h 353"/>
              <a:gd name="T48" fmla="*/ 192 w 414"/>
              <a:gd name="T49" fmla="*/ 332 h 353"/>
              <a:gd name="T50" fmla="*/ 192 w 414"/>
              <a:gd name="T51" fmla="*/ 332 h 353"/>
              <a:gd name="T52" fmla="*/ 191 w 414"/>
              <a:gd name="T53" fmla="*/ 332 h 353"/>
              <a:gd name="T54" fmla="*/ 176 w 414"/>
              <a:gd name="T55" fmla="*/ 331 h 353"/>
              <a:gd name="T56" fmla="*/ 175 w 414"/>
              <a:gd name="T57" fmla="*/ 331 h 353"/>
              <a:gd name="T58" fmla="*/ 175 w 414"/>
              <a:gd name="T59" fmla="*/ 277 h 353"/>
              <a:gd name="T60" fmla="*/ 192 w 414"/>
              <a:gd name="T61" fmla="*/ 275 h 353"/>
              <a:gd name="T62" fmla="*/ 192 w 414"/>
              <a:gd name="T63" fmla="*/ 332 h 353"/>
              <a:gd name="T64" fmla="*/ 286 w 414"/>
              <a:gd name="T65" fmla="*/ 82 h 353"/>
              <a:gd name="T66" fmla="*/ 271 w 414"/>
              <a:gd name="T67" fmla="*/ 67 h 353"/>
              <a:gd name="T68" fmla="*/ 286 w 414"/>
              <a:gd name="T69" fmla="*/ 52 h 353"/>
              <a:gd name="T70" fmla="*/ 301 w 414"/>
              <a:gd name="T71" fmla="*/ 67 h 353"/>
              <a:gd name="T72" fmla="*/ 286 w 414"/>
              <a:gd name="T73" fmla="*/ 82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14" h="353">
                <a:moveTo>
                  <a:pt x="344" y="55"/>
                </a:moveTo>
                <a:cubicBezTo>
                  <a:pt x="336" y="33"/>
                  <a:pt x="319" y="16"/>
                  <a:pt x="296" y="9"/>
                </a:cubicBezTo>
                <a:cubicBezTo>
                  <a:pt x="263" y="0"/>
                  <a:pt x="228" y="11"/>
                  <a:pt x="206" y="45"/>
                </a:cubicBezTo>
                <a:cubicBezTo>
                  <a:pt x="145" y="140"/>
                  <a:pt x="71" y="200"/>
                  <a:pt x="0" y="174"/>
                </a:cubicBezTo>
                <a:cubicBezTo>
                  <a:pt x="0" y="174"/>
                  <a:pt x="50" y="278"/>
                  <a:pt x="158" y="278"/>
                </a:cubicBezTo>
                <a:cubicBezTo>
                  <a:pt x="159" y="278"/>
                  <a:pt x="160" y="278"/>
                  <a:pt x="160" y="278"/>
                </a:cubicBezTo>
                <a:cubicBezTo>
                  <a:pt x="160" y="332"/>
                  <a:pt x="160" y="332"/>
                  <a:pt x="160" y="332"/>
                </a:cubicBezTo>
                <a:cubicBezTo>
                  <a:pt x="150" y="333"/>
                  <a:pt x="140" y="335"/>
                  <a:pt x="133" y="337"/>
                </a:cubicBezTo>
                <a:cubicBezTo>
                  <a:pt x="129" y="339"/>
                  <a:pt x="127" y="343"/>
                  <a:pt x="128" y="347"/>
                </a:cubicBezTo>
                <a:cubicBezTo>
                  <a:pt x="129" y="351"/>
                  <a:pt x="134" y="353"/>
                  <a:pt x="137" y="352"/>
                </a:cubicBezTo>
                <a:cubicBezTo>
                  <a:pt x="137" y="352"/>
                  <a:pt x="137" y="352"/>
                  <a:pt x="137" y="352"/>
                </a:cubicBezTo>
                <a:cubicBezTo>
                  <a:pt x="147" y="348"/>
                  <a:pt x="161" y="346"/>
                  <a:pt x="176" y="346"/>
                </a:cubicBezTo>
                <a:cubicBezTo>
                  <a:pt x="192" y="346"/>
                  <a:pt x="206" y="348"/>
                  <a:pt x="215" y="352"/>
                </a:cubicBezTo>
                <a:cubicBezTo>
                  <a:pt x="216" y="352"/>
                  <a:pt x="217" y="352"/>
                  <a:pt x="218" y="352"/>
                </a:cubicBezTo>
                <a:cubicBezTo>
                  <a:pt x="221" y="352"/>
                  <a:pt x="223" y="350"/>
                  <a:pt x="224" y="347"/>
                </a:cubicBezTo>
                <a:cubicBezTo>
                  <a:pt x="232" y="348"/>
                  <a:pt x="240" y="350"/>
                  <a:pt x="245" y="352"/>
                </a:cubicBezTo>
                <a:cubicBezTo>
                  <a:pt x="246" y="352"/>
                  <a:pt x="247" y="352"/>
                  <a:pt x="248" y="352"/>
                </a:cubicBezTo>
                <a:cubicBezTo>
                  <a:pt x="251" y="352"/>
                  <a:pt x="254" y="350"/>
                  <a:pt x="255" y="347"/>
                </a:cubicBezTo>
                <a:cubicBezTo>
                  <a:pt x="256" y="343"/>
                  <a:pt x="254" y="339"/>
                  <a:pt x="250" y="337"/>
                </a:cubicBezTo>
                <a:cubicBezTo>
                  <a:pt x="239" y="334"/>
                  <a:pt x="224" y="331"/>
                  <a:pt x="207" y="331"/>
                </a:cubicBezTo>
                <a:cubicBezTo>
                  <a:pt x="207" y="271"/>
                  <a:pt x="207" y="271"/>
                  <a:pt x="207" y="271"/>
                </a:cubicBezTo>
                <a:cubicBezTo>
                  <a:pt x="283" y="251"/>
                  <a:pt x="323" y="185"/>
                  <a:pt x="343" y="112"/>
                </a:cubicBezTo>
                <a:cubicBezTo>
                  <a:pt x="414" y="83"/>
                  <a:pt x="414" y="83"/>
                  <a:pt x="414" y="83"/>
                </a:cubicBezTo>
                <a:lnTo>
                  <a:pt x="344" y="55"/>
                </a:lnTo>
                <a:close/>
                <a:moveTo>
                  <a:pt x="192" y="332"/>
                </a:moveTo>
                <a:cubicBezTo>
                  <a:pt x="192" y="332"/>
                  <a:pt x="192" y="332"/>
                  <a:pt x="192" y="332"/>
                </a:cubicBezTo>
                <a:cubicBezTo>
                  <a:pt x="192" y="332"/>
                  <a:pt x="192" y="332"/>
                  <a:pt x="191" y="332"/>
                </a:cubicBezTo>
                <a:cubicBezTo>
                  <a:pt x="187" y="331"/>
                  <a:pt x="181" y="331"/>
                  <a:pt x="176" y="331"/>
                </a:cubicBezTo>
                <a:cubicBezTo>
                  <a:pt x="176" y="331"/>
                  <a:pt x="176" y="331"/>
                  <a:pt x="175" y="331"/>
                </a:cubicBezTo>
                <a:cubicBezTo>
                  <a:pt x="175" y="277"/>
                  <a:pt x="175" y="277"/>
                  <a:pt x="175" y="277"/>
                </a:cubicBezTo>
                <a:cubicBezTo>
                  <a:pt x="181" y="276"/>
                  <a:pt x="187" y="276"/>
                  <a:pt x="192" y="275"/>
                </a:cubicBezTo>
                <a:lnTo>
                  <a:pt x="192" y="332"/>
                </a:lnTo>
                <a:close/>
                <a:moveTo>
                  <a:pt x="286" y="82"/>
                </a:moveTo>
                <a:cubicBezTo>
                  <a:pt x="278" y="82"/>
                  <a:pt x="271" y="75"/>
                  <a:pt x="271" y="67"/>
                </a:cubicBezTo>
                <a:cubicBezTo>
                  <a:pt x="271" y="59"/>
                  <a:pt x="278" y="52"/>
                  <a:pt x="286" y="52"/>
                </a:cubicBezTo>
                <a:cubicBezTo>
                  <a:pt x="294" y="52"/>
                  <a:pt x="301" y="59"/>
                  <a:pt x="301" y="67"/>
                </a:cubicBezTo>
                <a:cubicBezTo>
                  <a:pt x="301" y="75"/>
                  <a:pt x="294" y="82"/>
                  <a:pt x="286" y="82"/>
                </a:cubicBezTo>
                <a:close/>
              </a:path>
            </a:pathLst>
          </a:cu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83940" tIns="41970" rIns="83940" bIns="41970" numCol="1" rtlCol="0" anchor="ctr" anchorCtr="0" compatLnSpc="1"/>
          <a:lstStyle/>
          <a:p>
            <a:pPr defTabSz="755015"/>
            <a:endParaRPr lang="en-US" spc="-124" dirty="0">
              <a:gradFill>
                <a:gsLst>
                  <a:gs pos="5000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Light" pitchFamily="34" charset="0"/>
            </a:endParaRPr>
          </a:p>
        </p:txBody>
      </p:sp>
      <p:pic>
        <p:nvPicPr>
          <p:cNvPr id="159" name="Picture 2" descr="C:\Users\cesardl\Desktop\Boo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0204" y="2662373"/>
            <a:ext cx="1010320" cy="101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0" name="Group 15"/>
          <p:cNvGrpSpPr>
            <a:grpSpLocks noChangeAspect="1"/>
          </p:cNvGrpSpPr>
          <p:nvPr/>
        </p:nvGrpSpPr>
        <p:grpSpPr bwMode="auto">
          <a:xfrm>
            <a:off x="4243823" y="565662"/>
            <a:ext cx="688217" cy="666554"/>
            <a:chOff x="3338" y="2688"/>
            <a:chExt cx="1271" cy="1231"/>
          </a:xfrm>
          <a:solidFill>
            <a:schemeClr val="tx1"/>
          </a:solidFill>
        </p:grpSpPr>
        <p:sp>
          <p:nvSpPr>
            <p:cNvPr id="161" name="Freeform 16"/>
            <p:cNvSpPr>
              <a:spLocks noEditPoints="1"/>
            </p:cNvSpPr>
            <p:nvPr/>
          </p:nvSpPr>
          <p:spPr bwMode="auto">
            <a:xfrm>
              <a:off x="3338" y="2688"/>
              <a:ext cx="1271" cy="1231"/>
            </a:xfrm>
            <a:custGeom>
              <a:avLst/>
              <a:gdLst>
                <a:gd name="T0" fmla="*/ 511 w 538"/>
                <a:gd name="T1" fmla="*/ 164 h 521"/>
                <a:gd name="T2" fmla="*/ 509 w 538"/>
                <a:gd name="T3" fmla="*/ 31 h 521"/>
                <a:gd name="T4" fmla="*/ 322 w 538"/>
                <a:gd name="T5" fmla="*/ 47 h 521"/>
                <a:gd name="T6" fmla="*/ 312 w 538"/>
                <a:gd name="T7" fmla="*/ 46 h 521"/>
                <a:gd name="T8" fmla="*/ 160 w 538"/>
                <a:gd name="T9" fmla="*/ 104 h 521"/>
                <a:gd name="T10" fmla="*/ 89 w 538"/>
                <a:gd name="T11" fmla="*/ 222 h 521"/>
                <a:gd name="T12" fmla="*/ 192 w 538"/>
                <a:gd name="T13" fmla="*/ 132 h 521"/>
                <a:gd name="T14" fmla="*/ 206 w 538"/>
                <a:gd name="T15" fmla="*/ 125 h 521"/>
                <a:gd name="T16" fmla="*/ 176 w 538"/>
                <a:gd name="T17" fmla="*/ 153 h 521"/>
                <a:gd name="T18" fmla="*/ 50 w 538"/>
                <a:gd name="T19" fmla="*/ 488 h 521"/>
                <a:gd name="T20" fmla="*/ 213 w 538"/>
                <a:gd name="T21" fmla="*/ 475 h 521"/>
                <a:gd name="T22" fmla="*/ 312 w 538"/>
                <a:gd name="T23" fmla="*/ 496 h 521"/>
                <a:gd name="T24" fmla="*/ 441 w 538"/>
                <a:gd name="T25" fmla="*/ 458 h 521"/>
                <a:gd name="T26" fmla="*/ 526 w 538"/>
                <a:gd name="T27" fmla="*/ 348 h 521"/>
                <a:gd name="T28" fmla="*/ 403 w 538"/>
                <a:gd name="T29" fmla="*/ 348 h 521"/>
                <a:gd name="T30" fmla="*/ 313 w 538"/>
                <a:gd name="T31" fmla="*/ 399 h 521"/>
                <a:gd name="T32" fmla="*/ 215 w 538"/>
                <a:gd name="T33" fmla="*/ 304 h 521"/>
                <a:gd name="T34" fmla="*/ 215 w 538"/>
                <a:gd name="T35" fmla="*/ 302 h 521"/>
                <a:gd name="T36" fmla="*/ 214 w 538"/>
                <a:gd name="T37" fmla="*/ 299 h 521"/>
                <a:gd name="T38" fmla="*/ 217 w 538"/>
                <a:gd name="T39" fmla="*/ 299 h 521"/>
                <a:gd name="T40" fmla="*/ 535 w 538"/>
                <a:gd name="T41" fmla="*/ 299 h 521"/>
                <a:gd name="T42" fmla="*/ 535 w 538"/>
                <a:gd name="T43" fmla="*/ 294 h 521"/>
                <a:gd name="T44" fmla="*/ 537 w 538"/>
                <a:gd name="T45" fmla="*/ 270 h 521"/>
                <a:gd name="T46" fmla="*/ 511 w 538"/>
                <a:gd name="T47" fmla="*/ 164 h 521"/>
                <a:gd name="T48" fmla="*/ 85 w 538"/>
                <a:gd name="T49" fmla="*/ 479 h 521"/>
                <a:gd name="T50" fmla="*/ 98 w 538"/>
                <a:gd name="T51" fmla="*/ 346 h 521"/>
                <a:gd name="T52" fmla="*/ 166 w 538"/>
                <a:gd name="T53" fmla="*/ 446 h 521"/>
                <a:gd name="T54" fmla="*/ 197 w 538"/>
                <a:gd name="T55" fmla="*/ 467 h 521"/>
                <a:gd name="T56" fmla="*/ 85 w 538"/>
                <a:gd name="T57" fmla="*/ 479 h 521"/>
                <a:gd name="T58" fmla="*/ 204 w 538"/>
                <a:gd name="T59" fmla="*/ 471 h 521"/>
                <a:gd name="T60" fmla="*/ 205 w 538"/>
                <a:gd name="T61" fmla="*/ 472 h 521"/>
                <a:gd name="T62" fmla="*/ 204 w 538"/>
                <a:gd name="T63" fmla="*/ 471 h 521"/>
                <a:gd name="T64" fmla="*/ 409 w 538"/>
                <a:gd name="T65" fmla="*/ 239 h 521"/>
                <a:gd name="T66" fmla="*/ 217 w 538"/>
                <a:gd name="T67" fmla="*/ 239 h 521"/>
                <a:gd name="T68" fmla="*/ 215 w 538"/>
                <a:gd name="T69" fmla="*/ 239 h 521"/>
                <a:gd name="T70" fmla="*/ 215 w 538"/>
                <a:gd name="T71" fmla="*/ 237 h 521"/>
                <a:gd name="T72" fmla="*/ 316 w 538"/>
                <a:gd name="T73" fmla="*/ 146 h 521"/>
                <a:gd name="T74" fmla="*/ 411 w 538"/>
                <a:gd name="T75" fmla="*/ 237 h 521"/>
                <a:gd name="T76" fmla="*/ 411 w 538"/>
                <a:gd name="T77" fmla="*/ 239 h 521"/>
                <a:gd name="T78" fmla="*/ 409 w 538"/>
                <a:gd name="T79" fmla="*/ 239 h 521"/>
                <a:gd name="T80" fmla="*/ 468 w 538"/>
                <a:gd name="T81" fmla="*/ 108 h 521"/>
                <a:gd name="T82" fmla="*/ 392 w 538"/>
                <a:gd name="T83" fmla="*/ 61 h 521"/>
                <a:gd name="T84" fmla="*/ 507 w 538"/>
                <a:gd name="T85" fmla="*/ 57 h 521"/>
                <a:gd name="T86" fmla="*/ 504 w 538"/>
                <a:gd name="T87" fmla="*/ 152 h 521"/>
                <a:gd name="T88" fmla="*/ 504 w 538"/>
                <a:gd name="T89" fmla="*/ 152 h 521"/>
                <a:gd name="T90" fmla="*/ 468 w 538"/>
                <a:gd name="T91" fmla="*/ 108 h 521"/>
                <a:gd name="T92" fmla="*/ 508 w 538"/>
                <a:gd name="T93" fmla="*/ 158 h 521"/>
                <a:gd name="T94" fmla="*/ 508 w 538"/>
                <a:gd name="T95" fmla="*/ 158 h 521"/>
                <a:gd name="T96" fmla="*/ 508 w 538"/>
                <a:gd name="T97" fmla="*/ 158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8" h="521">
                  <a:moveTo>
                    <a:pt x="511" y="164"/>
                  </a:moveTo>
                  <a:cubicBezTo>
                    <a:pt x="536" y="107"/>
                    <a:pt x="538" y="60"/>
                    <a:pt x="509" y="31"/>
                  </a:cubicBezTo>
                  <a:cubicBezTo>
                    <a:pt x="478" y="0"/>
                    <a:pt x="402" y="9"/>
                    <a:pt x="322" y="47"/>
                  </a:cubicBezTo>
                  <a:cubicBezTo>
                    <a:pt x="319" y="47"/>
                    <a:pt x="315" y="46"/>
                    <a:pt x="312" y="46"/>
                  </a:cubicBezTo>
                  <a:cubicBezTo>
                    <a:pt x="256" y="46"/>
                    <a:pt x="201" y="67"/>
                    <a:pt x="160" y="104"/>
                  </a:cubicBezTo>
                  <a:cubicBezTo>
                    <a:pt x="125" y="135"/>
                    <a:pt x="100" y="176"/>
                    <a:pt x="89" y="222"/>
                  </a:cubicBezTo>
                  <a:cubicBezTo>
                    <a:pt x="97" y="212"/>
                    <a:pt x="142" y="160"/>
                    <a:pt x="192" y="132"/>
                  </a:cubicBezTo>
                  <a:cubicBezTo>
                    <a:pt x="193" y="132"/>
                    <a:pt x="205" y="125"/>
                    <a:pt x="206" y="125"/>
                  </a:cubicBezTo>
                  <a:cubicBezTo>
                    <a:pt x="206" y="125"/>
                    <a:pt x="181" y="148"/>
                    <a:pt x="176" y="153"/>
                  </a:cubicBezTo>
                  <a:cubicBezTo>
                    <a:pt x="65" y="265"/>
                    <a:pt x="0" y="437"/>
                    <a:pt x="50" y="488"/>
                  </a:cubicBezTo>
                  <a:cubicBezTo>
                    <a:pt x="83" y="521"/>
                    <a:pt x="143" y="513"/>
                    <a:pt x="213" y="475"/>
                  </a:cubicBezTo>
                  <a:cubicBezTo>
                    <a:pt x="243" y="489"/>
                    <a:pt x="276" y="496"/>
                    <a:pt x="312" y="496"/>
                  </a:cubicBezTo>
                  <a:cubicBezTo>
                    <a:pt x="359" y="496"/>
                    <a:pt x="404" y="483"/>
                    <a:pt x="441" y="458"/>
                  </a:cubicBezTo>
                  <a:cubicBezTo>
                    <a:pt x="480" y="433"/>
                    <a:pt x="509" y="394"/>
                    <a:pt x="526" y="348"/>
                  </a:cubicBezTo>
                  <a:cubicBezTo>
                    <a:pt x="403" y="348"/>
                    <a:pt x="403" y="348"/>
                    <a:pt x="403" y="348"/>
                  </a:cubicBezTo>
                  <a:cubicBezTo>
                    <a:pt x="388" y="378"/>
                    <a:pt x="351" y="399"/>
                    <a:pt x="313" y="399"/>
                  </a:cubicBezTo>
                  <a:cubicBezTo>
                    <a:pt x="260" y="399"/>
                    <a:pt x="215" y="355"/>
                    <a:pt x="215" y="304"/>
                  </a:cubicBezTo>
                  <a:cubicBezTo>
                    <a:pt x="215" y="302"/>
                    <a:pt x="215" y="302"/>
                    <a:pt x="215" y="302"/>
                  </a:cubicBezTo>
                  <a:cubicBezTo>
                    <a:pt x="214" y="299"/>
                    <a:pt x="214" y="299"/>
                    <a:pt x="214" y="299"/>
                  </a:cubicBezTo>
                  <a:cubicBezTo>
                    <a:pt x="217" y="299"/>
                    <a:pt x="217" y="299"/>
                    <a:pt x="217" y="299"/>
                  </a:cubicBezTo>
                  <a:cubicBezTo>
                    <a:pt x="535" y="299"/>
                    <a:pt x="535" y="299"/>
                    <a:pt x="535" y="299"/>
                  </a:cubicBezTo>
                  <a:cubicBezTo>
                    <a:pt x="535" y="298"/>
                    <a:pt x="535" y="296"/>
                    <a:pt x="535" y="294"/>
                  </a:cubicBezTo>
                  <a:cubicBezTo>
                    <a:pt x="536" y="286"/>
                    <a:pt x="537" y="277"/>
                    <a:pt x="537" y="270"/>
                  </a:cubicBezTo>
                  <a:cubicBezTo>
                    <a:pt x="537" y="232"/>
                    <a:pt x="528" y="196"/>
                    <a:pt x="511" y="164"/>
                  </a:cubicBezTo>
                  <a:close/>
                  <a:moveTo>
                    <a:pt x="85" y="479"/>
                  </a:moveTo>
                  <a:cubicBezTo>
                    <a:pt x="60" y="454"/>
                    <a:pt x="67" y="405"/>
                    <a:pt x="98" y="346"/>
                  </a:cubicBezTo>
                  <a:cubicBezTo>
                    <a:pt x="113" y="386"/>
                    <a:pt x="136" y="420"/>
                    <a:pt x="166" y="446"/>
                  </a:cubicBezTo>
                  <a:cubicBezTo>
                    <a:pt x="176" y="454"/>
                    <a:pt x="186" y="461"/>
                    <a:pt x="197" y="467"/>
                  </a:cubicBezTo>
                  <a:cubicBezTo>
                    <a:pt x="147" y="494"/>
                    <a:pt x="106" y="500"/>
                    <a:pt x="85" y="479"/>
                  </a:cubicBezTo>
                  <a:close/>
                  <a:moveTo>
                    <a:pt x="204" y="471"/>
                  </a:moveTo>
                  <a:cubicBezTo>
                    <a:pt x="204" y="471"/>
                    <a:pt x="205" y="471"/>
                    <a:pt x="205" y="472"/>
                  </a:cubicBezTo>
                  <a:cubicBezTo>
                    <a:pt x="205" y="471"/>
                    <a:pt x="204" y="471"/>
                    <a:pt x="204" y="471"/>
                  </a:cubicBezTo>
                  <a:close/>
                  <a:moveTo>
                    <a:pt x="409" y="239"/>
                  </a:moveTo>
                  <a:cubicBezTo>
                    <a:pt x="217" y="239"/>
                    <a:pt x="217" y="239"/>
                    <a:pt x="217" y="239"/>
                  </a:cubicBezTo>
                  <a:cubicBezTo>
                    <a:pt x="215" y="239"/>
                    <a:pt x="215" y="239"/>
                    <a:pt x="215" y="239"/>
                  </a:cubicBezTo>
                  <a:cubicBezTo>
                    <a:pt x="215" y="237"/>
                    <a:pt x="215" y="237"/>
                    <a:pt x="215" y="237"/>
                  </a:cubicBezTo>
                  <a:cubicBezTo>
                    <a:pt x="217" y="188"/>
                    <a:pt x="264" y="146"/>
                    <a:pt x="316" y="146"/>
                  </a:cubicBezTo>
                  <a:cubicBezTo>
                    <a:pt x="367" y="146"/>
                    <a:pt x="408" y="186"/>
                    <a:pt x="411" y="237"/>
                  </a:cubicBezTo>
                  <a:cubicBezTo>
                    <a:pt x="411" y="239"/>
                    <a:pt x="411" y="239"/>
                    <a:pt x="411" y="239"/>
                  </a:cubicBezTo>
                  <a:lnTo>
                    <a:pt x="409" y="239"/>
                  </a:lnTo>
                  <a:close/>
                  <a:moveTo>
                    <a:pt x="468" y="108"/>
                  </a:moveTo>
                  <a:cubicBezTo>
                    <a:pt x="446" y="87"/>
                    <a:pt x="420" y="72"/>
                    <a:pt x="392" y="61"/>
                  </a:cubicBezTo>
                  <a:cubicBezTo>
                    <a:pt x="443" y="38"/>
                    <a:pt x="485" y="35"/>
                    <a:pt x="507" y="57"/>
                  </a:cubicBezTo>
                  <a:cubicBezTo>
                    <a:pt x="525" y="75"/>
                    <a:pt x="523" y="109"/>
                    <a:pt x="504" y="152"/>
                  </a:cubicBezTo>
                  <a:cubicBezTo>
                    <a:pt x="504" y="152"/>
                    <a:pt x="504" y="152"/>
                    <a:pt x="504" y="152"/>
                  </a:cubicBezTo>
                  <a:cubicBezTo>
                    <a:pt x="494" y="136"/>
                    <a:pt x="482" y="121"/>
                    <a:pt x="468" y="108"/>
                  </a:cubicBezTo>
                  <a:close/>
                  <a:moveTo>
                    <a:pt x="508" y="158"/>
                  </a:moveTo>
                  <a:cubicBezTo>
                    <a:pt x="508" y="158"/>
                    <a:pt x="508" y="158"/>
                    <a:pt x="508" y="158"/>
                  </a:cubicBezTo>
                  <a:cubicBezTo>
                    <a:pt x="508" y="158"/>
                    <a:pt x="508" y="158"/>
                    <a:pt x="508" y="1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pPr defTabSz="685165"/>
              <a:endParaRPr lang="en-US" sz="1300">
                <a:solidFill>
                  <a:srgbClr val="000000"/>
                </a:solidFill>
                <a:latin typeface="Segoe UI" panose="020B0502040204020203"/>
              </a:endParaRPr>
            </a:p>
          </p:txBody>
        </p:sp>
        <p:sp>
          <p:nvSpPr>
            <p:cNvPr id="162" name="Freeform 17"/>
            <p:cNvSpPr>
              <a:spLocks noEditPoints="1"/>
            </p:cNvSpPr>
            <p:nvPr/>
          </p:nvSpPr>
          <p:spPr bwMode="auto">
            <a:xfrm>
              <a:off x="4401" y="3791"/>
              <a:ext cx="69" cy="69"/>
            </a:xfrm>
            <a:custGeom>
              <a:avLst/>
              <a:gdLst>
                <a:gd name="T0" fmla="*/ 29 w 29"/>
                <a:gd name="T1" fmla="*/ 15 h 29"/>
                <a:gd name="T2" fmla="*/ 25 w 29"/>
                <a:gd name="T3" fmla="*/ 25 h 29"/>
                <a:gd name="T4" fmla="*/ 15 w 29"/>
                <a:gd name="T5" fmla="*/ 29 h 29"/>
                <a:gd name="T6" fmla="*/ 4 w 29"/>
                <a:gd name="T7" fmla="*/ 25 h 29"/>
                <a:gd name="T8" fmla="*/ 0 w 29"/>
                <a:gd name="T9" fmla="*/ 15 h 29"/>
                <a:gd name="T10" fmla="*/ 4 w 29"/>
                <a:gd name="T11" fmla="*/ 5 h 29"/>
                <a:gd name="T12" fmla="*/ 15 w 29"/>
                <a:gd name="T13" fmla="*/ 0 h 29"/>
                <a:gd name="T14" fmla="*/ 25 w 29"/>
                <a:gd name="T15" fmla="*/ 4 h 29"/>
                <a:gd name="T16" fmla="*/ 29 w 29"/>
                <a:gd name="T17" fmla="*/ 15 h 29"/>
                <a:gd name="T18" fmla="*/ 27 w 29"/>
                <a:gd name="T19" fmla="*/ 15 h 29"/>
                <a:gd name="T20" fmla="*/ 24 w 29"/>
                <a:gd name="T21" fmla="*/ 6 h 29"/>
                <a:gd name="T22" fmla="*/ 15 w 29"/>
                <a:gd name="T23" fmla="*/ 2 h 29"/>
                <a:gd name="T24" fmla="*/ 5 w 29"/>
                <a:gd name="T25" fmla="*/ 6 h 29"/>
                <a:gd name="T26" fmla="*/ 2 w 29"/>
                <a:gd name="T27" fmla="*/ 15 h 29"/>
                <a:gd name="T28" fmla="*/ 5 w 29"/>
                <a:gd name="T29" fmla="*/ 24 h 29"/>
                <a:gd name="T30" fmla="*/ 15 w 29"/>
                <a:gd name="T31" fmla="*/ 28 h 29"/>
                <a:gd name="T32" fmla="*/ 24 w 29"/>
                <a:gd name="T33" fmla="*/ 24 h 29"/>
                <a:gd name="T34" fmla="*/ 27 w 29"/>
                <a:gd name="T35" fmla="*/ 15 h 29"/>
                <a:gd name="T36" fmla="*/ 22 w 29"/>
                <a:gd name="T37" fmla="*/ 24 h 29"/>
                <a:gd name="T38" fmla="*/ 19 w 29"/>
                <a:gd name="T39" fmla="*/ 24 h 29"/>
                <a:gd name="T40" fmla="*/ 16 w 29"/>
                <a:gd name="T41" fmla="*/ 19 h 29"/>
                <a:gd name="T42" fmla="*/ 13 w 29"/>
                <a:gd name="T43" fmla="*/ 16 h 29"/>
                <a:gd name="T44" fmla="*/ 11 w 29"/>
                <a:gd name="T45" fmla="*/ 16 h 29"/>
                <a:gd name="T46" fmla="*/ 11 w 29"/>
                <a:gd name="T47" fmla="*/ 24 h 29"/>
                <a:gd name="T48" fmla="*/ 9 w 29"/>
                <a:gd name="T49" fmla="*/ 24 h 29"/>
                <a:gd name="T50" fmla="*/ 9 w 29"/>
                <a:gd name="T51" fmla="*/ 5 h 29"/>
                <a:gd name="T52" fmla="*/ 14 w 29"/>
                <a:gd name="T53" fmla="*/ 5 h 29"/>
                <a:gd name="T54" fmla="*/ 19 w 29"/>
                <a:gd name="T55" fmla="*/ 7 h 29"/>
                <a:gd name="T56" fmla="*/ 21 w 29"/>
                <a:gd name="T57" fmla="*/ 10 h 29"/>
                <a:gd name="T58" fmla="*/ 20 w 29"/>
                <a:gd name="T59" fmla="*/ 14 h 29"/>
                <a:gd name="T60" fmla="*/ 16 w 29"/>
                <a:gd name="T61" fmla="*/ 15 h 29"/>
                <a:gd name="T62" fmla="*/ 16 w 29"/>
                <a:gd name="T63" fmla="*/ 16 h 29"/>
                <a:gd name="T64" fmla="*/ 19 w 29"/>
                <a:gd name="T65" fmla="*/ 19 h 29"/>
                <a:gd name="T66" fmla="*/ 22 w 29"/>
                <a:gd name="T67" fmla="*/ 24 h 29"/>
                <a:gd name="T68" fmla="*/ 18 w 29"/>
                <a:gd name="T69" fmla="*/ 11 h 29"/>
                <a:gd name="T70" fmla="*/ 17 w 29"/>
                <a:gd name="T71" fmla="*/ 8 h 29"/>
                <a:gd name="T72" fmla="*/ 14 w 29"/>
                <a:gd name="T73" fmla="*/ 8 h 29"/>
                <a:gd name="T74" fmla="*/ 11 w 29"/>
                <a:gd name="T75" fmla="*/ 8 h 29"/>
                <a:gd name="T76" fmla="*/ 11 w 29"/>
                <a:gd name="T77" fmla="*/ 14 h 29"/>
                <a:gd name="T78" fmla="*/ 14 w 29"/>
                <a:gd name="T79" fmla="*/ 14 h 29"/>
                <a:gd name="T80" fmla="*/ 18 w 29"/>
                <a:gd name="T81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" h="29">
                  <a:moveTo>
                    <a:pt x="29" y="15"/>
                  </a:moveTo>
                  <a:cubicBezTo>
                    <a:pt x="29" y="19"/>
                    <a:pt x="28" y="22"/>
                    <a:pt x="25" y="25"/>
                  </a:cubicBezTo>
                  <a:cubicBezTo>
                    <a:pt x="22" y="28"/>
                    <a:pt x="19" y="29"/>
                    <a:pt x="15" y="29"/>
                  </a:cubicBezTo>
                  <a:cubicBezTo>
                    <a:pt x="10" y="29"/>
                    <a:pt x="7" y="28"/>
                    <a:pt x="4" y="25"/>
                  </a:cubicBezTo>
                  <a:cubicBezTo>
                    <a:pt x="1" y="22"/>
                    <a:pt x="0" y="19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7" y="2"/>
                    <a:pt x="10" y="0"/>
                    <a:pt x="15" y="0"/>
                  </a:cubicBezTo>
                  <a:cubicBezTo>
                    <a:pt x="19" y="0"/>
                    <a:pt x="22" y="2"/>
                    <a:pt x="25" y="4"/>
                  </a:cubicBezTo>
                  <a:cubicBezTo>
                    <a:pt x="28" y="7"/>
                    <a:pt x="29" y="11"/>
                    <a:pt x="29" y="15"/>
                  </a:cubicBezTo>
                  <a:close/>
                  <a:moveTo>
                    <a:pt x="27" y="15"/>
                  </a:moveTo>
                  <a:cubicBezTo>
                    <a:pt x="27" y="11"/>
                    <a:pt x="26" y="8"/>
                    <a:pt x="24" y="6"/>
                  </a:cubicBezTo>
                  <a:cubicBezTo>
                    <a:pt x="21" y="3"/>
                    <a:pt x="18" y="2"/>
                    <a:pt x="15" y="2"/>
                  </a:cubicBezTo>
                  <a:cubicBezTo>
                    <a:pt x="11" y="2"/>
                    <a:pt x="8" y="3"/>
                    <a:pt x="5" y="6"/>
                  </a:cubicBezTo>
                  <a:cubicBezTo>
                    <a:pt x="3" y="8"/>
                    <a:pt x="2" y="11"/>
                    <a:pt x="2" y="15"/>
                  </a:cubicBezTo>
                  <a:cubicBezTo>
                    <a:pt x="2" y="19"/>
                    <a:pt x="3" y="22"/>
                    <a:pt x="5" y="24"/>
                  </a:cubicBezTo>
                  <a:cubicBezTo>
                    <a:pt x="8" y="27"/>
                    <a:pt x="11" y="28"/>
                    <a:pt x="15" y="28"/>
                  </a:cubicBezTo>
                  <a:cubicBezTo>
                    <a:pt x="18" y="28"/>
                    <a:pt x="21" y="27"/>
                    <a:pt x="24" y="24"/>
                  </a:cubicBezTo>
                  <a:cubicBezTo>
                    <a:pt x="26" y="22"/>
                    <a:pt x="27" y="18"/>
                    <a:pt x="27" y="15"/>
                  </a:cubicBezTo>
                  <a:close/>
                  <a:moveTo>
                    <a:pt x="22" y="24"/>
                  </a:moveTo>
                  <a:cubicBezTo>
                    <a:pt x="19" y="24"/>
                    <a:pt x="19" y="24"/>
                    <a:pt x="19" y="2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7"/>
                    <a:pt x="14" y="16"/>
                    <a:pt x="13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6" y="5"/>
                    <a:pt x="18" y="6"/>
                    <a:pt x="19" y="7"/>
                  </a:cubicBezTo>
                  <a:cubicBezTo>
                    <a:pt x="20" y="8"/>
                    <a:pt x="21" y="9"/>
                    <a:pt x="21" y="10"/>
                  </a:cubicBezTo>
                  <a:cubicBezTo>
                    <a:pt x="21" y="12"/>
                    <a:pt x="20" y="13"/>
                    <a:pt x="20" y="14"/>
                  </a:cubicBezTo>
                  <a:cubicBezTo>
                    <a:pt x="19" y="15"/>
                    <a:pt x="18" y="15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8" y="17"/>
                    <a:pt x="19" y="19"/>
                  </a:cubicBezTo>
                  <a:lnTo>
                    <a:pt x="22" y="24"/>
                  </a:lnTo>
                  <a:close/>
                  <a:moveTo>
                    <a:pt x="18" y="11"/>
                  </a:moveTo>
                  <a:cubicBezTo>
                    <a:pt x="18" y="10"/>
                    <a:pt x="18" y="9"/>
                    <a:pt x="17" y="8"/>
                  </a:cubicBezTo>
                  <a:cubicBezTo>
                    <a:pt x="17" y="8"/>
                    <a:pt x="15" y="8"/>
                    <a:pt x="14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7" y="14"/>
                    <a:pt x="18" y="13"/>
                    <a:pt x="18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/>
            <a:lstStyle/>
            <a:p>
              <a:pPr defTabSz="685165"/>
              <a:endParaRPr lang="en-US" sz="1300">
                <a:solidFill>
                  <a:srgbClr val="000000"/>
                </a:solidFill>
                <a:latin typeface="Segoe UI" panose="020B0502040204020203"/>
              </a:endParaRPr>
            </a:p>
          </p:txBody>
        </p:sp>
      </p:grpSp>
      <p:sp>
        <p:nvSpPr>
          <p:cNvPr id="163" name="Freeform 5"/>
          <p:cNvSpPr>
            <a:spLocks noChangeAspect="1" noEditPoints="1"/>
          </p:cNvSpPr>
          <p:nvPr/>
        </p:nvSpPr>
        <p:spPr bwMode="auto">
          <a:xfrm>
            <a:off x="6831390" y="2852035"/>
            <a:ext cx="603921" cy="723294"/>
          </a:xfrm>
          <a:custGeom>
            <a:avLst/>
            <a:gdLst>
              <a:gd name="T0" fmla="*/ 32 w 432"/>
              <a:gd name="T1" fmla="*/ 420 h 508"/>
              <a:gd name="T2" fmla="*/ 258 w 432"/>
              <a:gd name="T3" fmla="*/ 420 h 508"/>
              <a:gd name="T4" fmla="*/ 258 w 432"/>
              <a:gd name="T5" fmla="*/ 452 h 508"/>
              <a:gd name="T6" fmla="*/ 0 w 432"/>
              <a:gd name="T7" fmla="*/ 452 h 508"/>
              <a:gd name="T8" fmla="*/ 0 w 432"/>
              <a:gd name="T9" fmla="*/ 120 h 508"/>
              <a:gd name="T10" fmla="*/ 120 w 432"/>
              <a:gd name="T11" fmla="*/ 0 h 508"/>
              <a:gd name="T12" fmla="*/ 352 w 432"/>
              <a:gd name="T13" fmla="*/ 0 h 508"/>
              <a:gd name="T14" fmla="*/ 352 w 432"/>
              <a:gd name="T15" fmla="*/ 150 h 508"/>
              <a:gd name="T16" fmla="*/ 320 w 432"/>
              <a:gd name="T17" fmla="*/ 150 h 508"/>
              <a:gd name="T18" fmla="*/ 320 w 432"/>
              <a:gd name="T19" fmla="*/ 32 h 508"/>
              <a:gd name="T20" fmla="*/ 136 w 432"/>
              <a:gd name="T21" fmla="*/ 32 h 508"/>
              <a:gd name="T22" fmla="*/ 136 w 432"/>
              <a:gd name="T23" fmla="*/ 136 h 508"/>
              <a:gd name="T24" fmla="*/ 32 w 432"/>
              <a:gd name="T25" fmla="*/ 136 h 508"/>
              <a:gd name="T26" fmla="*/ 32 w 432"/>
              <a:gd name="T27" fmla="*/ 420 h 508"/>
              <a:gd name="T28" fmla="*/ 303 w 432"/>
              <a:gd name="T29" fmla="*/ 236 h 508"/>
              <a:gd name="T30" fmla="*/ 303 w 432"/>
              <a:gd name="T31" fmla="*/ 236 h 508"/>
              <a:gd name="T32" fmla="*/ 284 w 432"/>
              <a:gd name="T33" fmla="*/ 265 h 508"/>
              <a:gd name="T34" fmla="*/ 284 w 432"/>
              <a:gd name="T35" fmla="*/ 265 h 508"/>
              <a:gd name="T36" fmla="*/ 272 w 432"/>
              <a:gd name="T37" fmla="*/ 277 h 508"/>
              <a:gd name="T38" fmla="*/ 259 w 432"/>
              <a:gd name="T39" fmla="*/ 265 h 508"/>
              <a:gd name="T40" fmla="*/ 259 w 432"/>
              <a:gd name="T41" fmla="*/ 263 h 508"/>
              <a:gd name="T42" fmla="*/ 296 w 432"/>
              <a:gd name="T43" fmla="*/ 213 h 508"/>
              <a:gd name="T44" fmla="*/ 298 w 432"/>
              <a:gd name="T45" fmla="*/ 212 h 508"/>
              <a:gd name="T46" fmla="*/ 311 w 432"/>
              <a:gd name="T47" fmla="*/ 225 h 508"/>
              <a:gd name="T48" fmla="*/ 303 w 432"/>
              <a:gd name="T49" fmla="*/ 236 h 508"/>
              <a:gd name="T50" fmla="*/ 330 w 432"/>
              <a:gd name="T51" fmla="*/ 180 h 508"/>
              <a:gd name="T52" fmla="*/ 329 w 432"/>
              <a:gd name="T53" fmla="*/ 180 h 508"/>
              <a:gd name="T54" fmla="*/ 229 w 432"/>
              <a:gd name="T55" fmla="*/ 275 h 508"/>
              <a:gd name="T56" fmla="*/ 265 w 432"/>
              <a:gd name="T57" fmla="*/ 353 h 508"/>
              <a:gd name="T58" fmla="*/ 273 w 432"/>
              <a:gd name="T59" fmla="*/ 371 h 508"/>
              <a:gd name="T60" fmla="*/ 276 w 432"/>
              <a:gd name="T61" fmla="*/ 390 h 508"/>
              <a:gd name="T62" fmla="*/ 289 w 432"/>
              <a:gd name="T63" fmla="*/ 419 h 508"/>
              <a:gd name="T64" fmla="*/ 374 w 432"/>
              <a:gd name="T65" fmla="*/ 419 h 508"/>
              <a:gd name="T66" fmla="*/ 386 w 432"/>
              <a:gd name="T67" fmla="*/ 390 h 508"/>
              <a:gd name="T68" fmla="*/ 397 w 432"/>
              <a:gd name="T69" fmla="*/ 353 h 508"/>
              <a:gd name="T70" fmla="*/ 415 w 432"/>
              <a:gd name="T71" fmla="*/ 322 h 508"/>
              <a:gd name="T72" fmla="*/ 432 w 432"/>
              <a:gd name="T73" fmla="*/ 275 h 508"/>
              <a:gd name="T74" fmla="*/ 330 w 432"/>
              <a:gd name="T75" fmla="*/ 180 h 508"/>
              <a:gd name="T76" fmla="*/ 311 w 432"/>
              <a:gd name="T77" fmla="*/ 499 h 508"/>
              <a:gd name="T78" fmla="*/ 324 w 432"/>
              <a:gd name="T79" fmla="*/ 508 h 508"/>
              <a:gd name="T80" fmla="*/ 342 w 432"/>
              <a:gd name="T81" fmla="*/ 508 h 508"/>
              <a:gd name="T82" fmla="*/ 354 w 432"/>
              <a:gd name="T83" fmla="*/ 499 h 508"/>
              <a:gd name="T84" fmla="*/ 311 w 432"/>
              <a:gd name="T85" fmla="*/ 499 h 508"/>
              <a:gd name="T86" fmla="*/ 364 w 432"/>
              <a:gd name="T87" fmla="*/ 465 h 508"/>
              <a:gd name="T88" fmla="*/ 300 w 432"/>
              <a:gd name="T89" fmla="*/ 465 h 508"/>
              <a:gd name="T90" fmla="*/ 287 w 432"/>
              <a:gd name="T91" fmla="*/ 476 h 508"/>
              <a:gd name="T92" fmla="*/ 301 w 432"/>
              <a:gd name="T93" fmla="*/ 488 h 508"/>
              <a:gd name="T94" fmla="*/ 364 w 432"/>
              <a:gd name="T95" fmla="*/ 488 h 508"/>
              <a:gd name="T96" fmla="*/ 378 w 432"/>
              <a:gd name="T97" fmla="*/ 476 h 508"/>
              <a:gd name="T98" fmla="*/ 364 w 432"/>
              <a:gd name="T99" fmla="*/ 465 h 508"/>
              <a:gd name="T100" fmla="*/ 364 w 432"/>
              <a:gd name="T101" fmla="*/ 430 h 508"/>
              <a:gd name="T102" fmla="*/ 300 w 432"/>
              <a:gd name="T103" fmla="*/ 430 h 508"/>
              <a:gd name="T104" fmla="*/ 287 w 432"/>
              <a:gd name="T105" fmla="*/ 442 h 508"/>
              <a:gd name="T106" fmla="*/ 301 w 432"/>
              <a:gd name="T107" fmla="*/ 453 h 508"/>
              <a:gd name="T108" fmla="*/ 364 w 432"/>
              <a:gd name="T109" fmla="*/ 453 h 508"/>
              <a:gd name="T110" fmla="*/ 378 w 432"/>
              <a:gd name="T111" fmla="*/ 442 h 508"/>
              <a:gd name="T112" fmla="*/ 364 w 432"/>
              <a:gd name="T113" fmla="*/ 43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2" h="508">
                <a:moveTo>
                  <a:pt x="32" y="420"/>
                </a:moveTo>
                <a:cubicBezTo>
                  <a:pt x="258" y="420"/>
                  <a:pt x="258" y="420"/>
                  <a:pt x="258" y="420"/>
                </a:cubicBezTo>
                <a:cubicBezTo>
                  <a:pt x="258" y="452"/>
                  <a:pt x="258" y="452"/>
                  <a:pt x="258" y="452"/>
                </a:cubicBezTo>
                <a:cubicBezTo>
                  <a:pt x="0" y="452"/>
                  <a:pt x="0" y="452"/>
                  <a:pt x="0" y="452"/>
                </a:cubicBezTo>
                <a:cubicBezTo>
                  <a:pt x="0" y="120"/>
                  <a:pt x="0" y="120"/>
                  <a:pt x="0" y="120"/>
                </a:cubicBezTo>
                <a:cubicBezTo>
                  <a:pt x="120" y="0"/>
                  <a:pt x="120" y="0"/>
                  <a:pt x="120" y="0"/>
                </a:cubicBezTo>
                <a:cubicBezTo>
                  <a:pt x="352" y="0"/>
                  <a:pt x="352" y="0"/>
                  <a:pt x="352" y="0"/>
                </a:cubicBezTo>
                <a:cubicBezTo>
                  <a:pt x="352" y="150"/>
                  <a:pt x="352" y="150"/>
                  <a:pt x="352" y="150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0" y="32"/>
                  <a:pt x="320" y="32"/>
                  <a:pt x="320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136"/>
                  <a:pt x="136" y="136"/>
                  <a:pt x="136" y="136"/>
                </a:cubicBezTo>
                <a:cubicBezTo>
                  <a:pt x="32" y="136"/>
                  <a:pt x="32" y="136"/>
                  <a:pt x="32" y="136"/>
                </a:cubicBezTo>
                <a:lnTo>
                  <a:pt x="32" y="420"/>
                </a:lnTo>
                <a:close/>
                <a:moveTo>
                  <a:pt x="303" y="236"/>
                </a:moveTo>
                <a:cubicBezTo>
                  <a:pt x="303" y="236"/>
                  <a:pt x="303" y="236"/>
                  <a:pt x="303" y="236"/>
                </a:cubicBezTo>
                <a:cubicBezTo>
                  <a:pt x="290" y="240"/>
                  <a:pt x="285" y="254"/>
                  <a:pt x="284" y="265"/>
                </a:cubicBezTo>
                <a:cubicBezTo>
                  <a:pt x="284" y="265"/>
                  <a:pt x="284" y="265"/>
                  <a:pt x="284" y="265"/>
                </a:cubicBezTo>
                <a:cubicBezTo>
                  <a:pt x="284" y="272"/>
                  <a:pt x="278" y="277"/>
                  <a:pt x="272" y="277"/>
                </a:cubicBezTo>
                <a:cubicBezTo>
                  <a:pt x="265" y="277"/>
                  <a:pt x="259" y="272"/>
                  <a:pt x="259" y="265"/>
                </a:cubicBezTo>
                <a:cubicBezTo>
                  <a:pt x="259" y="264"/>
                  <a:pt x="259" y="263"/>
                  <a:pt x="259" y="263"/>
                </a:cubicBezTo>
                <a:cubicBezTo>
                  <a:pt x="261" y="238"/>
                  <a:pt x="275" y="218"/>
                  <a:pt x="296" y="213"/>
                </a:cubicBezTo>
                <a:cubicBezTo>
                  <a:pt x="296" y="213"/>
                  <a:pt x="297" y="212"/>
                  <a:pt x="298" y="212"/>
                </a:cubicBezTo>
                <a:cubicBezTo>
                  <a:pt x="305" y="212"/>
                  <a:pt x="311" y="218"/>
                  <a:pt x="311" y="225"/>
                </a:cubicBezTo>
                <a:cubicBezTo>
                  <a:pt x="311" y="230"/>
                  <a:pt x="307" y="235"/>
                  <a:pt x="303" y="236"/>
                </a:cubicBezTo>
                <a:close/>
                <a:moveTo>
                  <a:pt x="330" y="180"/>
                </a:moveTo>
                <a:cubicBezTo>
                  <a:pt x="330" y="180"/>
                  <a:pt x="330" y="180"/>
                  <a:pt x="329" y="180"/>
                </a:cubicBezTo>
                <a:cubicBezTo>
                  <a:pt x="274" y="180"/>
                  <a:pt x="229" y="222"/>
                  <a:pt x="229" y="275"/>
                </a:cubicBezTo>
                <a:cubicBezTo>
                  <a:pt x="229" y="305"/>
                  <a:pt x="253" y="326"/>
                  <a:pt x="265" y="353"/>
                </a:cubicBezTo>
                <a:cubicBezTo>
                  <a:pt x="269" y="360"/>
                  <a:pt x="271" y="365"/>
                  <a:pt x="273" y="371"/>
                </a:cubicBezTo>
                <a:cubicBezTo>
                  <a:pt x="275" y="378"/>
                  <a:pt x="275" y="384"/>
                  <a:pt x="276" y="390"/>
                </a:cubicBezTo>
                <a:cubicBezTo>
                  <a:pt x="278" y="401"/>
                  <a:pt x="280" y="411"/>
                  <a:pt x="289" y="419"/>
                </a:cubicBezTo>
                <a:cubicBezTo>
                  <a:pt x="289" y="419"/>
                  <a:pt x="374" y="419"/>
                  <a:pt x="374" y="419"/>
                </a:cubicBezTo>
                <a:cubicBezTo>
                  <a:pt x="384" y="412"/>
                  <a:pt x="385" y="401"/>
                  <a:pt x="386" y="390"/>
                </a:cubicBezTo>
                <a:cubicBezTo>
                  <a:pt x="388" y="379"/>
                  <a:pt x="389" y="368"/>
                  <a:pt x="397" y="353"/>
                </a:cubicBezTo>
                <a:cubicBezTo>
                  <a:pt x="402" y="342"/>
                  <a:pt x="409" y="332"/>
                  <a:pt x="415" y="322"/>
                </a:cubicBezTo>
                <a:cubicBezTo>
                  <a:pt x="424" y="308"/>
                  <a:pt x="432" y="293"/>
                  <a:pt x="432" y="275"/>
                </a:cubicBezTo>
                <a:cubicBezTo>
                  <a:pt x="432" y="222"/>
                  <a:pt x="386" y="180"/>
                  <a:pt x="330" y="180"/>
                </a:cubicBezTo>
                <a:close/>
                <a:moveTo>
                  <a:pt x="311" y="499"/>
                </a:moveTo>
                <a:cubicBezTo>
                  <a:pt x="311" y="499"/>
                  <a:pt x="313" y="508"/>
                  <a:pt x="324" y="508"/>
                </a:cubicBezTo>
                <a:cubicBezTo>
                  <a:pt x="342" y="508"/>
                  <a:pt x="342" y="508"/>
                  <a:pt x="342" y="508"/>
                </a:cubicBezTo>
                <a:cubicBezTo>
                  <a:pt x="352" y="508"/>
                  <a:pt x="354" y="499"/>
                  <a:pt x="354" y="499"/>
                </a:cubicBezTo>
                <a:lnTo>
                  <a:pt x="311" y="499"/>
                </a:lnTo>
                <a:close/>
                <a:moveTo>
                  <a:pt x="364" y="465"/>
                </a:moveTo>
                <a:cubicBezTo>
                  <a:pt x="300" y="465"/>
                  <a:pt x="300" y="465"/>
                  <a:pt x="300" y="465"/>
                </a:cubicBezTo>
                <a:cubicBezTo>
                  <a:pt x="293" y="465"/>
                  <a:pt x="287" y="470"/>
                  <a:pt x="287" y="476"/>
                </a:cubicBezTo>
                <a:cubicBezTo>
                  <a:pt x="287" y="483"/>
                  <a:pt x="293" y="488"/>
                  <a:pt x="301" y="488"/>
                </a:cubicBezTo>
                <a:cubicBezTo>
                  <a:pt x="301" y="488"/>
                  <a:pt x="364" y="488"/>
                  <a:pt x="364" y="488"/>
                </a:cubicBezTo>
                <a:cubicBezTo>
                  <a:pt x="372" y="488"/>
                  <a:pt x="378" y="483"/>
                  <a:pt x="378" y="476"/>
                </a:cubicBezTo>
                <a:cubicBezTo>
                  <a:pt x="378" y="470"/>
                  <a:pt x="372" y="465"/>
                  <a:pt x="364" y="465"/>
                </a:cubicBezTo>
                <a:close/>
                <a:moveTo>
                  <a:pt x="364" y="430"/>
                </a:moveTo>
                <a:cubicBezTo>
                  <a:pt x="300" y="430"/>
                  <a:pt x="300" y="430"/>
                  <a:pt x="300" y="430"/>
                </a:cubicBezTo>
                <a:cubicBezTo>
                  <a:pt x="293" y="430"/>
                  <a:pt x="287" y="435"/>
                  <a:pt x="287" y="442"/>
                </a:cubicBezTo>
                <a:cubicBezTo>
                  <a:pt x="287" y="448"/>
                  <a:pt x="293" y="453"/>
                  <a:pt x="301" y="453"/>
                </a:cubicBezTo>
                <a:cubicBezTo>
                  <a:pt x="302" y="453"/>
                  <a:pt x="364" y="453"/>
                  <a:pt x="364" y="453"/>
                </a:cubicBezTo>
                <a:cubicBezTo>
                  <a:pt x="372" y="453"/>
                  <a:pt x="378" y="448"/>
                  <a:pt x="378" y="442"/>
                </a:cubicBezTo>
                <a:cubicBezTo>
                  <a:pt x="378" y="435"/>
                  <a:pt x="372" y="430"/>
                  <a:pt x="364" y="43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65" name="Freeform 11"/>
          <p:cNvSpPr>
            <a:spLocks noChangeAspect="1" noEditPoints="1"/>
          </p:cNvSpPr>
          <p:nvPr/>
        </p:nvSpPr>
        <p:spPr bwMode="auto">
          <a:xfrm>
            <a:off x="8141180" y="1690692"/>
            <a:ext cx="577300" cy="684934"/>
          </a:xfrm>
          <a:custGeom>
            <a:avLst/>
            <a:gdLst>
              <a:gd name="T0" fmla="*/ 120 w 432"/>
              <a:gd name="T1" fmla="*/ 56 h 508"/>
              <a:gd name="T2" fmla="*/ 352 w 432"/>
              <a:gd name="T3" fmla="*/ 452 h 508"/>
              <a:gd name="T4" fmla="*/ 32 w 432"/>
              <a:gd name="T5" fmla="*/ 476 h 508"/>
              <a:gd name="T6" fmla="*/ 320 w 432"/>
              <a:gd name="T7" fmla="*/ 452 h 508"/>
              <a:gd name="T8" fmla="*/ 112 w 432"/>
              <a:gd name="T9" fmla="*/ 136 h 508"/>
              <a:gd name="T10" fmla="*/ 400 w 432"/>
              <a:gd name="T11" fmla="*/ 420 h 508"/>
              <a:gd name="T12" fmla="*/ 153 w 432"/>
              <a:gd name="T13" fmla="*/ 202 h 508"/>
              <a:gd name="T14" fmla="*/ 177 w 432"/>
              <a:gd name="T15" fmla="*/ 202 h 508"/>
              <a:gd name="T16" fmla="*/ 177 w 432"/>
              <a:gd name="T17" fmla="*/ 202 h 508"/>
              <a:gd name="T18" fmla="*/ 209 w 432"/>
              <a:gd name="T19" fmla="*/ 217 h 508"/>
              <a:gd name="T20" fmla="*/ 220 w 432"/>
              <a:gd name="T21" fmla="*/ 177 h 508"/>
              <a:gd name="T22" fmla="*/ 273 w 432"/>
              <a:gd name="T23" fmla="*/ 225 h 508"/>
              <a:gd name="T24" fmla="*/ 252 w 432"/>
              <a:gd name="T25" fmla="*/ 187 h 508"/>
              <a:gd name="T26" fmla="*/ 263 w 432"/>
              <a:gd name="T27" fmla="*/ 217 h 508"/>
              <a:gd name="T28" fmla="*/ 312 w 432"/>
              <a:gd name="T29" fmla="*/ 220 h 508"/>
              <a:gd name="T30" fmla="*/ 300 w 432"/>
              <a:gd name="T31" fmla="*/ 177 h 508"/>
              <a:gd name="T32" fmla="*/ 293 w 432"/>
              <a:gd name="T33" fmla="*/ 202 h 508"/>
              <a:gd name="T34" fmla="*/ 355 w 432"/>
              <a:gd name="T35" fmla="*/ 220 h 508"/>
              <a:gd name="T36" fmla="*/ 343 w 432"/>
              <a:gd name="T37" fmla="*/ 177 h 508"/>
              <a:gd name="T38" fmla="*/ 336 w 432"/>
              <a:gd name="T39" fmla="*/ 202 h 508"/>
              <a:gd name="T40" fmla="*/ 156 w 432"/>
              <a:gd name="T41" fmla="*/ 302 h 508"/>
              <a:gd name="T42" fmla="*/ 156 w 432"/>
              <a:gd name="T43" fmla="*/ 266 h 508"/>
              <a:gd name="T44" fmla="*/ 186 w 432"/>
              <a:gd name="T45" fmla="*/ 293 h 508"/>
              <a:gd name="T46" fmla="*/ 213 w 432"/>
              <a:gd name="T47" fmla="*/ 303 h 508"/>
              <a:gd name="T48" fmla="*/ 231 w 432"/>
              <a:gd name="T49" fmla="*/ 278 h 508"/>
              <a:gd name="T50" fmla="*/ 213 w 432"/>
              <a:gd name="T51" fmla="*/ 295 h 508"/>
              <a:gd name="T52" fmla="*/ 256 w 432"/>
              <a:gd name="T53" fmla="*/ 303 h 508"/>
              <a:gd name="T54" fmla="*/ 274 w 432"/>
              <a:gd name="T55" fmla="*/ 278 h 508"/>
              <a:gd name="T56" fmla="*/ 256 w 432"/>
              <a:gd name="T57" fmla="*/ 295 h 508"/>
              <a:gd name="T58" fmla="*/ 286 w 432"/>
              <a:gd name="T59" fmla="*/ 293 h 508"/>
              <a:gd name="T60" fmla="*/ 285 w 432"/>
              <a:gd name="T61" fmla="*/ 257 h 508"/>
              <a:gd name="T62" fmla="*/ 316 w 432"/>
              <a:gd name="T63" fmla="*/ 302 h 508"/>
              <a:gd name="T64" fmla="*/ 325 w 432"/>
              <a:gd name="T65" fmla="*/ 279 h 508"/>
              <a:gd name="T66" fmla="*/ 349 w 432"/>
              <a:gd name="T67" fmla="*/ 278 h 508"/>
              <a:gd name="T68" fmla="*/ 349 w 432"/>
              <a:gd name="T69" fmla="*/ 278 h 508"/>
              <a:gd name="T70" fmla="*/ 153 w 432"/>
              <a:gd name="T71" fmla="*/ 355 h 508"/>
              <a:gd name="T72" fmla="*/ 177 w 432"/>
              <a:gd name="T73" fmla="*/ 354 h 508"/>
              <a:gd name="T74" fmla="*/ 177 w 432"/>
              <a:gd name="T75" fmla="*/ 354 h 508"/>
              <a:gd name="T76" fmla="*/ 196 w 432"/>
              <a:gd name="T77" fmla="*/ 355 h 508"/>
              <a:gd name="T78" fmla="*/ 220 w 432"/>
              <a:gd name="T79" fmla="*/ 354 h 508"/>
              <a:gd name="T80" fmla="*/ 220 w 432"/>
              <a:gd name="T81" fmla="*/ 354 h 508"/>
              <a:gd name="T82" fmla="*/ 252 w 432"/>
              <a:gd name="T83" fmla="*/ 370 h 508"/>
              <a:gd name="T84" fmla="*/ 263 w 432"/>
              <a:gd name="T85" fmla="*/ 330 h 508"/>
              <a:gd name="T86" fmla="*/ 317 w 432"/>
              <a:gd name="T87" fmla="*/ 354 h 508"/>
              <a:gd name="T88" fmla="*/ 287 w 432"/>
              <a:gd name="T89" fmla="*/ 336 h 508"/>
              <a:gd name="T90" fmla="*/ 300 w 432"/>
              <a:gd name="T91" fmla="*/ 338 h 508"/>
              <a:gd name="T92" fmla="*/ 359 w 432"/>
              <a:gd name="T93" fmla="*/ 378 h 508"/>
              <a:gd name="T94" fmla="*/ 339 w 432"/>
              <a:gd name="T95" fmla="*/ 340 h 508"/>
              <a:gd name="T96" fmla="*/ 349 w 432"/>
              <a:gd name="T97" fmla="*/ 370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2" h="508">
                <a:moveTo>
                  <a:pt x="432" y="0"/>
                </a:moveTo>
                <a:cubicBezTo>
                  <a:pt x="200" y="0"/>
                  <a:pt x="200" y="0"/>
                  <a:pt x="200" y="0"/>
                </a:cubicBezTo>
                <a:cubicBezTo>
                  <a:pt x="144" y="56"/>
                  <a:pt x="144" y="56"/>
                  <a:pt x="144" y="56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0" y="176"/>
                  <a:pt x="0" y="176"/>
                  <a:pt x="0" y="176"/>
                </a:cubicBezTo>
                <a:cubicBezTo>
                  <a:pt x="0" y="508"/>
                  <a:pt x="0" y="508"/>
                  <a:pt x="0" y="508"/>
                </a:cubicBezTo>
                <a:cubicBezTo>
                  <a:pt x="352" y="508"/>
                  <a:pt x="352" y="508"/>
                  <a:pt x="352" y="508"/>
                </a:cubicBezTo>
                <a:cubicBezTo>
                  <a:pt x="352" y="452"/>
                  <a:pt x="352" y="452"/>
                  <a:pt x="352" y="452"/>
                </a:cubicBezTo>
                <a:cubicBezTo>
                  <a:pt x="432" y="452"/>
                  <a:pt x="432" y="452"/>
                  <a:pt x="432" y="452"/>
                </a:cubicBezTo>
                <a:lnTo>
                  <a:pt x="432" y="0"/>
                </a:lnTo>
                <a:close/>
                <a:moveTo>
                  <a:pt x="320" y="476"/>
                </a:moveTo>
                <a:cubicBezTo>
                  <a:pt x="32" y="476"/>
                  <a:pt x="32" y="476"/>
                  <a:pt x="32" y="476"/>
                </a:cubicBezTo>
                <a:cubicBezTo>
                  <a:pt x="32" y="192"/>
                  <a:pt x="32" y="192"/>
                  <a:pt x="32" y="192"/>
                </a:cubicBezTo>
                <a:cubicBezTo>
                  <a:pt x="80" y="192"/>
                  <a:pt x="80" y="192"/>
                  <a:pt x="80" y="192"/>
                </a:cubicBezTo>
                <a:cubicBezTo>
                  <a:pt x="80" y="452"/>
                  <a:pt x="80" y="452"/>
                  <a:pt x="80" y="452"/>
                </a:cubicBezTo>
                <a:cubicBezTo>
                  <a:pt x="320" y="452"/>
                  <a:pt x="320" y="452"/>
                  <a:pt x="320" y="452"/>
                </a:cubicBezTo>
                <a:lnTo>
                  <a:pt x="320" y="476"/>
                </a:lnTo>
                <a:close/>
                <a:moveTo>
                  <a:pt x="400" y="420"/>
                </a:moveTo>
                <a:cubicBezTo>
                  <a:pt x="112" y="420"/>
                  <a:pt x="112" y="420"/>
                  <a:pt x="112" y="420"/>
                </a:cubicBezTo>
                <a:cubicBezTo>
                  <a:pt x="112" y="136"/>
                  <a:pt x="112" y="136"/>
                  <a:pt x="112" y="136"/>
                </a:cubicBezTo>
                <a:cubicBezTo>
                  <a:pt x="216" y="136"/>
                  <a:pt x="216" y="136"/>
                  <a:pt x="216" y="136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400" y="32"/>
                  <a:pt x="400" y="32"/>
                  <a:pt x="400" y="32"/>
                </a:cubicBezTo>
                <a:lnTo>
                  <a:pt x="400" y="420"/>
                </a:lnTo>
                <a:close/>
                <a:moveTo>
                  <a:pt x="187" y="201"/>
                </a:moveTo>
                <a:cubicBezTo>
                  <a:pt x="187" y="209"/>
                  <a:pt x="186" y="216"/>
                  <a:pt x="183" y="220"/>
                </a:cubicBezTo>
                <a:cubicBezTo>
                  <a:pt x="180" y="224"/>
                  <a:pt x="175" y="226"/>
                  <a:pt x="170" y="226"/>
                </a:cubicBezTo>
                <a:cubicBezTo>
                  <a:pt x="158" y="226"/>
                  <a:pt x="153" y="218"/>
                  <a:pt x="153" y="202"/>
                </a:cubicBezTo>
                <a:cubicBezTo>
                  <a:pt x="153" y="194"/>
                  <a:pt x="154" y="188"/>
                  <a:pt x="158" y="183"/>
                </a:cubicBezTo>
                <a:cubicBezTo>
                  <a:pt x="161" y="179"/>
                  <a:pt x="165" y="177"/>
                  <a:pt x="171" y="177"/>
                </a:cubicBezTo>
                <a:cubicBezTo>
                  <a:pt x="182" y="177"/>
                  <a:pt x="187" y="185"/>
                  <a:pt x="187" y="201"/>
                </a:cubicBezTo>
                <a:close/>
                <a:moveTo>
                  <a:pt x="177" y="202"/>
                </a:moveTo>
                <a:cubicBezTo>
                  <a:pt x="177" y="191"/>
                  <a:pt x="174" y="185"/>
                  <a:pt x="170" y="185"/>
                </a:cubicBezTo>
                <a:cubicBezTo>
                  <a:pt x="166" y="185"/>
                  <a:pt x="163" y="191"/>
                  <a:pt x="163" y="202"/>
                </a:cubicBezTo>
                <a:cubicBezTo>
                  <a:pt x="163" y="213"/>
                  <a:pt x="166" y="218"/>
                  <a:pt x="170" y="218"/>
                </a:cubicBezTo>
                <a:cubicBezTo>
                  <a:pt x="174" y="218"/>
                  <a:pt x="177" y="213"/>
                  <a:pt x="177" y="202"/>
                </a:cubicBezTo>
                <a:close/>
                <a:moveTo>
                  <a:pt x="229" y="225"/>
                </a:moveTo>
                <a:cubicBezTo>
                  <a:pt x="199" y="225"/>
                  <a:pt x="199" y="225"/>
                  <a:pt x="199" y="225"/>
                </a:cubicBezTo>
                <a:cubicBezTo>
                  <a:pt x="199" y="217"/>
                  <a:pt x="199" y="217"/>
                  <a:pt x="199" y="217"/>
                </a:cubicBezTo>
                <a:cubicBezTo>
                  <a:pt x="209" y="217"/>
                  <a:pt x="209" y="217"/>
                  <a:pt x="209" y="217"/>
                </a:cubicBezTo>
                <a:cubicBezTo>
                  <a:pt x="209" y="187"/>
                  <a:pt x="209" y="187"/>
                  <a:pt x="209" y="187"/>
                </a:cubicBezTo>
                <a:cubicBezTo>
                  <a:pt x="199" y="190"/>
                  <a:pt x="199" y="190"/>
                  <a:pt x="199" y="190"/>
                </a:cubicBezTo>
                <a:cubicBezTo>
                  <a:pt x="199" y="181"/>
                  <a:pt x="199" y="181"/>
                  <a:pt x="199" y="181"/>
                </a:cubicBezTo>
                <a:cubicBezTo>
                  <a:pt x="220" y="177"/>
                  <a:pt x="220" y="177"/>
                  <a:pt x="220" y="177"/>
                </a:cubicBezTo>
                <a:cubicBezTo>
                  <a:pt x="220" y="217"/>
                  <a:pt x="220" y="217"/>
                  <a:pt x="220" y="217"/>
                </a:cubicBezTo>
                <a:cubicBezTo>
                  <a:pt x="229" y="217"/>
                  <a:pt x="229" y="217"/>
                  <a:pt x="229" y="217"/>
                </a:cubicBezTo>
                <a:lnTo>
                  <a:pt x="229" y="225"/>
                </a:lnTo>
                <a:close/>
                <a:moveTo>
                  <a:pt x="273" y="225"/>
                </a:moveTo>
                <a:cubicBezTo>
                  <a:pt x="242" y="225"/>
                  <a:pt x="242" y="225"/>
                  <a:pt x="242" y="225"/>
                </a:cubicBezTo>
                <a:cubicBezTo>
                  <a:pt x="242" y="217"/>
                  <a:pt x="242" y="217"/>
                  <a:pt x="242" y="217"/>
                </a:cubicBezTo>
                <a:cubicBezTo>
                  <a:pt x="252" y="217"/>
                  <a:pt x="252" y="217"/>
                  <a:pt x="252" y="217"/>
                </a:cubicBezTo>
                <a:cubicBezTo>
                  <a:pt x="252" y="187"/>
                  <a:pt x="252" y="187"/>
                  <a:pt x="252" y="187"/>
                </a:cubicBezTo>
                <a:cubicBezTo>
                  <a:pt x="242" y="190"/>
                  <a:pt x="242" y="190"/>
                  <a:pt x="242" y="190"/>
                </a:cubicBezTo>
                <a:cubicBezTo>
                  <a:pt x="242" y="181"/>
                  <a:pt x="242" y="181"/>
                  <a:pt x="242" y="181"/>
                </a:cubicBezTo>
                <a:cubicBezTo>
                  <a:pt x="263" y="177"/>
                  <a:pt x="263" y="177"/>
                  <a:pt x="263" y="177"/>
                </a:cubicBezTo>
                <a:cubicBezTo>
                  <a:pt x="263" y="217"/>
                  <a:pt x="263" y="217"/>
                  <a:pt x="263" y="217"/>
                </a:cubicBezTo>
                <a:cubicBezTo>
                  <a:pt x="273" y="217"/>
                  <a:pt x="273" y="217"/>
                  <a:pt x="273" y="217"/>
                </a:cubicBezTo>
                <a:lnTo>
                  <a:pt x="273" y="225"/>
                </a:lnTo>
                <a:close/>
                <a:moveTo>
                  <a:pt x="317" y="201"/>
                </a:moveTo>
                <a:cubicBezTo>
                  <a:pt x="317" y="209"/>
                  <a:pt x="315" y="216"/>
                  <a:pt x="312" y="220"/>
                </a:cubicBezTo>
                <a:cubicBezTo>
                  <a:pt x="309" y="224"/>
                  <a:pt x="305" y="226"/>
                  <a:pt x="299" y="226"/>
                </a:cubicBezTo>
                <a:cubicBezTo>
                  <a:pt x="288" y="226"/>
                  <a:pt x="282" y="218"/>
                  <a:pt x="282" y="202"/>
                </a:cubicBezTo>
                <a:cubicBezTo>
                  <a:pt x="282" y="194"/>
                  <a:pt x="284" y="188"/>
                  <a:pt x="287" y="183"/>
                </a:cubicBezTo>
                <a:cubicBezTo>
                  <a:pt x="290" y="179"/>
                  <a:pt x="295" y="177"/>
                  <a:pt x="300" y="177"/>
                </a:cubicBezTo>
                <a:cubicBezTo>
                  <a:pt x="311" y="177"/>
                  <a:pt x="317" y="185"/>
                  <a:pt x="317" y="201"/>
                </a:cubicBezTo>
                <a:close/>
                <a:moveTo>
                  <a:pt x="306" y="202"/>
                </a:moveTo>
                <a:cubicBezTo>
                  <a:pt x="306" y="191"/>
                  <a:pt x="304" y="185"/>
                  <a:pt x="300" y="185"/>
                </a:cubicBezTo>
                <a:cubicBezTo>
                  <a:pt x="295" y="185"/>
                  <a:pt x="293" y="191"/>
                  <a:pt x="293" y="202"/>
                </a:cubicBezTo>
                <a:cubicBezTo>
                  <a:pt x="293" y="213"/>
                  <a:pt x="295" y="218"/>
                  <a:pt x="300" y="218"/>
                </a:cubicBezTo>
                <a:cubicBezTo>
                  <a:pt x="304" y="218"/>
                  <a:pt x="306" y="213"/>
                  <a:pt x="306" y="202"/>
                </a:cubicBezTo>
                <a:close/>
                <a:moveTo>
                  <a:pt x="360" y="201"/>
                </a:moveTo>
                <a:cubicBezTo>
                  <a:pt x="360" y="209"/>
                  <a:pt x="359" y="216"/>
                  <a:pt x="355" y="220"/>
                </a:cubicBezTo>
                <a:cubicBezTo>
                  <a:pt x="352" y="224"/>
                  <a:pt x="348" y="226"/>
                  <a:pt x="343" y="226"/>
                </a:cubicBezTo>
                <a:cubicBezTo>
                  <a:pt x="331" y="226"/>
                  <a:pt x="325" y="218"/>
                  <a:pt x="325" y="202"/>
                </a:cubicBezTo>
                <a:cubicBezTo>
                  <a:pt x="325" y="194"/>
                  <a:pt x="327" y="188"/>
                  <a:pt x="330" y="183"/>
                </a:cubicBezTo>
                <a:cubicBezTo>
                  <a:pt x="333" y="179"/>
                  <a:pt x="338" y="177"/>
                  <a:pt x="343" y="177"/>
                </a:cubicBezTo>
                <a:cubicBezTo>
                  <a:pt x="355" y="177"/>
                  <a:pt x="360" y="185"/>
                  <a:pt x="360" y="201"/>
                </a:cubicBezTo>
                <a:close/>
                <a:moveTo>
                  <a:pt x="349" y="202"/>
                </a:moveTo>
                <a:cubicBezTo>
                  <a:pt x="349" y="191"/>
                  <a:pt x="347" y="185"/>
                  <a:pt x="343" y="185"/>
                </a:cubicBezTo>
                <a:cubicBezTo>
                  <a:pt x="338" y="185"/>
                  <a:pt x="336" y="191"/>
                  <a:pt x="336" y="202"/>
                </a:cubicBezTo>
                <a:cubicBezTo>
                  <a:pt x="336" y="213"/>
                  <a:pt x="338" y="218"/>
                  <a:pt x="343" y="218"/>
                </a:cubicBezTo>
                <a:cubicBezTo>
                  <a:pt x="347" y="218"/>
                  <a:pt x="349" y="213"/>
                  <a:pt x="349" y="202"/>
                </a:cubicBezTo>
                <a:close/>
                <a:moveTo>
                  <a:pt x="186" y="302"/>
                </a:moveTo>
                <a:cubicBezTo>
                  <a:pt x="156" y="302"/>
                  <a:pt x="156" y="302"/>
                  <a:pt x="156" y="302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66" y="293"/>
                  <a:pt x="166" y="293"/>
                  <a:pt x="166" y="293"/>
                </a:cubicBezTo>
                <a:cubicBezTo>
                  <a:pt x="166" y="264"/>
                  <a:pt x="166" y="264"/>
                  <a:pt x="166" y="264"/>
                </a:cubicBezTo>
                <a:cubicBezTo>
                  <a:pt x="156" y="266"/>
                  <a:pt x="156" y="266"/>
                  <a:pt x="156" y="266"/>
                </a:cubicBezTo>
                <a:cubicBezTo>
                  <a:pt x="156" y="257"/>
                  <a:pt x="156" y="257"/>
                  <a:pt x="156" y="257"/>
                </a:cubicBezTo>
                <a:cubicBezTo>
                  <a:pt x="176" y="253"/>
                  <a:pt x="176" y="253"/>
                  <a:pt x="176" y="253"/>
                </a:cubicBezTo>
                <a:cubicBezTo>
                  <a:pt x="176" y="293"/>
                  <a:pt x="176" y="293"/>
                  <a:pt x="176" y="293"/>
                </a:cubicBezTo>
                <a:cubicBezTo>
                  <a:pt x="186" y="293"/>
                  <a:pt x="186" y="293"/>
                  <a:pt x="186" y="293"/>
                </a:cubicBezTo>
                <a:lnTo>
                  <a:pt x="186" y="302"/>
                </a:lnTo>
                <a:close/>
                <a:moveTo>
                  <a:pt x="231" y="278"/>
                </a:moveTo>
                <a:cubicBezTo>
                  <a:pt x="231" y="286"/>
                  <a:pt x="229" y="292"/>
                  <a:pt x="226" y="296"/>
                </a:cubicBezTo>
                <a:cubicBezTo>
                  <a:pt x="223" y="301"/>
                  <a:pt x="219" y="303"/>
                  <a:pt x="213" y="303"/>
                </a:cubicBezTo>
                <a:cubicBezTo>
                  <a:pt x="202" y="303"/>
                  <a:pt x="196" y="295"/>
                  <a:pt x="196" y="279"/>
                </a:cubicBezTo>
                <a:cubicBezTo>
                  <a:pt x="196" y="270"/>
                  <a:pt x="198" y="264"/>
                  <a:pt x="201" y="260"/>
                </a:cubicBezTo>
                <a:cubicBezTo>
                  <a:pt x="204" y="255"/>
                  <a:pt x="208" y="253"/>
                  <a:pt x="214" y="253"/>
                </a:cubicBezTo>
                <a:cubicBezTo>
                  <a:pt x="225" y="253"/>
                  <a:pt x="231" y="261"/>
                  <a:pt x="231" y="278"/>
                </a:cubicBezTo>
                <a:close/>
                <a:moveTo>
                  <a:pt x="220" y="278"/>
                </a:moveTo>
                <a:cubicBezTo>
                  <a:pt x="220" y="267"/>
                  <a:pt x="218" y="261"/>
                  <a:pt x="213" y="261"/>
                </a:cubicBezTo>
                <a:cubicBezTo>
                  <a:pt x="209" y="261"/>
                  <a:pt x="207" y="267"/>
                  <a:pt x="207" y="278"/>
                </a:cubicBezTo>
                <a:cubicBezTo>
                  <a:pt x="207" y="289"/>
                  <a:pt x="209" y="295"/>
                  <a:pt x="213" y="295"/>
                </a:cubicBezTo>
                <a:cubicBezTo>
                  <a:pt x="218" y="295"/>
                  <a:pt x="220" y="289"/>
                  <a:pt x="220" y="278"/>
                </a:cubicBezTo>
                <a:close/>
                <a:moveTo>
                  <a:pt x="274" y="278"/>
                </a:moveTo>
                <a:cubicBezTo>
                  <a:pt x="274" y="286"/>
                  <a:pt x="272" y="292"/>
                  <a:pt x="269" y="296"/>
                </a:cubicBezTo>
                <a:cubicBezTo>
                  <a:pt x="266" y="301"/>
                  <a:pt x="262" y="303"/>
                  <a:pt x="256" y="303"/>
                </a:cubicBezTo>
                <a:cubicBezTo>
                  <a:pt x="245" y="303"/>
                  <a:pt x="239" y="295"/>
                  <a:pt x="239" y="279"/>
                </a:cubicBezTo>
                <a:cubicBezTo>
                  <a:pt x="239" y="270"/>
                  <a:pt x="241" y="264"/>
                  <a:pt x="244" y="260"/>
                </a:cubicBezTo>
                <a:cubicBezTo>
                  <a:pt x="247" y="255"/>
                  <a:pt x="251" y="253"/>
                  <a:pt x="257" y="253"/>
                </a:cubicBezTo>
                <a:cubicBezTo>
                  <a:pt x="268" y="253"/>
                  <a:pt x="274" y="261"/>
                  <a:pt x="274" y="278"/>
                </a:cubicBezTo>
                <a:close/>
                <a:moveTo>
                  <a:pt x="263" y="278"/>
                </a:moveTo>
                <a:cubicBezTo>
                  <a:pt x="263" y="267"/>
                  <a:pt x="261" y="261"/>
                  <a:pt x="257" y="261"/>
                </a:cubicBezTo>
                <a:cubicBezTo>
                  <a:pt x="252" y="261"/>
                  <a:pt x="250" y="267"/>
                  <a:pt x="250" y="278"/>
                </a:cubicBezTo>
                <a:cubicBezTo>
                  <a:pt x="250" y="289"/>
                  <a:pt x="252" y="295"/>
                  <a:pt x="256" y="295"/>
                </a:cubicBezTo>
                <a:cubicBezTo>
                  <a:pt x="261" y="295"/>
                  <a:pt x="263" y="289"/>
                  <a:pt x="263" y="278"/>
                </a:cubicBezTo>
                <a:close/>
                <a:moveTo>
                  <a:pt x="316" y="302"/>
                </a:moveTo>
                <a:cubicBezTo>
                  <a:pt x="286" y="302"/>
                  <a:pt x="286" y="302"/>
                  <a:pt x="286" y="302"/>
                </a:cubicBezTo>
                <a:cubicBezTo>
                  <a:pt x="286" y="293"/>
                  <a:pt x="286" y="293"/>
                  <a:pt x="286" y="293"/>
                </a:cubicBezTo>
                <a:cubicBezTo>
                  <a:pt x="296" y="293"/>
                  <a:pt x="296" y="293"/>
                  <a:pt x="296" y="293"/>
                </a:cubicBezTo>
                <a:cubicBezTo>
                  <a:pt x="296" y="264"/>
                  <a:pt x="296" y="264"/>
                  <a:pt x="296" y="264"/>
                </a:cubicBezTo>
                <a:cubicBezTo>
                  <a:pt x="285" y="266"/>
                  <a:pt x="285" y="266"/>
                  <a:pt x="285" y="266"/>
                </a:cubicBezTo>
                <a:cubicBezTo>
                  <a:pt x="285" y="257"/>
                  <a:pt x="285" y="257"/>
                  <a:pt x="285" y="257"/>
                </a:cubicBezTo>
                <a:cubicBezTo>
                  <a:pt x="306" y="253"/>
                  <a:pt x="306" y="253"/>
                  <a:pt x="306" y="253"/>
                </a:cubicBezTo>
                <a:cubicBezTo>
                  <a:pt x="306" y="293"/>
                  <a:pt x="306" y="293"/>
                  <a:pt x="306" y="293"/>
                </a:cubicBezTo>
                <a:cubicBezTo>
                  <a:pt x="316" y="293"/>
                  <a:pt x="316" y="293"/>
                  <a:pt x="316" y="293"/>
                </a:cubicBezTo>
                <a:lnTo>
                  <a:pt x="316" y="302"/>
                </a:lnTo>
                <a:close/>
                <a:moveTo>
                  <a:pt x="360" y="278"/>
                </a:moveTo>
                <a:cubicBezTo>
                  <a:pt x="360" y="286"/>
                  <a:pt x="359" y="292"/>
                  <a:pt x="355" y="296"/>
                </a:cubicBezTo>
                <a:cubicBezTo>
                  <a:pt x="352" y="301"/>
                  <a:pt x="348" y="303"/>
                  <a:pt x="343" y="303"/>
                </a:cubicBezTo>
                <a:cubicBezTo>
                  <a:pt x="331" y="303"/>
                  <a:pt x="325" y="295"/>
                  <a:pt x="325" y="279"/>
                </a:cubicBezTo>
                <a:cubicBezTo>
                  <a:pt x="325" y="270"/>
                  <a:pt x="327" y="264"/>
                  <a:pt x="330" y="260"/>
                </a:cubicBezTo>
                <a:cubicBezTo>
                  <a:pt x="333" y="255"/>
                  <a:pt x="338" y="253"/>
                  <a:pt x="343" y="253"/>
                </a:cubicBezTo>
                <a:cubicBezTo>
                  <a:pt x="355" y="253"/>
                  <a:pt x="360" y="261"/>
                  <a:pt x="360" y="278"/>
                </a:cubicBezTo>
                <a:close/>
                <a:moveTo>
                  <a:pt x="349" y="278"/>
                </a:moveTo>
                <a:cubicBezTo>
                  <a:pt x="349" y="267"/>
                  <a:pt x="347" y="261"/>
                  <a:pt x="343" y="261"/>
                </a:cubicBezTo>
                <a:cubicBezTo>
                  <a:pt x="338" y="261"/>
                  <a:pt x="336" y="267"/>
                  <a:pt x="336" y="278"/>
                </a:cubicBezTo>
                <a:cubicBezTo>
                  <a:pt x="336" y="289"/>
                  <a:pt x="338" y="295"/>
                  <a:pt x="343" y="295"/>
                </a:cubicBezTo>
                <a:cubicBezTo>
                  <a:pt x="347" y="295"/>
                  <a:pt x="349" y="289"/>
                  <a:pt x="349" y="278"/>
                </a:cubicBezTo>
                <a:close/>
                <a:moveTo>
                  <a:pt x="187" y="354"/>
                </a:moveTo>
                <a:cubicBezTo>
                  <a:pt x="187" y="362"/>
                  <a:pt x="186" y="368"/>
                  <a:pt x="183" y="373"/>
                </a:cubicBezTo>
                <a:cubicBezTo>
                  <a:pt x="180" y="377"/>
                  <a:pt x="175" y="379"/>
                  <a:pt x="170" y="379"/>
                </a:cubicBezTo>
                <a:cubicBezTo>
                  <a:pt x="158" y="379"/>
                  <a:pt x="153" y="371"/>
                  <a:pt x="153" y="355"/>
                </a:cubicBezTo>
                <a:cubicBezTo>
                  <a:pt x="153" y="347"/>
                  <a:pt x="154" y="340"/>
                  <a:pt x="158" y="336"/>
                </a:cubicBezTo>
                <a:cubicBezTo>
                  <a:pt x="161" y="332"/>
                  <a:pt x="165" y="330"/>
                  <a:pt x="171" y="330"/>
                </a:cubicBezTo>
                <a:cubicBezTo>
                  <a:pt x="182" y="330"/>
                  <a:pt x="187" y="338"/>
                  <a:pt x="187" y="354"/>
                </a:cubicBezTo>
                <a:close/>
                <a:moveTo>
                  <a:pt x="177" y="354"/>
                </a:moveTo>
                <a:cubicBezTo>
                  <a:pt x="177" y="343"/>
                  <a:pt x="174" y="338"/>
                  <a:pt x="170" y="338"/>
                </a:cubicBezTo>
                <a:cubicBezTo>
                  <a:pt x="166" y="338"/>
                  <a:pt x="163" y="343"/>
                  <a:pt x="163" y="355"/>
                </a:cubicBezTo>
                <a:cubicBezTo>
                  <a:pt x="163" y="365"/>
                  <a:pt x="166" y="371"/>
                  <a:pt x="170" y="371"/>
                </a:cubicBezTo>
                <a:cubicBezTo>
                  <a:pt x="174" y="371"/>
                  <a:pt x="177" y="365"/>
                  <a:pt x="177" y="354"/>
                </a:cubicBezTo>
                <a:close/>
                <a:moveTo>
                  <a:pt x="231" y="354"/>
                </a:moveTo>
                <a:cubicBezTo>
                  <a:pt x="231" y="362"/>
                  <a:pt x="229" y="368"/>
                  <a:pt x="226" y="373"/>
                </a:cubicBezTo>
                <a:cubicBezTo>
                  <a:pt x="223" y="377"/>
                  <a:pt x="219" y="379"/>
                  <a:pt x="213" y="379"/>
                </a:cubicBezTo>
                <a:cubicBezTo>
                  <a:pt x="202" y="379"/>
                  <a:pt x="196" y="371"/>
                  <a:pt x="196" y="355"/>
                </a:cubicBezTo>
                <a:cubicBezTo>
                  <a:pt x="196" y="347"/>
                  <a:pt x="198" y="340"/>
                  <a:pt x="201" y="336"/>
                </a:cubicBezTo>
                <a:cubicBezTo>
                  <a:pt x="204" y="332"/>
                  <a:pt x="208" y="330"/>
                  <a:pt x="214" y="330"/>
                </a:cubicBezTo>
                <a:cubicBezTo>
                  <a:pt x="225" y="330"/>
                  <a:pt x="231" y="338"/>
                  <a:pt x="231" y="354"/>
                </a:cubicBezTo>
                <a:close/>
                <a:moveTo>
                  <a:pt x="220" y="354"/>
                </a:moveTo>
                <a:cubicBezTo>
                  <a:pt x="220" y="343"/>
                  <a:pt x="218" y="338"/>
                  <a:pt x="213" y="338"/>
                </a:cubicBezTo>
                <a:cubicBezTo>
                  <a:pt x="209" y="338"/>
                  <a:pt x="207" y="343"/>
                  <a:pt x="207" y="355"/>
                </a:cubicBezTo>
                <a:cubicBezTo>
                  <a:pt x="207" y="365"/>
                  <a:pt x="209" y="371"/>
                  <a:pt x="213" y="371"/>
                </a:cubicBezTo>
                <a:cubicBezTo>
                  <a:pt x="218" y="371"/>
                  <a:pt x="220" y="365"/>
                  <a:pt x="220" y="354"/>
                </a:cubicBezTo>
                <a:close/>
                <a:moveTo>
                  <a:pt x="273" y="378"/>
                </a:moveTo>
                <a:cubicBezTo>
                  <a:pt x="242" y="378"/>
                  <a:pt x="242" y="378"/>
                  <a:pt x="242" y="378"/>
                </a:cubicBezTo>
                <a:cubicBezTo>
                  <a:pt x="242" y="370"/>
                  <a:pt x="242" y="370"/>
                  <a:pt x="242" y="370"/>
                </a:cubicBezTo>
                <a:cubicBezTo>
                  <a:pt x="252" y="370"/>
                  <a:pt x="252" y="370"/>
                  <a:pt x="252" y="370"/>
                </a:cubicBezTo>
                <a:cubicBezTo>
                  <a:pt x="252" y="340"/>
                  <a:pt x="252" y="340"/>
                  <a:pt x="252" y="340"/>
                </a:cubicBezTo>
                <a:cubicBezTo>
                  <a:pt x="242" y="342"/>
                  <a:pt x="242" y="342"/>
                  <a:pt x="242" y="342"/>
                </a:cubicBezTo>
                <a:cubicBezTo>
                  <a:pt x="242" y="334"/>
                  <a:pt x="242" y="334"/>
                  <a:pt x="242" y="334"/>
                </a:cubicBezTo>
                <a:cubicBezTo>
                  <a:pt x="263" y="330"/>
                  <a:pt x="263" y="330"/>
                  <a:pt x="263" y="330"/>
                </a:cubicBezTo>
                <a:cubicBezTo>
                  <a:pt x="263" y="370"/>
                  <a:pt x="263" y="370"/>
                  <a:pt x="263" y="370"/>
                </a:cubicBezTo>
                <a:cubicBezTo>
                  <a:pt x="273" y="370"/>
                  <a:pt x="273" y="370"/>
                  <a:pt x="273" y="370"/>
                </a:cubicBezTo>
                <a:lnTo>
                  <a:pt x="273" y="378"/>
                </a:lnTo>
                <a:close/>
                <a:moveTo>
                  <a:pt x="317" y="354"/>
                </a:moveTo>
                <a:cubicBezTo>
                  <a:pt x="317" y="362"/>
                  <a:pt x="315" y="368"/>
                  <a:pt x="312" y="373"/>
                </a:cubicBezTo>
                <a:cubicBezTo>
                  <a:pt x="309" y="377"/>
                  <a:pt x="305" y="379"/>
                  <a:pt x="299" y="379"/>
                </a:cubicBezTo>
                <a:cubicBezTo>
                  <a:pt x="288" y="379"/>
                  <a:pt x="282" y="371"/>
                  <a:pt x="282" y="355"/>
                </a:cubicBezTo>
                <a:cubicBezTo>
                  <a:pt x="282" y="347"/>
                  <a:pt x="284" y="340"/>
                  <a:pt x="287" y="336"/>
                </a:cubicBezTo>
                <a:cubicBezTo>
                  <a:pt x="290" y="332"/>
                  <a:pt x="295" y="330"/>
                  <a:pt x="300" y="330"/>
                </a:cubicBezTo>
                <a:cubicBezTo>
                  <a:pt x="311" y="330"/>
                  <a:pt x="317" y="338"/>
                  <a:pt x="317" y="354"/>
                </a:cubicBezTo>
                <a:close/>
                <a:moveTo>
                  <a:pt x="306" y="354"/>
                </a:moveTo>
                <a:cubicBezTo>
                  <a:pt x="306" y="343"/>
                  <a:pt x="304" y="338"/>
                  <a:pt x="300" y="338"/>
                </a:cubicBezTo>
                <a:cubicBezTo>
                  <a:pt x="295" y="338"/>
                  <a:pt x="293" y="343"/>
                  <a:pt x="293" y="355"/>
                </a:cubicBezTo>
                <a:cubicBezTo>
                  <a:pt x="293" y="365"/>
                  <a:pt x="295" y="371"/>
                  <a:pt x="300" y="371"/>
                </a:cubicBezTo>
                <a:cubicBezTo>
                  <a:pt x="304" y="371"/>
                  <a:pt x="306" y="365"/>
                  <a:pt x="306" y="354"/>
                </a:cubicBezTo>
                <a:close/>
                <a:moveTo>
                  <a:pt x="359" y="378"/>
                </a:moveTo>
                <a:cubicBezTo>
                  <a:pt x="329" y="378"/>
                  <a:pt x="329" y="378"/>
                  <a:pt x="329" y="378"/>
                </a:cubicBezTo>
                <a:cubicBezTo>
                  <a:pt x="329" y="370"/>
                  <a:pt x="329" y="370"/>
                  <a:pt x="329" y="370"/>
                </a:cubicBezTo>
                <a:cubicBezTo>
                  <a:pt x="339" y="370"/>
                  <a:pt x="339" y="370"/>
                  <a:pt x="339" y="370"/>
                </a:cubicBezTo>
                <a:cubicBezTo>
                  <a:pt x="339" y="340"/>
                  <a:pt x="339" y="340"/>
                  <a:pt x="339" y="340"/>
                </a:cubicBezTo>
                <a:cubicBezTo>
                  <a:pt x="329" y="342"/>
                  <a:pt x="329" y="342"/>
                  <a:pt x="329" y="342"/>
                </a:cubicBezTo>
                <a:cubicBezTo>
                  <a:pt x="329" y="334"/>
                  <a:pt x="329" y="334"/>
                  <a:pt x="329" y="334"/>
                </a:cubicBezTo>
                <a:cubicBezTo>
                  <a:pt x="349" y="330"/>
                  <a:pt x="349" y="330"/>
                  <a:pt x="349" y="330"/>
                </a:cubicBezTo>
                <a:cubicBezTo>
                  <a:pt x="349" y="370"/>
                  <a:pt x="349" y="370"/>
                  <a:pt x="349" y="370"/>
                </a:cubicBezTo>
                <a:cubicBezTo>
                  <a:pt x="359" y="370"/>
                  <a:pt x="359" y="370"/>
                  <a:pt x="359" y="370"/>
                </a:cubicBezTo>
                <a:lnTo>
                  <a:pt x="359" y="3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167" name="Picture 71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8559" y="500661"/>
            <a:ext cx="758042" cy="757935"/>
          </a:xfrm>
          <a:prstGeom prst="rect">
            <a:avLst/>
          </a:prstGeom>
        </p:spPr>
      </p:pic>
      <p:pic>
        <p:nvPicPr>
          <p:cNvPr id="168" name="Picture 5"/>
          <p:cNvPicPr>
            <a:picLocks noChangeAspect="1" noChangeArrowheads="1"/>
          </p:cNvPicPr>
          <p:nvPr/>
        </p:nvPicPr>
        <p:blipFill>
          <a:blip r:embed="rId8" cstate="email">
            <a:biLevel thresh="50000"/>
          </a:blip>
          <a:srcRect/>
          <a:stretch>
            <a:fillRect/>
          </a:stretch>
        </p:blipFill>
        <p:spPr bwMode="auto">
          <a:xfrm>
            <a:off x="8028384" y="570547"/>
            <a:ext cx="864096" cy="731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1" name="组合 170"/>
          <p:cNvGrpSpPr/>
          <p:nvPr/>
        </p:nvGrpSpPr>
        <p:grpSpPr>
          <a:xfrm>
            <a:off x="6699961" y="559386"/>
            <a:ext cx="896375" cy="677923"/>
            <a:chOff x="8952532" y="2419748"/>
            <a:chExt cx="1230173" cy="930373"/>
          </a:xfrm>
        </p:grpSpPr>
        <p:sp>
          <p:nvSpPr>
            <p:cNvPr id="169" name="Freeform 168"/>
            <p:cNvSpPr>
              <a:spLocks noEditPoints="1"/>
            </p:cNvSpPr>
            <p:nvPr/>
          </p:nvSpPr>
          <p:spPr bwMode="auto">
            <a:xfrm>
              <a:off x="8952532" y="2419748"/>
              <a:ext cx="840121" cy="787818"/>
            </a:xfrm>
            <a:custGeom>
              <a:avLst/>
              <a:gdLst/>
              <a:ahLst/>
              <a:cxnLst>
                <a:cxn ang="0">
                  <a:pos x="215" y="24"/>
                </a:cxn>
                <a:cxn ang="0">
                  <a:pos x="127" y="0"/>
                </a:cxn>
                <a:cxn ang="0">
                  <a:pos x="39" y="24"/>
                </a:cxn>
                <a:cxn ang="0">
                  <a:pos x="0" y="89"/>
                </a:cxn>
                <a:cxn ang="0">
                  <a:pos x="42" y="155"/>
                </a:cxn>
                <a:cxn ang="0">
                  <a:pos x="34" y="197"/>
                </a:cxn>
                <a:cxn ang="0">
                  <a:pos x="27" y="231"/>
                </a:cxn>
                <a:cxn ang="0">
                  <a:pos x="25" y="240"/>
                </a:cxn>
                <a:cxn ang="0">
                  <a:pos x="31" y="233"/>
                </a:cxn>
                <a:cxn ang="0">
                  <a:pos x="55" y="207"/>
                </a:cxn>
                <a:cxn ang="0">
                  <a:pos x="87" y="173"/>
                </a:cxn>
                <a:cxn ang="0">
                  <a:pos x="127" y="178"/>
                </a:cxn>
                <a:cxn ang="0">
                  <a:pos x="215" y="153"/>
                </a:cxn>
                <a:cxn ang="0">
                  <a:pos x="255" y="89"/>
                </a:cxn>
                <a:cxn ang="0">
                  <a:pos x="215" y="24"/>
                </a:cxn>
                <a:cxn ang="0">
                  <a:pos x="59" y="149"/>
                </a:cxn>
                <a:cxn ang="0">
                  <a:pos x="59" y="147"/>
                </a:cxn>
                <a:cxn ang="0">
                  <a:pos x="57" y="147"/>
                </a:cxn>
                <a:cxn ang="0">
                  <a:pos x="15" y="89"/>
                </a:cxn>
                <a:cxn ang="0">
                  <a:pos x="127" y="15"/>
                </a:cxn>
                <a:cxn ang="0">
                  <a:pos x="240" y="89"/>
                </a:cxn>
                <a:cxn ang="0">
                  <a:pos x="127" y="163"/>
                </a:cxn>
                <a:cxn ang="0">
                  <a:pos x="83" y="157"/>
                </a:cxn>
                <a:cxn ang="0">
                  <a:pos x="82" y="156"/>
                </a:cxn>
                <a:cxn ang="0">
                  <a:pos x="81" y="158"/>
                </a:cxn>
                <a:cxn ang="0">
                  <a:pos x="50" y="191"/>
                </a:cxn>
                <a:cxn ang="0">
                  <a:pos x="59" y="149"/>
                </a:cxn>
              </a:cxnLst>
              <a:rect l="0" t="0" r="r" b="b"/>
              <a:pathLst>
                <a:path w="255" h="240">
                  <a:moveTo>
                    <a:pt x="215" y="24"/>
                  </a:moveTo>
                  <a:cubicBezTo>
                    <a:pt x="192" y="8"/>
                    <a:pt x="160" y="0"/>
                    <a:pt x="127" y="0"/>
                  </a:cubicBezTo>
                  <a:cubicBezTo>
                    <a:pt x="94" y="0"/>
                    <a:pt x="63" y="8"/>
                    <a:pt x="39" y="24"/>
                  </a:cubicBezTo>
                  <a:cubicBezTo>
                    <a:pt x="14" y="41"/>
                    <a:pt x="0" y="64"/>
                    <a:pt x="0" y="89"/>
                  </a:cubicBezTo>
                  <a:cubicBezTo>
                    <a:pt x="0" y="114"/>
                    <a:pt x="15" y="138"/>
                    <a:pt x="42" y="155"/>
                  </a:cubicBezTo>
                  <a:cubicBezTo>
                    <a:pt x="34" y="197"/>
                    <a:pt x="34" y="197"/>
                    <a:pt x="34" y="197"/>
                  </a:cubicBezTo>
                  <a:cubicBezTo>
                    <a:pt x="27" y="231"/>
                    <a:pt x="27" y="231"/>
                    <a:pt x="27" y="231"/>
                  </a:cubicBezTo>
                  <a:cubicBezTo>
                    <a:pt x="25" y="240"/>
                    <a:pt x="25" y="240"/>
                    <a:pt x="25" y="240"/>
                  </a:cubicBezTo>
                  <a:cubicBezTo>
                    <a:pt x="31" y="233"/>
                    <a:pt x="31" y="233"/>
                    <a:pt x="31" y="233"/>
                  </a:cubicBezTo>
                  <a:cubicBezTo>
                    <a:pt x="55" y="207"/>
                    <a:pt x="55" y="207"/>
                    <a:pt x="55" y="207"/>
                  </a:cubicBezTo>
                  <a:cubicBezTo>
                    <a:pt x="87" y="173"/>
                    <a:pt x="87" y="173"/>
                    <a:pt x="87" y="173"/>
                  </a:cubicBezTo>
                  <a:cubicBezTo>
                    <a:pt x="100" y="176"/>
                    <a:pt x="113" y="178"/>
                    <a:pt x="127" y="178"/>
                  </a:cubicBezTo>
                  <a:cubicBezTo>
                    <a:pt x="160" y="178"/>
                    <a:pt x="192" y="169"/>
                    <a:pt x="215" y="153"/>
                  </a:cubicBezTo>
                  <a:cubicBezTo>
                    <a:pt x="241" y="136"/>
                    <a:pt x="255" y="113"/>
                    <a:pt x="255" y="89"/>
                  </a:cubicBezTo>
                  <a:cubicBezTo>
                    <a:pt x="255" y="64"/>
                    <a:pt x="241" y="41"/>
                    <a:pt x="215" y="24"/>
                  </a:cubicBezTo>
                  <a:close/>
                  <a:moveTo>
                    <a:pt x="59" y="149"/>
                  </a:moveTo>
                  <a:cubicBezTo>
                    <a:pt x="59" y="147"/>
                    <a:pt x="59" y="147"/>
                    <a:pt x="59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30" y="132"/>
                    <a:pt x="15" y="111"/>
                    <a:pt x="15" y="89"/>
                  </a:cubicBezTo>
                  <a:cubicBezTo>
                    <a:pt x="15" y="48"/>
                    <a:pt x="65" y="15"/>
                    <a:pt x="127" y="15"/>
                  </a:cubicBezTo>
                  <a:cubicBezTo>
                    <a:pt x="189" y="15"/>
                    <a:pt x="240" y="48"/>
                    <a:pt x="240" y="89"/>
                  </a:cubicBezTo>
                  <a:cubicBezTo>
                    <a:pt x="240" y="129"/>
                    <a:pt x="189" y="163"/>
                    <a:pt x="127" y="163"/>
                  </a:cubicBezTo>
                  <a:cubicBezTo>
                    <a:pt x="112" y="163"/>
                    <a:pt x="97" y="161"/>
                    <a:pt x="83" y="157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1" y="158"/>
                    <a:pt x="81" y="158"/>
                    <a:pt x="81" y="158"/>
                  </a:cubicBezTo>
                  <a:cubicBezTo>
                    <a:pt x="50" y="191"/>
                    <a:pt x="50" y="191"/>
                    <a:pt x="50" y="191"/>
                  </a:cubicBezTo>
                  <a:lnTo>
                    <a:pt x="59" y="1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3223" tIns="46611" rIns="93223" bIns="46611" numCol="1" anchor="t" anchorCtr="0" compatLnSpc="1"/>
            <a:lstStyle/>
            <a:p>
              <a:pPr defTabSz="931545">
                <a:defRPr/>
              </a:pPr>
              <a:endParaRPr lang="en-US" sz="1400" kern="0">
                <a:solidFill>
                  <a:srgbClr val="4D4D4D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70" name="Freeform 169"/>
            <p:cNvSpPr/>
            <p:nvPr/>
          </p:nvSpPr>
          <p:spPr bwMode="auto">
            <a:xfrm>
              <a:off x="9515109" y="2689857"/>
              <a:ext cx="667596" cy="660264"/>
            </a:xfrm>
            <a:custGeom>
              <a:avLst/>
              <a:gdLst/>
              <a:ahLst/>
              <a:cxnLst>
                <a:cxn ang="0">
                  <a:pos x="203" y="74"/>
                </a:cxn>
                <a:cxn ang="0">
                  <a:pos x="170" y="20"/>
                </a:cxn>
                <a:cxn ang="0">
                  <a:pos x="98" y="0"/>
                </a:cxn>
                <a:cxn ang="0">
                  <a:pos x="95" y="0"/>
                </a:cxn>
                <a:cxn ang="0">
                  <a:pos x="95" y="3"/>
                </a:cxn>
                <a:cxn ang="0">
                  <a:pos x="96" y="11"/>
                </a:cxn>
                <a:cxn ang="0">
                  <a:pos x="96" y="13"/>
                </a:cxn>
                <a:cxn ang="0">
                  <a:pos x="99" y="13"/>
                </a:cxn>
                <a:cxn ang="0">
                  <a:pos x="190" y="74"/>
                </a:cxn>
                <a:cxn ang="0">
                  <a:pos x="155" y="121"/>
                </a:cxn>
                <a:cxn ang="0">
                  <a:pos x="153" y="122"/>
                </a:cxn>
                <a:cxn ang="0">
                  <a:pos x="153" y="124"/>
                </a:cxn>
                <a:cxn ang="0">
                  <a:pos x="160" y="157"/>
                </a:cxn>
                <a:cxn ang="0">
                  <a:pos x="136" y="130"/>
                </a:cxn>
                <a:cxn ang="0">
                  <a:pos x="134" y="129"/>
                </a:cxn>
                <a:cxn ang="0">
                  <a:pos x="133" y="130"/>
                </a:cxn>
                <a:cxn ang="0">
                  <a:pos x="97" y="134"/>
                </a:cxn>
                <a:cxn ang="0">
                  <a:pos x="15" y="102"/>
                </a:cxn>
                <a:cxn ang="0">
                  <a:pos x="14" y="100"/>
                </a:cxn>
                <a:cxn ang="0">
                  <a:pos x="12" y="101"/>
                </a:cxn>
                <a:cxn ang="0">
                  <a:pos x="4" y="103"/>
                </a:cxn>
                <a:cxn ang="0">
                  <a:pos x="0" y="104"/>
                </a:cxn>
                <a:cxn ang="0">
                  <a:pos x="2" y="107"/>
                </a:cxn>
                <a:cxn ang="0">
                  <a:pos x="24" y="127"/>
                </a:cxn>
                <a:cxn ang="0">
                  <a:pos x="97" y="148"/>
                </a:cxn>
                <a:cxn ang="0">
                  <a:pos x="130" y="144"/>
                </a:cxn>
                <a:cxn ang="0">
                  <a:pos x="156" y="172"/>
                </a:cxn>
                <a:cxn ang="0">
                  <a:pos x="176" y="194"/>
                </a:cxn>
                <a:cxn ang="0">
                  <a:pos x="182" y="200"/>
                </a:cxn>
                <a:cxn ang="0">
                  <a:pos x="180" y="192"/>
                </a:cxn>
                <a:cxn ang="0">
                  <a:pos x="175" y="163"/>
                </a:cxn>
                <a:cxn ang="0">
                  <a:pos x="168" y="129"/>
                </a:cxn>
                <a:cxn ang="0">
                  <a:pos x="203" y="74"/>
                </a:cxn>
              </a:cxnLst>
              <a:rect l="0" t="0" r="r" b="b"/>
              <a:pathLst>
                <a:path w="203" h="200">
                  <a:moveTo>
                    <a:pt x="203" y="74"/>
                  </a:moveTo>
                  <a:cubicBezTo>
                    <a:pt x="203" y="53"/>
                    <a:pt x="191" y="34"/>
                    <a:pt x="170" y="20"/>
                  </a:cubicBezTo>
                  <a:cubicBezTo>
                    <a:pt x="151" y="7"/>
                    <a:pt x="125" y="0"/>
                    <a:pt x="98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6" y="5"/>
                    <a:pt x="96" y="8"/>
                    <a:pt x="96" y="11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149" y="14"/>
                    <a:pt x="190" y="41"/>
                    <a:pt x="190" y="74"/>
                  </a:cubicBezTo>
                  <a:cubicBezTo>
                    <a:pt x="190" y="92"/>
                    <a:pt x="177" y="110"/>
                    <a:pt x="155" y="121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60" y="157"/>
                    <a:pt x="160" y="157"/>
                    <a:pt x="160" y="157"/>
                  </a:cubicBezTo>
                  <a:cubicBezTo>
                    <a:pt x="136" y="130"/>
                    <a:pt x="136" y="130"/>
                    <a:pt x="136" y="130"/>
                  </a:cubicBezTo>
                  <a:cubicBezTo>
                    <a:pt x="134" y="129"/>
                    <a:pt x="134" y="129"/>
                    <a:pt x="134" y="129"/>
                  </a:cubicBezTo>
                  <a:cubicBezTo>
                    <a:pt x="133" y="130"/>
                    <a:pt x="133" y="130"/>
                    <a:pt x="133" y="130"/>
                  </a:cubicBezTo>
                  <a:cubicBezTo>
                    <a:pt x="122" y="133"/>
                    <a:pt x="109" y="134"/>
                    <a:pt x="97" y="134"/>
                  </a:cubicBezTo>
                  <a:cubicBezTo>
                    <a:pt x="62" y="134"/>
                    <a:pt x="31" y="122"/>
                    <a:pt x="15" y="102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0" y="102"/>
                    <a:pt x="7" y="102"/>
                    <a:pt x="4" y="103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8" y="115"/>
                    <a:pt x="15" y="121"/>
                    <a:pt x="24" y="127"/>
                  </a:cubicBezTo>
                  <a:cubicBezTo>
                    <a:pt x="44" y="141"/>
                    <a:pt x="70" y="148"/>
                    <a:pt x="97" y="148"/>
                  </a:cubicBezTo>
                  <a:cubicBezTo>
                    <a:pt x="108" y="148"/>
                    <a:pt x="119" y="147"/>
                    <a:pt x="130" y="144"/>
                  </a:cubicBezTo>
                  <a:cubicBezTo>
                    <a:pt x="156" y="172"/>
                    <a:pt x="156" y="172"/>
                    <a:pt x="156" y="172"/>
                  </a:cubicBezTo>
                  <a:cubicBezTo>
                    <a:pt x="176" y="194"/>
                    <a:pt x="176" y="194"/>
                    <a:pt x="176" y="194"/>
                  </a:cubicBezTo>
                  <a:cubicBezTo>
                    <a:pt x="182" y="200"/>
                    <a:pt x="182" y="200"/>
                    <a:pt x="182" y="200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75" y="163"/>
                    <a:pt x="175" y="163"/>
                    <a:pt x="175" y="163"/>
                  </a:cubicBezTo>
                  <a:cubicBezTo>
                    <a:pt x="168" y="129"/>
                    <a:pt x="168" y="129"/>
                    <a:pt x="168" y="129"/>
                  </a:cubicBezTo>
                  <a:cubicBezTo>
                    <a:pt x="190" y="115"/>
                    <a:pt x="203" y="95"/>
                    <a:pt x="203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3223" tIns="46611" rIns="93223" bIns="46611" numCol="1" anchor="t" anchorCtr="0" compatLnSpc="1"/>
            <a:lstStyle/>
            <a:p>
              <a:pPr defTabSz="931545">
                <a:defRPr/>
              </a:pPr>
              <a:endParaRPr lang="en-US" sz="1400" kern="0">
                <a:solidFill>
                  <a:srgbClr val="4D4D4D"/>
                </a:solidFill>
                <a:ea typeface="MS PGothic" panose="020B0600070205080204" pitchFamily="34" charset="-128"/>
              </a:endParaRPr>
            </a:p>
          </p:txBody>
        </p:sp>
      </p:grpSp>
      <p:pic>
        <p:nvPicPr>
          <p:cNvPr id="180" name="Picture 14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544" y="4011910"/>
            <a:ext cx="619880" cy="661207"/>
          </a:xfrm>
          <a:prstGeom prst="rect">
            <a:avLst/>
          </a:prstGeom>
        </p:spPr>
      </p:pic>
      <p:pic>
        <p:nvPicPr>
          <p:cNvPr id="181" name="Picture 15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75085" y="2881510"/>
            <a:ext cx="726088" cy="693819"/>
          </a:xfrm>
          <a:prstGeom prst="rect">
            <a:avLst/>
          </a:prstGeom>
        </p:spPr>
      </p:pic>
      <p:pic>
        <p:nvPicPr>
          <p:cNvPr id="186" name="Picture 4" descr="\\MAGNUM\Projects\Microsoft\Cloud Power FY12\Design\ICONS_PNG\Check_mark.png"/>
          <p:cNvPicPr>
            <a:picLocks noChangeArrowheads="1"/>
          </p:cNvPicPr>
          <p:nvPr/>
        </p:nvPicPr>
        <p:blipFill rotWithShape="1">
          <a:blip r:embed="rId11" cstate="print">
            <a:lum bright="100000"/>
          </a:blip>
          <a:srcRect t="11515"/>
          <a:stretch>
            <a:fillRect/>
          </a:stretch>
        </p:blipFill>
        <p:spPr bwMode="auto">
          <a:xfrm>
            <a:off x="2937922" y="4041949"/>
            <a:ext cx="865505" cy="721856"/>
          </a:xfrm>
          <a:prstGeom prst="rect">
            <a:avLst/>
          </a:prstGeom>
          <a:noFill/>
        </p:spPr>
      </p:pic>
      <p:sp>
        <p:nvSpPr>
          <p:cNvPr id="187" name="Freeform 95"/>
          <p:cNvSpPr/>
          <p:nvPr/>
        </p:nvSpPr>
        <p:spPr bwMode="black">
          <a:xfrm>
            <a:off x="5538130" y="1763782"/>
            <a:ext cx="690054" cy="607734"/>
          </a:xfrm>
          <a:custGeom>
            <a:avLst/>
            <a:gdLst>
              <a:gd name="T0" fmla="*/ 59 w 67"/>
              <a:gd name="T1" fmla="*/ 0 h 67"/>
              <a:gd name="T2" fmla="*/ 9 w 67"/>
              <a:gd name="T3" fmla="*/ 0 h 67"/>
              <a:gd name="T4" fmla="*/ 0 w 67"/>
              <a:gd name="T5" fmla="*/ 9 h 67"/>
              <a:gd name="T6" fmla="*/ 0 w 67"/>
              <a:gd name="T7" fmla="*/ 41 h 67"/>
              <a:gd name="T8" fmla="*/ 9 w 67"/>
              <a:gd name="T9" fmla="*/ 50 h 67"/>
              <a:gd name="T10" fmla="*/ 21 w 67"/>
              <a:gd name="T11" fmla="*/ 50 h 67"/>
              <a:gd name="T12" fmla="*/ 47 w 67"/>
              <a:gd name="T13" fmla="*/ 67 h 67"/>
              <a:gd name="T14" fmla="*/ 41 w 67"/>
              <a:gd name="T15" fmla="*/ 50 h 67"/>
              <a:gd name="T16" fmla="*/ 59 w 67"/>
              <a:gd name="T17" fmla="*/ 50 h 67"/>
              <a:gd name="T18" fmla="*/ 67 w 67"/>
              <a:gd name="T19" fmla="*/ 41 h 67"/>
              <a:gd name="T20" fmla="*/ 67 w 67"/>
              <a:gd name="T21" fmla="*/ 9 h 67"/>
              <a:gd name="T22" fmla="*/ 59 w 67"/>
              <a:gd name="T23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7" h="67">
                <a:moveTo>
                  <a:pt x="59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6"/>
                  <a:pt x="4" y="50"/>
                  <a:pt x="9" y="50"/>
                </a:cubicBezTo>
                <a:cubicBezTo>
                  <a:pt x="21" y="50"/>
                  <a:pt x="21" y="50"/>
                  <a:pt x="21" y="50"/>
                </a:cubicBezTo>
                <a:cubicBezTo>
                  <a:pt x="47" y="67"/>
                  <a:pt x="47" y="67"/>
                  <a:pt x="47" y="67"/>
                </a:cubicBezTo>
                <a:cubicBezTo>
                  <a:pt x="41" y="50"/>
                  <a:pt x="41" y="50"/>
                  <a:pt x="41" y="50"/>
                </a:cubicBezTo>
                <a:cubicBezTo>
                  <a:pt x="59" y="50"/>
                  <a:pt x="59" y="50"/>
                  <a:pt x="59" y="50"/>
                </a:cubicBezTo>
                <a:cubicBezTo>
                  <a:pt x="63" y="50"/>
                  <a:pt x="67" y="46"/>
                  <a:pt x="67" y="41"/>
                </a:cubicBezTo>
                <a:cubicBezTo>
                  <a:pt x="67" y="9"/>
                  <a:pt x="67" y="9"/>
                  <a:pt x="67" y="9"/>
                </a:cubicBezTo>
                <a:cubicBezTo>
                  <a:pt x="67" y="4"/>
                  <a:pt x="63" y="0"/>
                  <a:pt x="59" y="0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60" tIns="46630" rIns="93260" bIns="46630" numCol="1" anchor="t" anchorCtr="0" compatLnSpc="1"/>
          <a:lstStyle/>
          <a:p>
            <a:pPr defTabSz="932180"/>
            <a:endParaRPr lang="en-US">
              <a:solidFill>
                <a:srgbClr val="000000"/>
              </a:solidFill>
            </a:endParaRPr>
          </a:p>
        </p:txBody>
      </p:sp>
      <p:sp>
        <p:nvSpPr>
          <p:cNvPr id="188" name="Freeform 131"/>
          <p:cNvSpPr>
            <a:spLocks noChangeAspect="1" noEditPoints="1"/>
          </p:cNvSpPr>
          <p:nvPr/>
        </p:nvSpPr>
        <p:spPr bwMode="black">
          <a:xfrm>
            <a:off x="6699961" y="4076783"/>
            <a:ext cx="923421" cy="526704"/>
          </a:xfrm>
          <a:custGeom>
            <a:avLst/>
            <a:gdLst>
              <a:gd name="T0" fmla="*/ 63 w 78"/>
              <a:gd name="T1" fmla="*/ 46 h 46"/>
              <a:gd name="T2" fmla="*/ 15 w 78"/>
              <a:gd name="T3" fmla="*/ 46 h 46"/>
              <a:gd name="T4" fmla="*/ 15 w 78"/>
              <a:gd name="T5" fmla="*/ 37 h 46"/>
              <a:gd name="T6" fmla="*/ 63 w 78"/>
              <a:gd name="T7" fmla="*/ 37 h 46"/>
              <a:gd name="T8" fmla="*/ 63 w 78"/>
              <a:gd name="T9" fmla="*/ 46 h 46"/>
              <a:gd name="T10" fmla="*/ 70 w 78"/>
              <a:gd name="T11" fmla="*/ 0 h 46"/>
              <a:gd name="T12" fmla="*/ 15 w 78"/>
              <a:gd name="T13" fmla="*/ 0 h 46"/>
              <a:gd name="T14" fmla="*/ 15 w 78"/>
              <a:gd name="T15" fmla="*/ 9 h 46"/>
              <a:gd name="T16" fmla="*/ 70 w 78"/>
              <a:gd name="T17" fmla="*/ 9 h 46"/>
              <a:gd name="T18" fmla="*/ 70 w 78"/>
              <a:gd name="T19" fmla="*/ 0 h 46"/>
              <a:gd name="T20" fmla="*/ 78 w 78"/>
              <a:gd name="T21" fmla="*/ 18 h 46"/>
              <a:gd name="T22" fmla="*/ 15 w 78"/>
              <a:gd name="T23" fmla="*/ 18 h 46"/>
              <a:gd name="T24" fmla="*/ 15 w 78"/>
              <a:gd name="T25" fmla="*/ 28 h 46"/>
              <a:gd name="T26" fmla="*/ 78 w 78"/>
              <a:gd name="T27" fmla="*/ 28 h 46"/>
              <a:gd name="T28" fmla="*/ 78 w 78"/>
              <a:gd name="T29" fmla="*/ 18 h 46"/>
              <a:gd name="T30" fmla="*/ 4 w 78"/>
              <a:gd name="T31" fmla="*/ 9 h 46"/>
              <a:gd name="T32" fmla="*/ 9 w 78"/>
              <a:gd name="T33" fmla="*/ 4 h 46"/>
              <a:gd name="T34" fmla="*/ 4 w 78"/>
              <a:gd name="T35" fmla="*/ 0 h 46"/>
              <a:gd name="T36" fmla="*/ 0 w 78"/>
              <a:gd name="T37" fmla="*/ 4 h 46"/>
              <a:gd name="T38" fmla="*/ 4 w 78"/>
              <a:gd name="T39" fmla="*/ 9 h 46"/>
              <a:gd name="T40" fmla="*/ 4 w 78"/>
              <a:gd name="T41" fmla="*/ 18 h 46"/>
              <a:gd name="T42" fmla="*/ 0 w 78"/>
              <a:gd name="T43" fmla="*/ 23 h 46"/>
              <a:gd name="T44" fmla="*/ 4 w 78"/>
              <a:gd name="T45" fmla="*/ 28 h 46"/>
              <a:gd name="T46" fmla="*/ 9 w 78"/>
              <a:gd name="T47" fmla="*/ 23 h 46"/>
              <a:gd name="T48" fmla="*/ 4 w 78"/>
              <a:gd name="T49" fmla="*/ 18 h 46"/>
              <a:gd name="T50" fmla="*/ 4 w 78"/>
              <a:gd name="T51" fmla="*/ 37 h 46"/>
              <a:gd name="T52" fmla="*/ 0 w 78"/>
              <a:gd name="T53" fmla="*/ 41 h 46"/>
              <a:gd name="T54" fmla="*/ 4 w 78"/>
              <a:gd name="T55" fmla="*/ 46 h 46"/>
              <a:gd name="T56" fmla="*/ 9 w 78"/>
              <a:gd name="T57" fmla="*/ 41 h 46"/>
              <a:gd name="T58" fmla="*/ 4 w 78"/>
              <a:gd name="T59" fmla="*/ 3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8" h="46">
                <a:moveTo>
                  <a:pt x="63" y="46"/>
                </a:moveTo>
                <a:cubicBezTo>
                  <a:pt x="15" y="46"/>
                  <a:pt x="15" y="46"/>
                  <a:pt x="15" y="46"/>
                </a:cubicBezTo>
                <a:cubicBezTo>
                  <a:pt x="15" y="37"/>
                  <a:pt x="15" y="37"/>
                  <a:pt x="15" y="37"/>
                </a:cubicBezTo>
                <a:cubicBezTo>
                  <a:pt x="63" y="37"/>
                  <a:pt x="63" y="37"/>
                  <a:pt x="63" y="37"/>
                </a:cubicBezTo>
                <a:lnTo>
                  <a:pt x="63" y="46"/>
                </a:lnTo>
                <a:close/>
                <a:moveTo>
                  <a:pt x="70" y="0"/>
                </a:moveTo>
                <a:cubicBezTo>
                  <a:pt x="15" y="0"/>
                  <a:pt x="15" y="0"/>
                  <a:pt x="15" y="0"/>
                </a:cubicBezTo>
                <a:cubicBezTo>
                  <a:pt x="15" y="9"/>
                  <a:pt x="15" y="9"/>
                  <a:pt x="15" y="9"/>
                </a:cubicBezTo>
                <a:cubicBezTo>
                  <a:pt x="70" y="9"/>
                  <a:pt x="70" y="9"/>
                  <a:pt x="70" y="9"/>
                </a:cubicBezTo>
                <a:lnTo>
                  <a:pt x="70" y="0"/>
                </a:lnTo>
                <a:close/>
                <a:moveTo>
                  <a:pt x="78" y="18"/>
                </a:moveTo>
                <a:cubicBezTo>
                  <a:pt x="15" y="18"/>
                  <a:pt x="15" y="18"/>
                  <a:pt x="15" y="18"/>
                </a:cubicBezTo>
                <a:cubicBezTo>
                  <a:pt x="15" y="28"/>
                  <a:pt x="15" y="28"/>
                  <a:pt x="15" y="28"/>
                </a:cubicBezTo>
                <a:cubicBezTo>
                  <a:pt x="78" y="28"/>
                  <a:pt x="78" y="28"/>
                  <a:pt x="78" y="28"/>
                </a:cubicBezTo>
                <a:lnTo>
                  <a:pt x="78" y="18"/>
                </a:lnTo>
                <a:close/>
                <a:moveTo>
                  <a:pt x="4" y="9"/>
                </a:moveTo>
                <a:cubicBezTo>
                  <a:pt x="7" y="9"/>
                  <a:pt x="9" y="7"/>
                  <a:pt x="9" y="4"/>
                </a:cubicBezTo>
                <a:cubicBezTo>
                  <a:pt x="9" y="2"/>
                  <a:pt x="7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7"/>
                  <a:pt x="2" y="9"/>
                  <a:pt x="4" y="9"/>
                </a:cubicBezTo>
                <a:moveTo>
                  <a:pt x="4" y="18"/>
                </a:moveTo>
                <a:cubicBezTo>
                  <a:pt x="2" y="18"/>
                  <a:pt x="0" y="20"/>
                  <a:pt x="0" y="23"/>
                </a:cubicBezTo>
                <a:cubicBezTo>
                  <a:pt x="0" y="26"/>
                  <a:pt x="2" y="28"/>
                  <a:pt x="4" y="28"/>
                </a:cubicBezTo>
                <a:cubicBezTo>
                  <a:pt x="7" y="28"/>
                  <a:pt x="9" y="26"/>
                  <a:pt x="9" y="23"/>
                </a:cubicBezTo>
                <a:cubicBezTo>
                  <a:pt x="9" y="20"/>
                  <a:pt x="7" y="18"/>
                  <a:pt x="4" y="18"/>
                </a:cubicBezTo>
                <a:moveTo>
                  <a:pt x="4" y="37"/>
                </a:moveTo>
                <a:cubicBezTo>
                  <a:pt x="2" y="37"/>
                  <a:pt x="0" y="39"/>
                  <a:pt x="0" y="41"/>
                </a:cubicBezTo>
                <a:cubicBezTo>
                  <a:pt x="0" y="44"/>
                  <a:pt x="2" y="46"/>
                  <a:pt x="4" y="46"/>
                </a:cubicBezTo>
                <a:cubicBezTo>
                  <a:pt x="7" y="46"/>
                  <a:pt x="9" y="44"/>
                  <a:pt x="9" y="41"/>
                </a:cubicBezTo>
                <a:cubicBezTo>
                  <a:pt x="9" y="39"/>
                  <a:pt x="7" y="37"/>
                  <a:pt x="4" y="37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43" tIns="46620" rIns="93243" bIns="46620" numCol="1" anchor="t" anchorCtr="0" compatLnSpc="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89" name="Picture 3" descr="W:\Open Engagements\Productivity\MS-Unified Communications\#1601 BizProd MOD Team Core Content Work\New Iconography\Words\Draft\061312_Word_Icons\Social_061312_white-0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2710" y="1600977"/>
            <a:ext cx="933344" cy="933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2" name="Freeform 12"/>
          <p:cNvSpPr/>
          <p:nvPr/>
        </p:nvSpPr>
        <p:spPr bwMode="black">
          <a:xfrm>
            <a:off x="6711399" y="1734845"/>
            <a:ext cx="812929" cy="640781"/>
          </a:xfrm>
          <a:custGeom>
            <a:avLst/>
            <a:gdLst/>
            <a:ahLst/>
            <a:cxnLst/>
            <a:rect l="l" t="t" r="r" b="b"/>
            <a:pathLst>
              <a:path w="611218" h="481979">
                <a:moveTo>
                  <a:pt x="224745" y="94707"/>
                </a:moveTo>
                <a:cubicBezTo>
                  <a:pt x="347961" y="94707"/>
                  <a:pt x="448505" y="171589"/>
                  <a:pt x="448505" y="266213"/>
                </a:cubicBezTo>
                <a:cubicBezTo>
                  <a:pt x="448505" y="360837"/>
                  <a:pt x="347961" y="436734"/>
                  <a:pt x="224745" y="436734"/>
                </a:cubicBezTo>
                <a:cubicBezTo>
                  <a:pt x="202074" y="436734"/>
                  <a:pt x="181373" y="434763"/>
                  <a:pt x="161659" y="429834"/>
                </a:cubicBezTo>
                <a:cubicBezTo>
                  <a:pt x="135044" y="478132"/>
                  <a:pt x="86744" y="488974"/>
                  <a:pt x="44358" y="478132"/>
                </a:cubicBezTo>
                <a:cubicBezTo>
                  <a:pt x="69986" y="455462"/>
                  <a:pt x="92658" y="434763"/>
                  <a:pt x="109416" y="413078"/>
                </a:cubicBezTo>
                <a:cubicBezTo>
                  <a:pt x="43372" y="382522"/>
                  <a:pt x="0" y="328310"/>
                  <a:pt x="0" y="266213"/>
                </a:cubicBezTo>
                <a:cubicBezTo>
                  <a:pt x="0" y="171589"/>
                  <a:pt x="100544" y="94707"/>
                  <a:pt x="224745" y="94707"/>
                </a:cubicBezTo>
                <a:close/>
                <a:moveTo>
                  <a:pt x="386440" y="0"/>
                </a:moveTo>
                <a:cubicBezTo>
                  <a:pt x="510659" y="0"/>
                  <a:pt x="611218" y="76830"/>
                  <a:pt x="611218" y="170405"/>
                </a:cubicBezTo>
                <a:cubicBezTo>
                  <a:pt x="611218" y="232460"/>
                  <a:pt x="566854" y="287620"/>
                  <a:pt x="501787" y="317170"/>
                </a:cubicBezTo>
                <a:cubicBezTo>
                  <a:pt x="518546" y="338840"/>
                  <a:pt x="541221" y="360510"/>
                  <a:pt x="566854" y="382180"/>
                </a:cubicBezTo>
                <a:cubicBezTo>
                  <a:pt x="523476" y="393015"/>
                  <a:pt x="481083" y="383165"/>
                  <a:pt x="454465" y="334900"/>
                </a:cubicBezTo>
                <a:cubicBezTo>
                  <a:pt x="547137" y="154645"/>
                  <a:pt x="301656" y="47280"/>
                  <a:pt x="201097" y="73875"/>
                </a:cubicBezTo>
                <a:cubicBezTo>
                  <a:pt x="241518" y="29550"/>
                  <a:pt x="309542" y="0"/>
                  <a:pt x="38644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43" tIns="46620" rIns="93243" bIns="46620" numCol="1" anchor="t" anchorCtr="0" compatLnSpc="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8" name="Freeform 18"/>
          <p:cNvSpPr>
            <a:spLocks noChangeAspect="1" noEditPoints="1"/>
          </p:cNvSpPr>
          <p:nvPr/>
        </p:nvSpPr>
        <p:spPr bwMode="auto">
          <a:xfrm>
            <a:off x="395536" y="3003798"/>
            <a:ext cx="766210" cy="432048"/>
          </a:xfrm>
          <a:custGeom>
            <a:avLst/>
            <a:gdLst>
              <a:gd name="T0" fmla="*/ 364 w 780"/>
              <a:gd name="T1" fmla="*/ 241 h 440"/>
              <a:gd name="T2" fmla="*/ 5 w 780"/>
              <a:gd name="T3" fmla="*/ 27 h 440"/>
              <a:gd name="T4" fmla="*/ 48 w 780"/>
              <a:gd name="T5" fmla="*/ 0 h 440"/>
              <a:gd name="T6" fmla="*/ 732 w 780"/>
              <a:gd name="T7" fmla="*/ 0 h 440"/>
              <a:gd name="T8" fmla="*/ 775 w 780"/>
              <a:gd name="T9" fmla="*/ 27 h 440"/>
              <a:gd name="T10" fmla="*/ 416 w 780"/>
              <a:gd name="T11" fmla="*/ 240 h 440"/>
              <a:gd name="T12" fmla="*/ 416 w 780"/>
              <a:gd name="T13" fmla="*/ 241 h 440"/>
              <a:gd name="T14" fmla="*/ 390 w 780"/>
              <a:gd name="T15" fmla="*/ 247 h 440"/>
              <a:gd name="T16" fmla="*/ 364 w 780"/>
              <a:gd name="T17" fmla="*/ 241 h 440"/>
              <a:gd name="T18" fmla="*/ 780 w 780"/>
              <a:gd name="T19" fmla="*/ 324 h 440"/>
              <a:gd name="T20" fmla="*/ 780 w 780"/>
              <a:gd name="T21" fmla="*/ 66 h 440"/>
              <a:gd name="T22" fmla="*/ 563 w 780"/>
              <a:gd name="T23" fmla="*/ 195 h 440"/>
              <a:gd name="T24" fmla="*/ 780 w 780"/>
              <a:gd name="T25" fmla="*/ 324 h 440"/>
              <a:gd name="T26" fmla="*/ 0 w 780"/>
              <a:gd name="T27" fmla="*/ 392 h 440"/>
              <a:gd name="T28" fmla="*/ 48 w 780"/>
              <a:gd name="T29" fmla="*/ 440 h 440"/>
              <a:gd name="T30" fmla="*/ 732 w 780"/>
              <a:gd name="T31" fmla="*/ 440 h 440"/>
              <a:gd name="T32" fmla="*/ 780 w 780"/>
              <a:gd name="T33" fmla="*/ 392 h 440"/>
              <a:gd name="T34" fmla="*/ 780 w 780"/>
              <a:gd name="T35" fmla="*/ 366 h 440"/>
              <a:gd name="T36" fmla="*/ 528 w 780"/>
              <a:gd name="T37" fmla="*/ 216 h 440"/>
              <a:gd name="T38" fmla="*/ 435 w 780"/>
              <a:gd name="T39" fmla="*/ 271 h 440"/>
              <a:gd name="T40" fmla="*/ 390 w 780"/>
              <a:gd name="T41" fmla="*/ 283 h 440"/>
              <a:gd name="T42" fmla="*/ 390 w 780"/>
              <a:gd name="T43" fmla="*/ 283 h 440"/>
              <a:gd name="T44" fmla="*/ 344 w 780"/>
              <a:gd name="T45" fmla="*/ 271 h 440"/>
              <a:gd name="T46" fmla="*/ 252 w 780"/>
              <a:gd name="T47" fmla="*/ 216 h 440"/>
              <a:gd name="T48" fmla="*/ 0 w 780"/>
              <a:gd name="T49" fmla="*/ 366 h 440"/>
              <a:gd name="T50" fmla="*/ 0 w 780"/>
              <a:gd name="T51" fmla="*/ 392 h 440"/>
              <a:gd name="T52" fmla="*/ 217 w 780"/>
              <a:gd name="T53" fmla="*/ 195 h 440"/>
              <a:gd name="T54" fmla="*/ 0 w 780"/>
              <a:gd name="T55" fmla="*/ 66 h 440"/>
              <a:gd name="T56" fmla="*/ 0 w 780"/>
              <a:gd name="T57" fmla="*/ 324 h 440"/>
              <a:gd name="T58" fmla="*/ 217 w 780"/>
              <a:gd name="T59" fmla="*/ 195 h 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780" h="440">
                <a:moveTo>
                  <a:pt x="364" y="241"/>
                </a:moveTo>
                <a:cubicBezTo>
                  <a:pt x="5" y="27"/>
                  <a:pt x="5" y="27"/>
                  <a:pt x="5" y="27"/>
                </a:cubicBezTo>
                <a:cubicBezTo>
                  <a:pt x="13" y="11"/>
                  <a:pt x="29" y="0"/>
                  <a:pt x="48" y="0"/>
                </a:cubicBezTo>
                <a:cubicBezTo>
                  <a:pt x="732" y="0"/>
                  <a:pt x="732" y="0"/>
                  <a:pt x="732" y="0"/>
                </a:cubicBezTo>
                <a:cubicBezTo>
                  <a:pt x="751" y="0"/>
                  <a:pt x="767" y="11"/>
                  <a:pt x="775" y="27"/>
                </a:cubicBezTo>
                <a:cubicBezTo>
                  <a:pt x="416" y="240"/>
                  <a:pt x="416" y="240"/>
                  <a:pt x="416" y="240"/>
                </a:cubicBezTo>
                <a:cubicBezTo>
                  <a:pt x="416" y="241"/>
                  <a:pt x="416" y="241"/>
                  <a:pt x="416" y="241"/>
                </a:cubicBezTo>
                <a:cubicBezTo>
                  <a:pt x="409" y="245"/>
                  <a:pt x="400" y="247"/>
                  <a:pt x="390" y="247"/>
                </a:cubicBezTo>
                <a:cubicBezTo>
                  <a:pt x="380" y="247"/>
                  <a:pt x="370" y="245"/>
                  <a:pt x="364" y="241"/>
                </a:cubicBezTo>
                <a:close/>
                <a:moveTo>
                  <a:pt x="780" y="324"/>
                </a:moveTo>
                <a:cubicBezTo>
                  <a:pt x="780" y="66"/>
                  <a:pt x="780" y="66"/>
                  <a:pt x="780" y="66"/>
                </a:cubicBezTo>
                <a:cubicBezTo>
                  <a:pt x="563" y="195"/>
                  <a:pt x="563" y="195"/>
                  <a:pt x="563" y="195"/>
                </a:cubicBezTo>
                <a:lnTo>
                  <a:pt x="780" y="324"/>
                </a:lnTo>
                <a:close/>
                <a:moveTo>
                  <a:pt x="0" y="392"/>
                </a:moveTo>
                <a:cubicBezTo>
                  <a:pt x="0" y="419"/>
                  <a:pt x="21" y="440"/>
                  <a:pt x="48" y="440"/>
                </a:cubicBezTo>
                <a:cubicBezTo>
                  <a:pt x="732" y="440"/>
                  <a:pt x="732" y="440"/>
                  <a:pt x="732" y="440"/>
                </a:cubicBezTo>
                <a:cubicBezTo>
                  <a:pt x="758" y="440"/>
                  <a:pt x="780" y="419"/>
                  <a:pt x="780" y="392"/>
                </a:cubicBezTo>
                <a:cubicBezTo>
                  <a:pt x="780" y="366"/>
                  <a:pt x="780" y="366"/>
                  <a:pt x="780" y="366"/>
                </a:cubicBezTo>
                <a:cubicBezTo>
                  <a:pt x="528" y="216"/>
                  <a:pt x="528" y="216"/>
                  <a:pt x="528" y="216"/>
                </a:cubicBezTo>
                <a:cubicBezTo>
                  <a:pt x="435" y="271"/>
                  <a:pt x="435" y="271"/>
                  <a:pt x="435" y="271"/>
                </a:cubicBezTo>
                <a:cubicBezTo>
                  <a:pt x="423" y="279"/>
                  <a:pt x="407" y="283"/>
                  <a:pt x="390" y="283"/>
                </a:cubicBezTo>
                <a:cubicBezTo>
                  <a:pt x="390" y="283"/>
                  <a:pt x="390" y="283"/>
                  <a:pt x="390" y="283"/>
                </a:cubicBezTo>
                <a:cubicBezTo>
                  <a:pt x="373" y="283"/>
                  <a:pt x="357" y="279"/>
                  <a:pt x="344" y="271"/>
                </a:cubicBezTo>
                <a:cubicBezTo>
                  <a:pt x="252" y="216"/>
                  <a:pt x="252" y="216"/>
                  <a:pt x="252" y="216"/>
                </a:cubicBezTo>
                <a:cubicBezTo>
                  <a:pt x="0" y="366"/>
                  <a:pt x="0" y="366"/>
                  <a:pt x="0" y="366"/>
                </a:cubicBezTo>
                <a:lnTo>
                  <a:pt x="0" y="392"/>
                </a:lnTo>
                <a:close/>
                <a:moveTo>
                  <a:pt x="217" y="195"/>
                </a:moveTo>
                <a:cubicBezTo>
                  <a:pt x="0" y="66"/>
                  <a:pt x="0" y="66"/>
                  <a:pt x="0" y="66"/>
                </a:cubicBezTo>
                <a:cubicBezTo>
                  <a:pt x="0" y="324"/>
                  <a:pt x="0" y="324"/>
                  <a:pt x="0" y="324"/>
                </a:cubicBezTo>
                <a:lnTo>
                  <a:pt x="217" y="195"/>
                </a:lnTo>
                <a:close/>
              </a:path>
            </a:pathLst>
          </a:cu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3247" tIns="46623" rIns="93247" bIns="46623" numCol="1" anchor="t" anchorCtr="0" compatLnSpc="1"/>
          <a:lstStyle/>
          <a:p>
            <a:pPr defTabSz="931545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9" name="Picture 4" descr="\\MAGNUM\Projects\Microsoft\Cloud Power FY12\Design\ICONS_PNG\Document_Secure.png"/>
          <p:cNvPicPr>
            <a:picLocks noChangeAspect="1" noChangeArrowheads="1"/>
          </p:cNvPicPr>
          <p:nvPr/>
        </p:nvPicPr>
        <p:blipFill>
          <a:blip r:embed="rId13" cstate="print">
            <a:lum bright="100000"/>
          </a:blip>
          <a:srcRect/>
          <a:stretch>
            <a:fillRect/>
          </a:stretch>
        </p:blipFill>
        <p:spPr bwMode="auto">
          <a:xfrm>
            <a:off x="4088458" y="3802035"/>
            <a:ext cx="1099341" cy="109934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4" name="Freeform 49"/>
          <p:cNvSpPr>
            <a:spLocks noEditPoints="1"/>
          </p:cNvSpPr>
          <p:nvPr/>
        </p:nvSpPr>
        <p:spPr bwMode="black">
          <a:xfrm>
            <a:off x="443328" y="607173"/>
            <a:ext cx="672288" cy="616666"/>
          </a:xfrm>
          <a:custGeom>
            <a:avLst/>
            <a:gdLst>
              <a:gd name="T0" fmla="*/ 84 w 168"/>
              <a:gd name="T1" fmla="*/ 0 h 154"/>
              <a:gd name="T2" fmla="*/ 30 w 168"/>
              <a:gd name="T3" fmla="*/ 22 h 154"/>
              <a:gd name="T4" fmla="*/ 30 w 168"/>
              <a:gd name="T5" fmla="*/ 131 h 154"/>
              <a:gd name="T6" fmla="*/ 84 w 168"/>
              <a:gd name="T7" fmla="*/ 154 h 154"/>
              <a:gd name="T8" fmla="*/ 138 w 168"/>
              <a:gd name="T9" fmla="*/ 131 h 154"/>
              <a:gd name="T10" fmla="*/ 138 w 168"/>
              <a:gd name="T11" fmla="*/ 22 h 154"/>
              <a:gd name="T12" fmla="*/ 84 w 168"/>
              <a:gd name="T13" fmla="*/ 0 h 154"/>
              <a:gd name="T14" fmla="*/ 84 w 168"/>
              <a:gd name="T15" fmla="*/ 10 h 154"/>
              <a:gd name="T16" fmla="*/ 84 w 168"/>
              <a:gd name="T17" fmla="*/ 10 h 154"/>
              <a:gd name="T18" fmla="*/ 131 w 168"/>
              <a:gd name="T19" fmla="*/ 30 h 154"/>
              <a:gd name="T20" fmla="*/ 131 w 168"/>
              <a:gd name="T21" fmla="*/ 124 h 154"/>
              <a:gd name="T22" fmla="*/ 84 w 168"/>
              <a:gd name="T23" fmla="*/ 143 h 154"/>
              <a:gd name="T24" fmla="*/ 37 w 168"/>
              <a:gd name="T25" fmla="*/ 124 h 154"/>
              <a:gd name="T26" fmla="*/ 18 w 168"/>
              <a:gd name="T27" fmla="*/ 77 h 154"/>
              <a:gd name="T28" fmla="*/ 37 w 168"/>
              <a:gd name="T29" fmla="*/ 30 h 154"/>
              <a:gd name="T30" fmla="*/ 84 w 168"/>
              <a:gd name="T31" fmla="*/ 10 h 154"/>
              <a:gd name="T32" fmla="*/ 114 w 168"/>
              <a:gd name="T33" fmla="*/ 64 h 154"/>
              <a:gd name="T34" fmla="*/ 95 w 168"/>
              <a:gd name="T35" fmla="*/ 83 h 154"/>
              <a:gd name="T36" fmla="*/ 91 w 168"/>
              <a:gd name="T37" fmla="*/ 103 h 154"/>
              <a:gd name="T38" fmla="*/ 77 w 168"/>
              <a:gd name="T39" fmla="*/ 89 h 154"/>
              <a:gd name="T40" fmla="*/ 51 w 168"/>
              <a:gd name="T41" fmla="*/ 109 h 154"/>
              <a:gd name="T42" fmla="*/ 51 w 168"/>
              <a:gd name="T43" fmla="*/ 109 h 154"/>
              <a:gd name="T44" fmla="*/ 51 w 168"/>
              <a:gd name="T45" fmla="*/ 109 h 154"/>
              <a:gd name="T46" fmla="*/ 51 w 168"/>
              <a:gd name="T47" fmla="*/ 109 h 154"/>
              <a:gd name="T48" fmla="*/ 51 w 168"/>
              <a:gd name="T49" fmla="*/ 109 h 154"/>
              <a:gd name="T50" fmla="*/ 71 w 168"/>
              <a:gd name="T51" fmla="*/ 84 h 154"/>
              <a:gd name="T52" fmla="*/ 57 w 168"/>
              <a:gd name="T53" fmla="*/ 70 h 154"/>
              <a:gd name="T54" fmla="*/ 78 w 168"/>
              <a:gd name="T55" fmla="*/ 66 h 154"/>
              <a:gd name="T56" fmla="*/ 97 w 168"/>
              <a:gd name="T57" fmla="*/ 46 h 154"/>
              <a:gd name="T58" fmla="*/ 101 w 168"/>
              <a:gd name="T59" fmla="*/ 35 h 154"/>
              <a:gd name="T60" fmla="*/ 126 w 168"/>
              <a:gd name="T61" fmla="*/ 60 h 154"/>
              <a:gd name="T62" fmla="*/ 114 w 168"/>
              <a:gd name="T63" fmla="*/ 6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8" h="154">
                <a:moveTo>
                  <a:pt x="84" y="0"/>
                </a:moveTo>
                <a:cubicBezTo>
                  <a:pt x="64" y="0"/>
                  <a:pt x="45" y="7"/>
                  <a:pt x="30" y="22"/>
                </a:cubicBezTo>
                <a:cubicBezTo>
                  <a:pt x="0" y="52"/>
                  <a:pt x="0" y="101"/>
                  <a:pt x="30" y="131"/>
                </a:cubicBezTo>
                <a:cubicBezTo>
                  <a:pt x="45" y="146"/>
                  <a:pt x="64" y="154"/>
                  <a:pt x="84" y="154"/>
                </a:cubicBezTo>
                <a:cubicBezTo>
                  <a:pt x="104" y="154"/>
                  <a:pt x="123" y="146"/>
                  <a:pt x="138" y="131"/>
                </a:cubicBezTo>
                <a:cubicBezTo>
                  <a:pt x="168" y="101"/>
                  <a:pt x="168" y="52"/>
                  <a:pt x="138" y="22"/>
                </a:cubicBezTo>
                <a:cubicBezTo>
                  <a:pt x="123" y="7"/>
                  <a:pt x="104" y="0"/>
                  <a:pt x="84" y="0"/>
                </a:cubicBezTo>
                <a:moveTo>
                  <a:pt x="84" y="10"/>
                </a:moveTo>
                <a:cubicBezTo>
                  <a:pt x="84" y="10"/>
                  <a:pt x="84" y="10"/>
                  <a:pt x="84" y="10"/>
                </a:cubicBezTo>
                <a:cubicBezTo>
                  <a:pt x="102" y="10"/>
                  <a:pt x="118" y="17"/>
                  <a:pt x="131" y="30"/>
                </a:cubicBezTo>
                <a:cubicBezTo>
                  <a:pt x="157" y="56"/>
                  <a:pt x="157" y="98"/>
                  <a:pt x="131" y="124"/>
                </a:cubicBezTo>
                <a:cubicBezTo>
                  <a:pt x="118" y="136"/>
                  <a:pt x="102" y="143"/>
                  <a:pt x="84" y="143"/>
                </a:cubicBezTo>
                <a:cubicBezTo>
                  <a:pt x="66" y="143"/>
                  <a:pt x="50" y="136"/>
                  <a:pt x="37" y="124"/>
                </a:cubicBezTo>
                <a:cubicBezTo>
                  <a:pt x="25" y="111"/>
                  <a:pt x="18" y="94"/>
                  <a:pt x="18" y="77"/>
                </a:cubicBezTo>
                <a:cubicBezTo>
                  <a:pt x="18" y="59"/>
                  <a:pt x="25" y="42"/>
                  <a:pt x="37" y="30"/>
                </a:cubicBezTo>
                <a:cubicBezTo>
                  <a:pt x="50" y="17"/>
                  <a:pt x="66" y="10"/>
                  <a:pt x="84" y="10"/>
                </a:cubicBezTo>
                <a:moveTo>
                  <a:pt x="114" y="64"/>
                </a:moveTo>
                <a:cubicBezTo>
                  <a:pt x="95" y="83"/>
                  <a:pt x="95" y="83"/>
                  <a:pt x="95" y="83"/>
                </a:cubicBezTo>
                <a:cubicBezTo>
                  <a:pt x="98" y="90"/>
                  <a:pt x="97" y="98"/>
                  <a:pt x="91" y="103"/>
                </a:cubicBezTo>
                <a:cubicBezTo>
                  <a:pt x="77" y="89"/>
                  <a:pt x="77" y="89"/>
                  <a:pt x="77" y="89"/>
                </a:cubicBezTo>
                <a:cubicBezTo>
                  <a:pt x="62" y="102"/>
                  <a:pt x="53" y="110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9"/>
                  <a:pt x="51" y="109"/>
                  <a:pt x="51" y="109"/>
                </a:cubicBezTo>
                <a:cubicBezTo>
                  <a:pt x="51" y="108"/>
                  <a:pt x="58" y="98"/>
                  <a:pt x="71" y="84"/>
                </a:cubicBezTo>
                <a:cubicBezTo>
                  <a:pt x="57" y="70"/>
                  <a:pt x="57" y="70"/>
                  <a:pt x="57" y="70"/>
                </a:cubicBezTo>
                <a:cubicBezTo>
                  <a:pt x="63" y="64"/>
                  <a:pt x="71" y="63"/>
                  <a:pt x="78" y="66"/>
                </a:cubicBezTo>
                <a:cubicBezTo>
                  <a:pt x="97" y="46"/>
                  <a:pt x="97" y="46"/>
                  <a:pt x="97" y="46"/>
                </a:cubicBezTo>
                <a:cubicBezTo>
                  <a:pt x="96" y="42"/>
                  <a:pt x="97" y="38"/>
                  <a:pt x="101" y="35"/>
                </a:cubicBezTo>
                <a:cubicBezTo>
                  <a:pt x="126" y="60"/>
                  <a:pt x="126" y="60"/>
                  <a:pt x="126" y="60"/>
                </a:cubicBezTo>
                <a:cubicBezTo>
                  <a:pt x="123" y="63"/>
                  <a:pt x="118" y="65"/>
                  <a:pt x="114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Freeform 48"/>
          <p:cNvSpPr>
            <a:spLocks noEditPoints="1"/>
          </p:cNvSpPr>
          <p:nvPr/>
        </p:nvSpPr>
        <p:spPr bwMode="black">
          <a:xfrm>
            <a:off x="443328" y="1700394"/>
            <a:ext cx="672288" cy="672290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9 h 150"/>
              <a:gd name="T12" fmla="*/ 10 w 150"/>
              <a:gd name="T13" fmla="*/ 75 h 150"/>
              <a:gd name="T14" fmla="*/ 75 w 150"/>
              <a:gd name="T15" fmla="*/ 140 h 150"/>
              <a:gd name="T16" fmla="*/ 141 w 150"/>
              <a:gd name="T17" fmla="*/ 75 h 150"/>
              <a:gd name="T18" fmla="*/ 75 w 150"/>
              <a:gd name="T19" fmla="*/ 9 h 150"/>
              <a:gd name="T20" fmla="*/ 102 w 150"/>
              <a:gd name="T21" fmla="*/ 56 h 150"/>
              <a:gd name="T22" fmla="*/ 76 w 150"/>
              <a:gd name="T23" fmla="*/ 62 h 150"/>
              <a:gd name="T24" fmla="*/ 49 w 150"/>
              <a:gd name="T25" fmla="*/ 56 h 150"/>
              <a:gd name="T26" fmla="*/ 75 w 150"/>
              <a:gd name="T27" fmla="*/ 104 h 150"/>
              <a:gd name="T28" fmla="*/ 75 w 150"/>
              <a:gd name="T29" fmla="*/ 105 h 150"/>
              <a:gd name="T30" fmla="*/ 75 w 150"/>
              <a:gd name="T31" fmla="*/ 105 h 150"/>
              <a:gd name="T32" fmla="*/ 75 w 150"/>
              <a:gd name="T33" fmla="*/ 105 h 150"/>
              <a:gd name="T34" fmla="*/ 75 w 150"/>
              <a:gd name="T35" fmla="*/ 104 h 150"/>
              <a:gd name="T36" fmla="*/ 102 w 150"/>
              <a:gd name="T37" fmla="*/ 5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6"/>
                  <a:pt x="0" y="75"/>
                </a:cubicBezTo>
                <a:cubicBezTo>
                  <a:pt x="0" y="33"/>
                  <a:pt x="34" y="0"/>
                  <a:pt x="75" y="0"/>
                </a:cubicBezTo>
                <a:cubicBezTo>
                  <a:pt x="117" y="0"/>
                  <a:pt x="150" y="33"/>
                  <a:pt x="150" y="75"/>
                </a:cubicBezTo>
                <a:cubicBezTo>
                  <a:pt x="150" y="116"/>
                  <a:pt x="117" y="150"/>
                  <a:pt x="75" y="150"/>
                </a:cubicBezTo>
                <a:close/>
                <a:moveTo>
                  <a:pt x="75" y="9"/>
                </a:moveTo>
                <a:cubicBezTo>
                  <a:pt x="39" y="9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1" y="111"/>
                  <a:pt x="141" y="75"/>
                </a:cubicBezTo>
                <a:cubicBezTo>
                  <a:pt x="141" y="39"/>
                  <a:pt x="111" y="9"/>
                  <a:pt x="75" y="9"/>
                </a:cubicBezTo>
                <a:close/>
                <a:moveTo>
                  <a:pt x="102" y="56"/>
                </a:moveTo>
                <a:cubicBezTo>
                  <a:pt x="96" y="49"/>
                  <a:pt x="83" y="52"/>
                  <a:pt x="76" y="62"/>
                </a:cubicBezTo>
                <a:cubicBezTo>
                  <a:pt x="66" y="51"/>
                  <a:pt x="55" y="49"/>
                  <a:pt x="49" y="56"/>
                </a:cubicBezTo>
                <a:cubicBezTo>
                  <a:pt x="32" y="75"/>
                  <a:pt x="69" y="101"/>
                  <a:pt x="75" y="104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4"/>
                  <a:pt x="75" y="104"/>
                  <a:pt x="75" y="104"/>
                </a:cubicBezTo>
                <a:cubicBezTo>
                  <a:pt x="82" y="101"/>
                  <a:pt x="119" y="75"/>
                  <a:pt x="102" y="5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4" name="Freeform 44"/>
          <p:cNvSpPr>
            <a:spLocks noEditPoints="1"/>
          </p:cNvSpPr>
          <p:nvPr/>
        </p:nvSpPr>
        <p:spPr bwMode="black">
          <a:xfrm>
            <a:off x="443328" y="2811078"/>
            <a:ext cx="696778" cy="696776"/>
          </a:xfrm>
          <a:custGeom>
            <a:avLst/>
            <a:gdLst>
              <a:gd name="T0" fmla="*/ 81 w 149"/>
              <a:gd name="T1" fmla="*/ 87 h 149"/>
              <a:gd name="T2" fmla="*/ 62 w 149"/>
              <a:gd name="T3" fmla="*/ 81 h 149"/>
              <a:gd name="T4" fmla="*/ 68 w 149"/>
              <a:gd name="T5" fmla="*/ 62 h 149"/>
              <a:gd name="T6" fmla="*/ 87 w 149"/>
              <a:gd name="T7" fmla="*/ 68 h 149"/>
              <a:gd name="T8" fmla="*/ 81 w 149"/>
              <a:gd name="T9" fmla="*/ 87 h 149"/>
              <a:gd name="T10" fmla="*/ 105 w 149"/>
              <a:gd name="T11" fmla="*/ 72 h 149"/>
              <a:gd name="T12" fmla="*/ 102 w 149"/>
              <a:gd name="T13" fmla="*/ 62 h 149"/>
              <a:gd name="T14" fmla="*/ 94 w 149"/>
              <a:gd name="T15" fmla="*/ 63 h 149"/>
              <a:gd name="T16" fmla="*/ 91 w 149"/>
              <a:gd name="T17" fmla="*/ 59 h 149"/>
              <a:gd name="T18" fmla="*/ 94 w 149"/>
              <a:gd name="T19" fmla="*/ 51 h 149"/>
              <a:gd name="T20" fmla="*/ 85 w 149"/>
              <a:gd name="T21" fmla="*/ 46 h 149"/>
              <a:gd name="T22" fmla="*/ 80 w 149"/>
              <a:gd name="T23" fmla="*/ 53 h 149"/>
              <a:gd name="T24" fmla="*/ 74 w 149"/>
              <a:gd name="T25" fmla="*/ 52 h 149"/>
              <a:gd name="T26" fmla="*/ 71 w 149"/>
              <a:gd name="T27" fmla="*/ 44 h 149"/>
              <a:gd name="T28" fmla="*/ 61 w 149"/>
              <a:gd name="T29" fmla="*/ 47 h 149"/>
              <a:gd name="T30" fmla="*/ 62 w 149"/>
              <a:gd name="T31" fmla="*/ 55 h 149"/>
              <a:gd name="T32" fmla="*/ 59 w 149"/>
              <a:gd name="T33" fmla="*/ 58 h 149"/>
              <a:gd name="T34" fmla="*/ 51 w 149"/>
              <a:gd name="T35" fmla="*/ 55 h 149"/>
              <a:gd name="T36" fmla="*/ 46 w 149"/>
              <a:gd name="T37" fmla="*/ 64 h 149"/>
              <a:gd name="T38" fmla="*/ 52 w 149"/>
              <a:gd name="T39" fmla="*/ 69 h 149"/>
              <a:gd name="T40" fmla="*/ 51 w 149"/>
              <a:gd name="T41" fmla="*/ 74 h 149"/>
              <a:gd name="T42" fmla="*/ 44 w 149"/>
              <a:gd name="T43" fmla="*/ 77 h 149"/>
              <a:gd name="T44" fmla="*/ 47 w 149"/>
              <a:gd name="T45" fmla="*/ 87 h 149"/>
              <a:gd name="T46" fmla="*/ 55 w 149"/>
              <a:gd name="T47" fmla="*/ 86 h 149"/>
              <a:gd name="T48" fmla="*/ 58 w 149"/>
              <a:gd name="T49" fmla="*/ 91 h 149"/>
              <a:gd name="T50" fmla="*/ 55 w 149"/>
              <a:gd name="T51" fmla="*/ 98 h 149"/>
              <a:gd name="T52" fmla="*/ 64 w 149"/>
              <a:gd name="T53" fmla="*/ 103 h 149"/>
              <a:gd name="T54" fmla="*/ 69 w 149"/>
              <a:gd name="T55" fmla="*/ 97 h 149"/>
              <a:gd name="T56" fmla="*/ 74 w 149"/>
              <a:gd name="T57" fmla="*/ 97 h 149"/>
              <a:gd name="T58" fmla="*/ 77 w 149"/>
              <a:gd name="T59" fmla="*/ 105 h 149"/>
              <a:gd name="T60" fmla="*/ 87 w 149"/>
              <a:gd name="T61" fmla="*/ 102 h 149"/>
              <a:gd name="T62" fmla="*/ 86 w 149"/>
              <a:gd name="T63" fmla="*/ 94 h 149"/>
              <a:gd name="T64" fmla="*/ 90 w 149"/>
              <a:gd name="T65" fmla="*/ 91 h 149"/>
              <a:gd name="T66" fmla="*/ 98 w 149"/>
              <a:gd name="T67" fmla="*/ 94 h 149"/>
              <a:gd name="T68" fmla="*/ 103 w 149"/>
              <a:gd name="T69" fmla="*/ 85 h 149"/>
              <a:gd name="T70" fmla="*/ 96 w 149"/>
              <a:gd name="T71" fmla="*/ 80 h 149"/>
              <a:gd name="T72" fmla="*/ 97 w 149"/>
              <a:gd name="T73" fmla="*/ 75 h 149"/>
              <a:gd name="T74" fmla="*/ 105 w 149"/>
              <a:gd name="T75" fmla="*/ 72 h 149"/>
              <a:gd name="T76" fmla="*/ 79 w 149"/>
              <a:gd name="T77" fmla="*/ 72 h 149"/>
              <a:gd name="T78" fmla="*/ 72 w 149"/>
              <a:gd name="T79" fmla="*/ 70 h 149"/>
              <a:gd name="T80" fmla="*/ 70 w 149"/>
              <a:gd name="T81" fmla="*/ 77 h 149"/>
              <a:gd name="T82" fmla="*/ 77 w 149"/>
              <a:gd name="T83" fmla="*/ 79 h 149"/>
              <a:gd name="T84" fmla="*/ 79 w 149"/>
              <a:gd name="T85" fmla="*/ 72 h 149"/>
              <a:gd name="T86" fmla="*/ 74 w 149"/>
              <a:gd name="T87" fmla="*/ 9 h 149"/>
              <a:gd name="T88" fmla="*/ 9 w 149"/>
              <a:gd name="T89" fmla="*/ 75 h 149"/>
              <a:gd name="T90" fmla="*/ 74 w 149"/>
              <a:gd name="T91" fmla="*/ 140 h 149"/>
              <a:gd name="T92" fmla="*/ 140 w 149"/>
              <a:gd name="T93" fmla="*/ 75 h 149"/>
              <a:gd name="T94" fmla="*/ 74 w 149"/>
              <a:gd name="T95" fmla="*/ 9 h 149"/>
              <a:gd name="T96" fmla="*/ 74 w 149"/>
              <a:gd name="T97" fmla="*/ 0 h 149"/>
              <a:gd name="T98" fmla="*/ 149 w 149"/>
              <a:gd name="T99" fmla="*/ 75 h 149"/>
              <a:gd name="T100" fmla="*/ 74 w 149"/>
              <a:gd name="T101" fmla="*/ 149 h 149"/>
              <a:gd name="T102" fmla="*/ 0 w 149"/>
              <a:gd name="T103" fmla="*/ 75 h 149"/>
              <a:gd name="T104" fmla="*/ 74 w 149"/>
              <a:gd name="T105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" h="149">
                <a:moveTo>
                  <a:pt x="81" y="87"/>
                </a:moveTo>
                <a:cubicBezTo>
                  <a:pt x="74" y="91"/>
                  <a:pt x="65" y="88"/>
                  <a:pt x="62" y="81"/>
                </a:cubicBezTo>
                <a:cubicBezTo>
                  <a:pt x="58" y="74"/>
                  <a:pt x="61" y="66"/>
                  <a:pt x="68" y="62"/>
                </a:cubicBezTo>
                <a:cubicBezTo>
                  <a:pt x="75" y="58"/>
                  <a:pt x="83" y="61"/>
                  <a:pt x="87" y="68"/>
                </a:cubicBezTo>
                <a:cubicBezTo>
                  <a:pt x="91" y="75"/>
                  <a:pt x="88" y="84"/>
                  <a:pt x="81" y="87"/>
                </a:cubicBezTo>
                <a:moveTo>
                  <a:pt x="105" y="72"/>
                </a:moveTo>
                <a:cubicBezTo>
                  <a:pt x="102" y="62"/>
                  <a:pt x="102" y="62"/>
                  <a:pt x="102" y="62"/>
                </a:cubicBezTo>
                <a:cubicBezTo>
                  <a:pt x="94" y="63"/>
                  <a:pt x="94" y="63"/>
                  <a:pt x="94" y="63"/>
                </a:cubicBezTo>
                <a:cubicBezTo>
                  <a:pt x="93" y="62"/>
                  <a:pt x="92" y="60"/>
                  <a:pt x="91" y="59"/>
                </a:cubicBezTo>
                <a:cubicBezTo>
                  <a:pt x="94" y="51"/>
                  <a:pt x="94" y="51"/>
                  <a:pt x="94" y="51"/>
                </a:cubicBezTo>
                <a:cubicBezTo>
                  <a:pt x="85" y="46"/>
                  <a:pt x="85" y="46"/>
                  <a:pt x="85" y="46"/>
                </a:cubicBezTo>
                <a:cubicBezTo>
                  <a:pt x="80" y="53"/>
                  <a:pt x="80" y="53"/>
                  <a:pt x="80" y="53"/>
                </a:cubicBezTo>
                <a:cubicBezTo>
                  <a:pt x="78" y="52"/>
                  <a:pt x="76" y="52"/>
                  <a:pt x="74" y="52"/>
                </a:cubicBezTo>
                <a:cubicBezTo>
                  <a:pt x="71" y="44"/>
                  <a:pt x="71" y="44"/>
                  <a:pt x="71" y="44"/>
                </a:cubicBezTo>
                <a:cubicBezTo>
                  <a:pt x="61" y="47"/>
                  <a:pt x="61" y="47"/>
                  <a:pt x="61" y="47"/>
                </a:cubicBezTo>
                <a:cubicBezTo>
                  <a:pt x="62" y="55"/>
                  <a:pt x="62" y="55"/>
                  <a:pt x="62" y="55"/>
                </a:cubicBezTo>
                <a:cubicBezTo>
                  <a:pt x="61" y="56"/>
                  <a:pt x="60" y="57"/>
                  <a:pt x="59" y="58"/>
                </a:cubicBezTo>
                <a:cubicBezTo>
                  <a:pt x="51" y="55"/>
                  <a:pt x="51" y="55"/>
                  <a:pt x="51" y="55"/>
                </a:cubicBezTo>
                <a:cubicBezTo>
                  <a:pt x="46" y="64"/>
                  <a:pt x="46" y="64"/>
                  <a:pt x="46" y="64"/>
                </a:cubicBezTo>
                <a:cubicBezTo>
                  <a:pt x="52" y="69"/>
                  <a:pt x="52" y="69"/>
                  <a:pt x="52" y="69"/>
                </a:cubicBezTo>
                <a:cubicBezTo>
                  <a:pt x="52" y="71"/>
                  <a:pt x="51" y="72"/>
                  <a:pt x="51" y="74"/>
                </a:cubicBezTo>
                <a:cubicBezTo>
                  <a:pt x="44" y="77"/>
                  <a:pt x="44" y="77"/>
                  <a:pt x="44" y="77"/>
                </a:cubicBezTo>
                <a:cubicBezTo>
                  <a:pt x="47" y="87"/>
                  <a:pt x="47" y="87"/>
                  <a:pt x="47" y="87"/>
                </a:cubicBezTo>
                <a:cubicBezTo>
                  <a:pt x="55" y="86"/>
                  <a:pt x="55" y="86"/>
                  <a:pt x="55" y="86"/>
                </a:cubicBezTo>
                <a:cubicBezTo>
                  <a:pt x="56" y="88"/>
                  <a:pt x="57" y="89"/>
                  <a:pt x="58" y="91"/>
                </a:cubicBezTo>
                <a:cubicBezTo>
                  <a:pt x="55" y="98"/>
                  <a:pt x="55" y="98"/>
                  <a:pt x="55" y="98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69" y="97"/>
                  <a:pt x="69" y="97"/>
                  <a:pt x="69" y="97"/>
                </a:cubicBezTo>
                <a:cubicBezTo>
                  <a:pt x="70" y="97"/>
                  <a:pt x="72" y="97"/>
                  <a:pt x="74" y="97"/>
                </a:cubicBezTo>
                <a:cubicBezTo>
                  <a:pt x="77" y="105"/>
                  <a:pt x="77" y="105"/>
                  <a:pt x="77" y="105"/>
                </a:cubicBezTo>
                <a:cubicBezTo>
                  <a:pt x="87" y="102"/>
                  <a:pt x="87" y="102"/>
                  <a:pt x="87" y="102"/>
                </a:cubicBezTo>
                <a:cubicBezTo>
                  <a:pt x="86" y="94"/>
                  <a:pt x="86" y="94"/>
                  <a:pt x="86" y="94"/>
                </a:cubicBezTo>
                <a:cubicBezTo>
                  <a:pt x="88" y="93"/>
                  <a:pt x="89" y="92"/>
                  <a:pt x="90" y="91"/>
                </a:cubicBezTo>
                <a:cubicBezTo>
                  <a:pt x="98" y="94"/>
                  <a:pt x="98" y="94"/>
                  <a:pt x="98" y="94"/>
                </a:cubicBezTo>
                <a:cubicBezTo>
                  <a:pt x="103" y="85"/>
                  <a:pt x="103" y="85"/>
                  <a:pt x="103" y="85"/>
                </a:cubicBezTo>
                <a:cubicBezTo>
                  <a:pt x="96" y="80"/>
                  <a:pt x="96" y="80"/>
                  <a:pt x="96" y="80"/>
                </a:cubicBezTo>
                <a:cubicBezTo>
                  <a:pt x="97" y="78"/>
                  <a:pt x="97" y="77"/>
                  <a:pt x="97" y="75"/>
                </a:cubicBezTo>
                <a:lnTo>
                  <a:pt x="105" y="72"/>
                </a:lnTo>
                <a:close/>
                <a:moveTo>
                  <a:pt x="79" y="72"/>
                </a:moveTo>
                <a:cubicBezTo>
                  <a:pt x="78" y="70"/>
                  <a:pt x="75" y="69"/>
                  <a:pt x="72" y="70"/>
                </a:cubicBezTo>
                <a:cubicBezTo>
                  <a:pt x="70" y="71"/>
                  <a:pt x="69" y="74"/>
                  <a:pt x="70" y="77"/>
                </a:cubicBezTo>
                <a:cubicBezTo>
                  <a:pt x="71" y="80"/>
                  <a:pt x="74" y="81"/>
                  <a:pt x="77" y="79"/>
                </a:cubicBezTo>
                <a:cubicBezTo>
                  <a:pt x="79" y="78"/>
                  <a:pt x="80" y="75"/>
                  <a:pt x="79" y="72"/>
                </a:cubicBezTo>
                <a:moveTo>
                  <a:pt x="74" y="9"/>
                </a:moveTo>
                <a:cubicBezTo>
                  <a:pt x="38" y="9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0" y="140"/>
                  <a:pt x="140" y="111"/>
                  <a:pt x="140" y="75"/>
                </a:cubicBezTo>
                <a:cubicBezTo>
                  <a:pt x="140" y="39"/>
                  <a:pt x="110" y="9"/>
                  <a:pt x="74" y="9"/>
                </a:cubicBezTo>
                <a:moveTo>
                  <a:pt x="74" y="0"/>
                </a:moveTo>
                <a:cubicBezTo>
                  <a:pt x="116" y="0"/>
                  <a:pt x="149" y="33"/>
                  <a:pt x="149" y="75"/>
                </a:cubicBezTo>
                <a:cubicBezTo>
                  <a:pt x="149" y="116"/>
                  <a:pt x="116" y="149"/>
                  <a:pt x="74" y="149"/>
                </a:cubicBezTo>
                <a:cubicBezTo>
                  <a:pt x="33" y="149"/>
                  <a:pt x="0" y="116"/>
                  <a:pt x="0" y="75"/>
                </a:cubicBezTo>
                <a:cubicBezTo>
                  <a:pt x="0" y="33"/>
                  <a:pt x="33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9" name="Freeform 46"/>
          <p:cNvSpPr>
            <a:spLocks noEditPoints="1"/>
          </p:cNvSpPr>
          <p:nvPr/>
        </p:nvSpPr>
        <p:spPr bwMode="black">
          <a:xfrm>
            <a:off x="460656" y="4007581"/>
            <a:ext cx="726968" cy="652401"/>
          </a:xfrm>
          <a:custGeom>
            <a:avLst/>
            <a:gdLst>
              <a:gd name="T0" fmla="*/ 76 w 153"/>
              <a:gd name="T1" fmla="*/ 9 h 144"/>
              <a:gd name="T2" fmla="*/ 76 w 153"/>
              <a:gd name="T3" fmla="*/ 9 h 144"/>
              <a:gd name="T4" fmla="*/ 76 w 153"/>
              <a:gd name="T5" fmla="*/ 9 h 144"/>
              <a:gd name="T6" fmla="*/ 14 w 153"/>
              <a:gd name="T7" fmla="*/ 64 h 144"/>
              <a:gd name="T8" fmla="*/ 27 w 153"/>
              <a:gd name="T9" fmla="*/ 110 h 144"/>
              <a:gd name="T10" fmla="*/ 68 w 153"/>
              <a:gd name="T11" fmla="*/ 134 h 144"/>
              <a:gd name="T12" fmla="*/ 76 w 153"/>
              <a:gd name="T13" fmla="*/ 134 h 144"/>
              <a:gd name="T14" fmla="*/ 138 w 153"/>
              <a:gd name="T15" fmla="*/ 80 h 144"/>
              <a:gd name="T16" fmla="*/ 126 w 153"/>
              <a:gd name="T17" fmla="*/ 34 h 144"/>
              <a:gd name="T18" fmla="*/ 85 w 153"/>
              <a:gd name="T19" fmla="*/ 10 h 144"/>
              <a:gd name="T20" fmla="*/ 76 w 153"/>
              <a:gd name="T21" fmla="*/ 9 h 144"/>
              <a:gd name="T22" fmla="*/ 76 w 153"/>
              <a:gd name="T23" fmla="*/ 0 h 144"/>
              <a:gd name="T24" fmla="*/ 86 w 153"/>
              <a:gd name="T25" fmla="*/ 1 h 144"/>
              <a:gd name="T26" fmla="*/ 148 w 153"/>
              <a:gd name="T27" fmla="*/ 81 h 144"/>
              <a:gd name="T28" fmla="*/ 76 w 153"/>
              <a:gd name="T29" fmla="*/ 144 h 144"/>
              <a:gd name="T30" fmla="*/ 67 w 153"/>
              <a:gd name="T31" fmla="*/ 143 h 144"/>
              <a:gd name="T32" fmla="*/ 5 w 153"/>
              <a:gd name="T33" fmla="*/ 62 h 144"/>
              <a:gd name="T34" fmla="*/ 76 w 153"/>
              <a:gd name="T35" fmla="*/ 0 h 144"/>
              <a:gd name="T36" fmla="*/ 89 w 153"/>
              <a:gd name="T37" fmla="*/ 34 h 144"/>
              <a:gd name="T38" fmla="*/ 82 w 153"/>
              <a:gd name="T39" fmla="*/ 41 h 144"/>
              <a:gd name="T40" fmla="*/ 76 w 153"/>
              <a:gd name="T41" fmla="*/ 34 h 144"/>
              <a:gd name="T42" fmla="*/ 82 w 153"/>
              <a:gd name="T43" fmla="*/ 27 h 144"/>
              <a:gd name="T44" fmla="*/ 89 w 153"/>
              <a:gd name="T45" fmla="*/ 34 h 144"/>
              <a:gd name="T46" fmla="*/ 73 w 153"/>
              <a:gd name="T47" fmla="*/ 39 h 144"/>
              <a:gd name="T48" fmla="*/ 55 w 153"/>
              <a:gd name="T49" fmla="*/ 49 h 144"/>
              <a:gd name="T50" fmla="*/ 54 w 153"/>
              <a:gd name="T51" fmla="*/ 68 h 144"/>
              <a:gd name="T52" fmla="*/ 60 w 153"/>
              <a:gd name="T53" fmla="*/ 68 h 144"/>
              <a:gd name="T54" fmla="*/ 61 w 153"/>
              <a:gd name="T55" fmla="*/ 53 h 144"/>
              <a:gd name="T56" fmla="*/ 68 w 153"/>
              <a:gd name="T57" fmla="*/ 49 h 144"/>
              <a:gd name="T58" fmla="*/ 63 w 153"/>
              <a:gd name="T59" fmla="*/ 64 h 144"/>
              <a:gd name="T60" fmla="*/ 65 w 153"/>
              <a:gd name="T61" fmla="*/ 72 h 144"/>
              <a:gd name="T62" fmla="*/ 53 w 153"/>
              <a:gd name="T63" fmla="*/ 109 h 144"/>
              <a:gd name="T64" fmla="*/ 61 w 153"/>
              <a:gd name="T65" fmla="*/ 111 h 144"/>
              <a:gd name="T66" fmla="*/ 71 w 153"/>
              <a:gd name="T67" fmla="*/ 84 h 144"/>
              <a:gd name="T68" fmla="*/ 74 w 153"/>
              <a:gd name="T69" fmla="*/ 89 h 144"/>
              <a:gd name="T70" fmla="*/ 81 w 153"/>
              <a:gd name="T71" fmla="*/ 111 h 144"/>
              <a:gd name="T72" fmla="*/ 89 w 153"/>
              <a:gd name="T73" fmla="*/ 108 h 144"/>
              <a:gd name="T74" fmla="*/ 82 w 153"/>
              <a:gd name="T75" fmla="*/ 83 h 144"/>
              <a:gd name="T76" fmla="*/ 75 w 153"/>
              <a:gd name="T77" fmla="*/ 72 h 144"/>
              <a:gd name="T78" fmla="*/ 81 w 153"/>
              <a:gd name="T79" fmla="*/ 56 h 144"/>
              <a:gd name="T80" fmla="*/ 83 w 153"/>
              <a:gd name="T81" fmla="*/ 62 h 144"/>
              <a:gd name="T82" fmla="*/ 98 w 153"/>
              <a:gd name="T83" fmla="*/ 68 h 144"/>
              <a:gd name="T84" fmla="*/ 100 w 153"/>
              <a:gd name="T85" fmla="*/ 62 h 144"/>
              <a:gd name="T86" fmla="*/ 88 w 153"/>
              <a:gd name="T87" fmla="*/ 57 h 144"/>
              <a:gd name="T88" fmla="*/ 85 w 153"/>
              <a:gd name="T89" fmla="*/ 44 h 144"/>
              <a:gd name="T90" fmla="*/ 73 w 153"/>
              <a:gd name="T91" fmla="*/ 3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3" h="144">
                <a:moveTo>
                  <a:pt x="76" y="9"/>
                </a:moveTo>
                <a:cubicBezTo>
                  <a:pt x="76" y="9"/>
                  <a:pt x="76" y="9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45" y="9"/>
                  <a:pt x="19" y="33"/>
                  <a:pt x="14" y="64"/>
                </a:cubicBezTo>
                <a:cubicBezTo>
                  <a:pt x="12" y="80"/>
                  <a:pt x="16" y="97"/>
                  <a:pt x="27" y="110"/>
                </a:cubicBezTo>
                <a:cubicBezTo>
                  <a:pt x="37" y="123"/>
                  <a:pt x="51" y="132"/>
                  <a:pt x="68" y="134"/>
                </a:cubicBezTo>
                <a:cubicBezTo>
                  <a:pt x="71" y="134"/>
                  <a:pt x="74" y="134"/>
                  <a:pt x="76" y="134"/>
                </a:cubicBezTo>
                <a:cubicBezTo>
                  <a:pt x="107" y="134"/>
                  <a:pt x="134" y="111"/>
                  <a:pt x="138" y="80"/>
                </a:cubicBezTo>
                <a:cubicBezTo>
                  <a:pt x="140" y="64"/>
                  <a:pt x="136" y="47"/>
                  <a:pt x="126" y="34"/>
                </a:cubicBezTo>
                <a:cubicBezTo>
                  <a:pt x="116" y="21"/>
                  <a:pt x="101" y="12"/>
                  <a:pt x="85" y="10"/>
                </a:cubicBezTo>
                <a:cubicBezTo>
                  <a:pt x="82" y="10"/>
                  <a:pt x="79" y="9"/>
                  <a:pt x="76" y="9"/>
                </a:cubicBezTo>
                <a:moveTo>
                  <a:pt x="76" y="0"/>
                </a:moveTo>
                <a:cubicBezTo>
                  <a:pt x="79" y="0"/>
                  <a:pt x="83" y="0"/>
                  <a:pt x="86" y="1"/>
                </a:cubicBezTo>
                <a:cubicBezTo>
                  <a:pt x="125" y="6"/>
                  <a:pt x="153" y="42"/>
                  <a:pt x="148" y="81"/>
                </a:cubicBezTo>
                <a:cubicBezTo>
                  <a:pt x="143" y="118"/>
                  <a:pt x="112" y="144"/>
                  <a:pt x="76" y="144"/>
                </a:cubicBezTo>
                <a:cubicBezTo>
                  <a:pt x="73" y="144"/>
                  <a:pt x="70" y="144"/>
                  <a:pt x="67" y="143"/>
                </a:cubicBezTo>
                <a:cubicBezTo>
                  <a:pt x="27" y="138"/>
                  <a:pt x="0" y="102"/>
                  <a:pt x="5" y="62"/>
                </a:cubicBezTo>
                <a:cubicBezTo>
                  <a:pt x="10" y="26"/>
                  <a:pt x="41" y="0"/>
                  <a:pt x="76" y="0"/>
                </a:cubicBezTo>
                <a:moveTo>
                  <a:pt x="89" y="34"/>
                </a:moveTo>
                <a:cubicBezTo>
                  <a:pt x="89" y="38"/>
                  <a:pt x="86" y="41"/>
                  <a:pt x="82" y="41"/>
                </a:cubicBezTo>
                <a:cubicBezTo>
                  <a:pt x="79" y="41"/>
                  <a:pt x="76" y="38"/>
                  <a:pt x="76" y="34"/>
                </a:cubicBezTo>
                <a:cubicBezTo>
                  <a:pt x="76" y="30"/>
                  <a:pt x="79" y="27"/>
                  <a:pt x="82" y="27"/>
                </a:cubicBezTo>
                <a:cubicBezTo>
                  <a:pt x="86" y="27"/>
                  <a:pt x="89" y="30"/>
                  <a:pt x="89" y="34"/>
                </a:cubicBezTo>
                <a:moveTo>
                  <a:pt x="73" y="39"/>
                </a:moveTo>
                <a:cubicBezTo>
                  <a:pt x="55" y="49"/>
                  <a:pt x="55" y="49"/>
                  <a:pt x="55" y="49"/>
                </a:cubicBezTo>
                <a:cubicBezTo>
                  <a:pt x="54" y="68"/>
                  <a:pt x="54" y="68"/>
                  <a:pt x="54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61" y="53"/>
                  <a:pt x="61" y="53"/>
                  <a:pt x="61" y="53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4" y="62"/>
                  <a:pt x="63" y="64"/>
                </a:cubicBezTo>
                <a:cubicBezTo>
                  <a:pt x="63" y="66"/>
                  <a:pt x="64" y="70"/>
                  <a:pt x="65" y="72"/>
                </a:cubicBezTo>
                <a:cubicBezTo>
                  <a:pt x="53" y="109"/>
                  <a:pt x="53" y="109"/>
                  <a:pt x="53" y="109"/>
                </a:cubicBezTo>
                <a:cubicBezTo>
                  <a:pt x="61" y="111"/>
                  <a:pt x="61" y="111"/>
                  <a:pt x="61" y="111"/>
                </a:cubicBezTo>
                <a:cubicBezTo>
                  <a:pt x="71" y="84"/>
                  <a:pt x="71" y="84"/>
                  <a:pt x="71" y="84"/>
                </a:cubicBezTo>
                <a:cubicBezTo>
                  <a:pt x="74" y="89"/>
                  <a:pt x="74" y="89"/>
                  <a:pt x="74" y="8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82" y="83"/>
                  <a:pt x="82" y="83"/>
                  <a:pt x="82" y="83"/>
                </a:cubicBezTo>
                <a:cubicBezTo>
                  <a:pt x="75" y="72"/>
                  <a:pt x="75" y="72"/>
                  <a:pt x="75" y="72"/>
                </a:cubicBezTo>
                <a:cubicBezTo>
                  <a:pt x="81" y="56"/>
                  <a:pt x="81" y="56"/>
                  <a:pt x="81" y="56"/>
                </a:cubicBezTo>
                <a:cubicBezTo>
                  <a:pt x="83" y="62"/>
                  <a:pt x="83" y="62"/>
                  <a:pt x="83" y="62"/>
                </a:cubicBezTo>
                <a:cubicBezTo>
                  <a:pt x="98" y="68"/>
                  <a:pt x="98" y="68"/>
                  <a:pt x="98" y="68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88" y="57"/>
                  <a:pt x="88" y="57"/>
                  <a:pt x="88" y="57"/>
                </a:cubicBezTo>
                <a:cubicBezTo>
                  <a:pt x="85" y="44"/>
                  <a:pt x="85" y="44"/>
                  <a:pt x="85" y="44"/>
                </a:cubicBezTo>
                <a:lnTo>
                  <a:pt x="73" y="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4" name="Freeform 47"/>
          <p:cNvSpPr>
            <a:spLocks noEditPoints="1"/>
          </p:cNvSpPr>
          <p:nvPr/>
        </p:nvSpPr>
        <p:spPr bwMode="black">
          <a:xfrm>
            <a:off x="1763688" y="607173"/>
            <a:ext cx="621152" cy="618658"/>
          </a:xfrm>
          <a:custGeom>
            <a:avLst/>
            <a:gdLst>
              <a:gd name="T0" fmla="*/ 99 w 150"/>
              <a:gd name="T1" fmla="*/ 107 h 150"/>
              <a:gd name="T2" fmla="*/ 75 w 150"/>
              <a:gd name="T3" fmla="*/ 90 h 150"/>
              <a:gd name="T4" fmla="*/ 51 w 150"/>
              <a:gd name="T5" fmla="*/ 107 h 150"/>
              <a:gd name="T6" fmla="*/ 60 w 150"/>
              <a:gd name="T7" fmla="*/ 79 h 150"/>
              <a:gd name="T8" fmla="*/ 36 w 150"/>
              <a:gd name="T9" fmla="*/ 62 h 150"/>
              <a:gd name="T10" fmla="*/ 66 w 150"/>
              <a:gd name="T11" fmla="*/ 62 h 150"/>
              <a:gd name="T12" fmla="*/ 75 w 150"/>
              <a:gd name="T13" fmla="*/ 33 h 150"/>
              <a:gd name="T14" fmla="*/ 85 w 150"/>
              <a:gd name="T15" fmla="*/ 62 h 150"/>
              <a:gd name="T16" fmla="*/ 114 w 150"/>
              <a:gd name="T17" fmla="*/ 62 h 150"/>
              <a:gd name="T18" fmla="*/ 90 w 150"/>
              <a:gd name="T19" fmla="*/ 79 h 150"/>
              <a:gd name="T20" fmla="*/ 99 w 150"/>
              <a:gd name="T21" fmla="*/ 107 h 150"/>
              <a:gd name="T22" fmla="*/ 150 w 150"/>
              <a:gd name="T23" fmla="*/ 75 h 150"/>
              <a:gd name="T24" fmla="*/ 75 w 150"/>
              <a:gd name="T25" fmla="*/ 0 h 150"/>
              <a:gd name="T26" fmla="*/ 0 w 150"/>
              <a:gd name="T27" fmla="*/ 75 h 150"/>
              <a:gd name="T28" fmla="*/ 75 w 150"/>
              <a:gd name="T29" fmla="*/ 150 h 150"/>
              <a:gd name="T30" fmla="*/ 150 w 150"/>
              <a:gd name="T31" fmla="*/ 75 h 150"/>
              <a:gd name="T32" fmla="*/ 141 w 150"/>
              <a:gd name="T33" fmla="*/ 75 h 150"/>
              <a:gd name="T34" fmla="*/ 75 w 150"/>
              <a:gd name="T35" fmla="*/ 140 h 150"/>
              <a:gd name="T36" fmla="*/ 10 w 150"/>
              <a:gd name="T37" fmla="*/ 75 h 150"/>
              <a:gd name="T38" fmla="*/ 75 w 150"/>
              <a:gd name="T39" fmla="*/ 9 h 150"/>
              <a:gd name="T40" fmla="*/ 141 w 150"/>
              <a:gd name="T41" fmla="*/ 7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0" h="150">
                <a:moveTo>
                  <a:pt x="99" y="107"/>
                </a:moveTo>
                <a:cubicBezTo>
                  <a:pt x="75" y="90"/>
                  <a:pt x="75" y="90"/>
                  <a:pt x="75" y="90"/>
                </a:cubicBezTo>
                <a:cubicBezTo>
                  <a:pt x="51" y="107"/>
                  <a:pt x="51" y="107"/>
                  <a:pt x="51" y="107"/>
                </a:cubicBezTo>
                <a:cubicBezTo>
                  <a:pt x="60" y="79"/>
                  <a:pt x="60" y="79"/>
                  <a:pt x="60" y="79"/>
                </a:cubicBezTo>
                <a:cubicBezTo>
                  <a:pt x="36" y="62"/>
                  <a:pt x="36" y="62"/>
                  <a:pt x="36" y="62"/>
                </a:cubicBezTo>
                <a:cubicBezTo>
                  <a:pt x="66" y="62"/>
                  <a:pt x="66" y="62"/>
                  <a:pt x="66" y="62"/>
                </a:cubicBezTo>
                <a:cubicBezTo>
                  <a:pt x="75" y="33"/>
                  <a:pt x="75" y="33"/>
                  <a:pt x="75" y="33"/>
                </a:cubicBezTo>
                <a:cubicBezTo>
                  <a:pt x="85" y="62"/>
                  <a:pt x="85" y="62"/>
                  <a:pt x="85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90" y="79"/>
                  <a:pt x="90" y="79"/>
                  <a:pt x="90" y="79"/>
                </a:cubicBezTo>
                <a:lnTo>
                  <a:pt x="99" y="107"/>
                </a:lnTo>
                <a:close/>
                <a:moveTo>
                  <a:pt x="150" y="75"/>
                </a:moveTo>
                <a:cubicBezTo>
                  <a:pt x="150" y="33"/>
                  <a:pt x="117" y="0"/>
                  <a:pt x="75" y="0"/>
                </a:cubicBezTo>
                <a:cubicBezTo>
                  <a:pt x="34" y="0"/>
                  <a:pt x="0" y="33"/>
                  <a:pt x="0" y="75"/>
                </a:cubicBezTo>
                <a:cubicBezTo>
                  <a:pt x="0" y="116"/>
                  <a:pt x="34" y="150"/>
                  <a:pt x="75" y="150"/>
                </a:cubicBezTo>
                <a:cubicBezTo>
                  <a:pt x="117" y="150"/>
                  <a:pt x="150" y="116"/>
                  <a:pt x="150" y="75"/>
                </a:cubicBezTo>
                <a:close/>
                <a:moveTo>
                  <a:pt x="141" y="75"/>
                </a:moveTo>
                <a:cubicBezTo>
                  <a:pt x="141" y="111"/>
                  <a:pt x="111" y="140"/>
                  <a:pt x="75" y="140"/>
                </a:cubicBezTo>
                <a:cubicBezTo>
                  <a:pt x="39" y="140"/>
                  <a:pt x="10" y="111"/>
                  <a:pt x="10" y="75"/>
                </a:cubicBezTo>
                <a:cubicBezTo>
                  <a:pt x="10" y="38"/>
                  <a:pt x="39" y="9"/>
                  <a:pt x="75" y="9"/>
                </a:cubicBezTo>
                <a:cubicBezTo>
                  <a:pt x="111" y="9"/>
                  <a:pt x="141" y="38"/>
                  <a:pt x="141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5" name="Freeform 77"/>
          <p:cNvSpPr>
            <a:spLocks noEditPoints="1"/>
          </p:cNvSpPr>
          <p:nvPr/>
        </p:nvSpPr>
        <p:spPr bwMode="black">
          <a:xfrm>
            <a:off x="1691680" y="1704951"/>
            <a:ext cx="719881" cy="722783"/>
          </a:xfrm>
          <a:custGeom>
            <a:avLst/>
            <a:gdLst>
              <a:gd name="T0" fmla="*/ 108 w 150"/>
              <a:gd name="T1" fmla="*/ 104 h 150"/>
              <a:gd name="T2" fmla="*/ 42 w 150"/>
              <a:gd name="T3" fmla="*/ 104 h 150"/>
              <a:gd name="T4" fmla="*/ 38 w 150"/>
              <a:gd name="T5" fmla="*/ 100 h 150"/>
              <a:gd name="T6" fmla="*/ 38 w 150"/>
              <a:gd name="T7" fmla="*/ 50 h 150"/>
              <a:gd name="T8" fmla="*/ 42 w 150"/>
              <a:gd name="T9" fmla="*/ 46 h 150"/>
              <a:gd name="T10" fmla="*/ 108 w 150"/>
              <a:gd name="T11" fmla="*/ 46 h 150"/>
              <a:gd name="T12" fmla="*/ 112 w 150"/>
              <a:gd name="T13" fmla="*/ 50 h 150"/>
              <a:gd name="T14" fmla="*/ 112 w 150"/>
              <a:gd name="T15" fmla="*/ 100 h 150"/>
              <a:gd name="T16" fmla="*/ 108 w 150"/>
              <a:gd name="T17" fmla="*/ 104 h 150"/>
              <a:gd name="T18" fmla="*/ 45 w 150"/>
              <a:gd name="T19" fmla="*/ 96 h 150"/>
              <a:gd name="T20" fmla="*/ 105 w 150"/>
              <a:gd name="T21" fmla="*/ 96 h 150"/>
              <a:gd name="T22" fmla="*/ 105 w 150"/>
              <a:gd name="T23" fmla="*/ 62 h 150"/>
              <a:gd name="T24" fmla="*/ 77 w 150"/>
              <a:gd name="T25" fmla="*/ 84 h 150"/>
              <a:gd name="T26" fmla="*/ 72 w 150"/>
              <a:gd name="T27" fmla="*/ 84 h 150"/>
              <a:gd name="T28" fmla="*/ 45 w 150"/>
              <a:gd name="T29" fmla="*/ 63 h 150"/>
              <a:gd name="T30" fmla="*/ 45 w 150"/>
              <a:gd name="T31" fmla="*/ 96 h 150"/>
              <a:gd name="T32" fmla="*/ 46 w 150"/>
              <a:gd name="T33" fmla="*/ 54 h 150"/>
              <a:gd name="T34" fmla="*/ 74 w 150"/>
              <a:gd name="T35" fmla="*/ 76 h 150"/>
              <a:gd name="T36" fmla="*/ 103 w 150"/>
              <a:gd name="T37" fmla="*/ 54 h 150"/>
              <a:gd name="T38" fmla="*/ 46 w 150"/>
              <a:gd name="T39" fmla="*/ 54 h 150"/>
              <a:gd name="T40" fmla="*/ 75 w 150"/>
              <a:gd name="T41" fmla="*/ 10 h 150"/>
              <a:gd name="T42" fmla="*/ 10 w 150"/>
              <a:gd name="T43" fmla="*/ 75 h 150"/>
              <a:gd name="T44" fmla="*/ 75 w 150"/>
              <a:gd name="T45" fmla="*/ 140 h 150"/>
              <a:gd name="T46" fmla="*/ 140 w 150"/>
              <a:gd name="T47" fmla="*/ 75 h 150"/>
              <a:gd name="T48" fmla="*/ 75 w 150"/>
              <a:gd name="T49" fmla="*/ 10 h 150"/>
              <a:gd name="T50" fmla="*/ 75 w 150"/>
              <a:gd name="T51" fmla="*/ 0 h 150"/>
              <a:gd name="T52" fmla="*/ 150 w 150"/>
              <a:gd name="T53" fmla="*/ 75 h 150"/>
              <a:gd name="T54" fmla="*/ 75 w 150"/>
              <a:gd name="T55" fmla="*/ 150 h 150"/>
              <a:gd name="T56" fmla="*/ 0 w 150"/>
              <a:gd name="T57" fmla="*/ 75 h 150"/>
              <a:gd name="T58" fmla="*/ 75 w 150"/>
              <a:gd name="T59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0" h="150">
                <a:moveTo>
                  <a:pt x="108" y="104"/>
                </a:moveTo>
                <a:cubicBezTo>
                  <a:pt x="42" y="104"/>
                  <a:pt x="42" y="104"/>
                  <a:pt x="42" y="104"/>
                </a:cubicBezTo>
                <a:cubicBezTo>
                  <a:pt x="39" y="104"/>
                  <a:pt x="38" y="102"/>
                  <a:pt x="38" y="10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48"/>
                  <a:pt x="39" y="46"/>
                  <a:pt x="42" y="46"/>
                </a:cubicBezTo>
                <a:cubicBezTo>
                  <a:pt x="108" y="46"/>
                  <a:pt x="108" y="46"/>
                  <a:pt x="108" y="46"/>
                </a:cubicBezTo>
                <a:cubicBezTo>
                  <a:pt x="111" y="46"/>
                  <a:pt x="112" y="48"/>
                  <a:pt x="112" y="50"/>
                </a:cubicBezTo>
                <a:cubicBezTo>
                  <a:pt x="112" y="100"/>
                  <a:pt x="112" y="100"/>
                  <a:pt x="112" y="100"/>
                </a:cubicBezTo>
                <a:cubicBezTo>
                  <a:pt x="112" y="102"/>
                  <a:pt x="111" y="104"/>
                  <a:pt x="108" y="104"/>
                </a:cubicBezTo>
                <a:close/>
                <a:moveTo>
                  <a:pt x="45" y="96"/>
                </a:moveTo>
                <a:cubicBezTo>
                  <a:pt x="105" y="96"/>
                  <a:pt x="105" y="96"/>
                  <a:pt x="105" y="96"/>
                </a:cubicBezTo>
                <a:cubicBezTo>
                  <a:pt x="105" y="62"/>
                  <a:pt x="105" y="62"/>
                  <a:pt x="105" y="62"/>
                </a:cubicBezTo>
                <a:cubicBezTo>
                  <a:pt x="77" y="84"/>
                  <a:pt x="77" y="84"/>
                  <a:pt x="77" y="84"/>
                </a:cubicBezTo>
                <a:cubicBezTo>
                  <a:pt x="75" y="85"/>
                  <a:pt x="73" y="85"/>
                  <a:pt x="72" y="84"/>
                </a:cubicBezTo>
                <a:cubicBezTo>
                  <a:pt x="45" y="63"/>
                  <a:pt x="45" y="63"/>
                  <a:pt x="45" y="63"/>
                </a:cubicBezTo>
                <a:lnTo>
                  <a:pt x="45" y="96"/>
                </a:lnTo>
                <a:close/>
                <a:moveTo>
                  <a:pt x="46" y="54"/>
                </a:moveTo>
                <a:cubicBezTo>
                  <a:pt x="74" y="76"/>
                  <a:pt x="74" y="76"/>
                  <a:pt x="74" y="76"/>
                </a:cubicBezTo>
                <a:cubicBezTo>
                  <a:pt x="103" y="54"/>
                  <a:pt x="103" y="54"/>
                  <a:pt x="103" y="54"/>
                </a:cubicBezTo>
                <a:lnTo>
                  <a:pt x="46" y="54"/>
                </a:lnTo>
                <a:close/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5" y="10"/>
                </a:cubicBezTo>
                <a:moveTo>
                  <a:pt x="75" y="0"/>
                </a:move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6" name="Freeform 50"/>
          <p:cNvSpPr>
            <a:spLocks noEditPoints="1"/>
          </p:cNvSpPr>
          <p:nvPr/>
        </p:nvSpPr>
        <p:spPr bwMode="black">
          <a:xfrm>
            <a:off x="1691679" y="2824449"/>
            <a:ext cx="719881" cy="722807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7" name="Freeform 52"/>
          <p:cNvSpPr>
            <a:spLocks noEditPoints="1"/>
          </p:cNvSpPr>
          <p:nvPr/>
        </p:nvSpPr>
        <p:spPr bwMode="black">
          <a:xfrm>
            <a:off x="1731673" y="4011910"/>
            <a:ext cx="679887" cy="641257"/>
          </a:xfrm>
          <a:custGeom>
            <a:avLst/>
            <a:gdLst>
              <a:gd name="T0" fmla="*/ 96 w 160"/>
              <a:gd name="T1" fmla="*/ 76 h 150"/>
              <a:gd name="T2" fmla="*/ 89 w 160"/>
              <a:gd name="T3" fmla="*/ 72 h 150"/>
              <a:gd name="T4" fmla="*/ 94 w 160"/>
              <a:gd name="T5" fmla="*/ 66 h 150"/>
              <a:gd name="T6" fmla="*/ 101 w 160"/>
              <a:gd name="T7" fmla="*/ 71 h 150"/>
              <a:gd name="T8" fmla="*/ 101 w 160"/>
              <a:gd name="T9" fmla="*/ 86 h 150"/>
              <a:gd name="T10" fmla="*/ 94 w 160"/>
              <a:gd name="T11" fmla="*/ 91 h 150"/>
              <a:gd name="T12" fmla="*/ 89 w 160"/>
              <a:gd name="T13" fmla="*/ 85 h 150"/>
              <a:gd name="T14" fmla="*/ 96 w 160"/>
              <a:gd name="T15" fmla="*/ 81 h 150"/>
              <a:gd name="T16" fmla="*/ 101 w 160"/>
              <a:gd name="T17" fmla="*/ 86 h 150"/>
              <a:gd name="T18" fmla="*/ 96 w 160"/>
              <a:gd name="T19" fmla="*/ 105 h 150"/>
              <a:gd name="T20" fmla="*/ 89 w 160"/>
              <a:gd name="T21" fmla="*/ 100 h 150"/>
              <a:gd name="T22" fmla="*/ 94 w 160"/>
              <a:gd name="T23" fmla="*/ 95 h 150"/>
              <a:gd name="T24" fmla="*/ 101 w 160"/>
              <a:gd name="T25" fmla="*/ 100 h 150"/>
              <a:gd name="T26" fmla="*/ 81 w 160"/>
              <a:gd name="T27" fmla="*/ 76 h 150"/>
              <a:gd name="T28" fmla="*/ 74 w 160"/>
              <a:gd name="T29" fmla="*/ 72 h 150"/>
              <a:gd name="T30" fmla="*/ 79 w 160"/>
              <a:gd name="T31" fmla="*/ 66 h 150"/>
              <a:gd name="T32" fmla="*/ 86 w 160"/>
              <a:gd name="T33" fmla="*/ 71 h 150"/>
              <a:gd name="T34" fmla="*/ 86 w 160"/>
              <a:gd name="T35" fmla="*/ 86 h 150"/>
              <a:gd name="T36" fmla="*/ 79 w 160"/>
              <a:gd name="T37" fmla="*/ 91 h 150"/>
              <a:gd name="T38" fmla="*/ 74 w 160"/>
              <a:gd name="T39" fmla="*/ 85 h 150"/>
              <a:gd name="T40" fmla="*/ 81 w 160"/>
              <a:gd name="T41" fmla="*/ 81 h 150"/>
              <a:gd name="T42" fmla="*/ 86 w 160"/>
              <a:gd name="T43" fmla="*/ 86 h 150"/>
              <a:gd name="T44" fmla="*/ 81 w 160"/>
              <a:gd name="T45" fmla="*/ 105 h 150"/>
              <a:gd name="T46" fmla="*/ 74 w 160"/>
              <a:gd name="T47" fmla="*/ 100 h 150"/>
              <a:gd name="T48" fmla="*/ 79 w 160"/>
              <a:gd name="T49" fmla="*/ 95 h 150"/>
              <a:gd name="T50" fmla="*/ 86 w 160"/>
              <a:gd name="T51" fmla="*/ 100 h 150"/>
              <a:gd name="T52" fmla="*/ 66 w 160"/>
              <a:gd name="T53" fmla="*/ 76 h 150"/>
              <a:gd name="T54" fmla="*/ 59 w 160"/>
              <a:gd name="T55" fmla="*/ 72 h 150"/>
              <a:gd name="T56" fmla="*/ 64 w 160"/>
              <a:gd name="T57" fmla="*/ 66 h 150"/>
              <a:gd name="T58" fmla="*/ 71 w 160"/>
              <a:gd name="T59" fmla="*/ 71 h 150"/>
              <a:gd name="T60" fmla="*/ 71 w 160"/>
              <a:gd name="T61" fmla="*/ 86 h 150"/>
              <a:gd name="T62" fmla="*/ 64 w 160"/>
              <a:gd name="T63" fmla="*/ 91 h 150"/>
              <a:gd name="T64" fmla="*/ 59 w 160"/>
              <a:gd name="T65" fmla="*/ 85 h 150"/>
              <a:gd name="T66" fmla="*/ 66 w 160"/>
              <a:gd name="T67" fmla="*/ 81 h 150"/>
              <a:gd name="T68" fmla="*/ 71 w 160"/>
              <a:gd name="T69" fmla="*/ 86 h 150"/>
              <a:gd name="T70" fmla="*/ 66 w 160"/>
              <a:gd name="T71" fmla="*/ 105 h 150"/>
              <a:gd name="T72" fmla="*/ 59 w 160"/>
              <a:gd name="T73" fmla="*/ 100 h 150"/>
              <a:gd name="T74" fmla="*/ 64 w 160"/>
              <a:gd name="T75" fmla="*/ 95 h 150"/>
              <a:gd name="T76" fmla="*/ 71 w 160"/>
              <a:gd name="T77" fmla="*/ 100 h 150"/>
              <a:gd name="T78" fmla="*/ 64 w 160"/>
              <a:gd name="T79" fmla="*/ 46 h 150"/>
              <a:gd name="T80" fmla="*/ 100 w 160"/>
              <a:gd name="T81" fmla="*/ 50 h 150"/>
              <a:gd name="T82" fmla="*/ 96 w 160"/>
              <a:gd name="T83" fmla="*/ 59 h 150"/>
              <a:gd name="T84" fmla="*/ 60 w 160"/>
              <a:gd name="T85" fmla="*/ 55 h 150"/>
              <a:gd name="T86" fmla="*/ 59 w 160"/>
              <a:gd name="T87" fmla="*/ 39 h 150"/>
              <a:gd name="T88" fmla="*/ 54 w 160"/>
              <a:gd name="T89" fmla="*/ 106 h 150"/>
              <a:gd name="T90" fmla="*/ 101 w 160"/>
              <a:gd name="T91" fmla="*/ 111 h 150"/>
              <a:gd name="T92" fmla="*/ 106 w 160"/>
              <a:gd name="T93" fmla="*/ 44 h 150"/>
              <a:gd name="T94" fmla="*/ 59 w 160"/>
              <a:gd name="T95" fmla="*/ 39 h 150"/>
              <a:gd name="T96" fmla="*/ 15 w 160"/>
              <a:gd name="T97" fmla="*/ 66 h 150"/>
              <a:gd name="T98" fmla="*/ 71 w 160"/>
              <a:gd name="T99" fmla="*/ 140 h 150"/>
              <a:gd name="T100" fmla="*/ 145 w 160"/>
              <a:gd name="T101" fmla="*/ 84 h 150"/>
              <a:gd name="T102" fmla="*/ 89 w 160"/>
              <a:gd name="T103" fmla="*/ 10 h 150"/>
              <a:gd name="T104" fmla="*/ 80 w 160"/>
              <a:gd name="T105" fmla="*/ 0 h 150"/>
              <a:gd name="T106" fmla="*/ 154 w 160"/>
              <a:gd name="T107" fmla="*/ 85 h 150"/>
              <a:gd name="T108" fmla="*/ 70 w 160"/>
              <a:gd name="T109" fmla="*/ 149 h 150"/>
              <a:gd name="T110" fmla="*/ 80 w 160"/>
              <a:gd name="T111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0" h="150">
                <a:moveTo>
                  <a:pt x="101" y="72"/>
                </a:moveTo>
                <a:cubicBezTo>
                  <a:pt x="101" y="74"/>
                  <a:pt x="99" y="76"/>
                  <a:pt x="96" y="76"/>
                </a:cubicBezTo>
                <a:cubicBezTo>
                  <a:pt x="94" y="76"/>
                  <a:pt x="94" y="76"/>
                  <a:pt x="94" y="76"/>
                </a:cubicBezTo>
                <a:cubicBezTo>
                  <a:pt x="91" y="76"/>
                  <a:pt x="89" y="74"/>
                  <a:pt x="89" y="72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68"/>
                  <a:pt x="91" y="66"/>
                  <a:pt x="94" y="66"/>
                </a:cubicBezTo>
                <a:cubicBezTo>
                  <a:pt x="96" y="66"/>
                  <a:pt x="96" y="66"/>
                  <a:pt x="96" y="66"/>
                </a:cubicBezTo>
                <a:cubicBezTo>
                  <a:pt x="99" y="66"/>
                  <a:pt x="101" y="68"/>
                  <a:pt x="101" y="71"/>
                </a:cubicBezTo>
                <a:lnTo>
                  <a:pt x="101" y="72"/>
                </a:lnTo>
                <a:close/>
                <a:moveTo>
                  <a:pt x="101" y="86"/>
                </a:moveTo>
                <a:cubicBezTo>
                  <a:pt x="101" y="89"/>
                  <a:pt x="99" y="91"/>
                  <a:pt x="96" y="91"/>
                </a:cubicBezTo>
                <a:cubicBezTo>
                  <a:pt x="94" y="91"/>
                  <a:pt x="94" y="91"/>
                  <a:pt x="94" y="91"/>
                </a:cubicBezTo>
                <a:cubicBezTo>
                  <a:pt x="91" y="91"/>
                  <a:pt x="89" y="89"/>
                  <a:pt x="89" y="86"/>
                </a:cubicBezTo>
                <a:cubicBezTo>
                  <a:pt x="89" y="85"/>
                  <a:pt x="89" y="85"/>
                  <a:pt x="89" y="85"/>
                </a:cubicBezTo>
                <a:cubicBezTo>
                  <a:pt x="89" y="83"/>
                  <a:pt x="91" y="81"/>
                  <a:pt x="94" y="81"/>
                </a:cubicBezTo>
                <a:cubicBezTo>
                  <a:pt x="96" y="81"/>
                  <a:pt x="96" y="81"/>
                  <a:pt x="96" y="81"/>
                </a:cubicBezTo>
                <a:cubicBezTo>
                  <a:pt x="99" y="81"/>
                  <a:pt x="101" y="83"/>
                  <a:pt x="101" y="85"/>
                </a:cubicBezTo>
                <a:lnTo>
                  <a:pt x="101" y="86"/>
                </a:lnTo>
                <a:close/>
                <a:moveTo>
                  <a:pt x="101" y="100"/>
                </a:moveTo>
                <a:cubicBezTo>
                  <a:pt x="101" y="103"/>
                  <a:pt x="99" y="105"/>
                  <a:pt x="96" y="105"/>
                </a:cubicBezTo>
                <a:cubicBezTo>
                  <a:pt x="94" y="105"/>
                  <a:pt x="94" y="105"/>
                  <a:pt x="94" y="105"/>
                </a:cubicBezTo>
                <a:cubicBezTo>
                  <a:pt x="91" y="105"/>
                  <a:pt x="89" y="103"/>
                  <a:pt x="89" y="100"/>
                </a:cubicBezTo>
                <a:cubicBezTo>
                  <a:pt x="89" y="100"/>
                  <a:pt x="89" y="100"/>
                  <a:pt x="89" y="100"/>
                </a:cubicBezTo>
                <a:cubicBezTo>
                  <a:pt x="89" y="97"/>
                  <a:pt x="91" y="95"/>
                  <a:pt x="94" y="95"/>
                </a:cubicBezTo>
                <a:cubicBezTo>
                  <a:pt x="96" y="95"/>
                  <a:pt x="96" y="95"/>
                  <a:pt x="96" y="95"/>
                </a:cubicBezTo>
                <a:cubicBezTo>
                  <a:pt x="99" y="95"/>
                  <a:pt x="101" y="97"/>
                  <a:pt x="101" y="100"/>
                </a:cubicBezTo>
                <a:close/>
                <a:moveTo>
                  <a:pt x="86" y="72"/>
                </a:moveTo>
                <a:cubicBezTo>
                  <a:pt x="86" y="74"/>
                  <a:pt x="84" y="76"/>
                  <a:pt x="81" y="76"/>
                </a:cubicBezTo>
                <a:cubicBezTo>
                  <a:pt x="79" y="76"/>
                  <a:pt x="79" y="76"/>
                  <a:pt x="79" y="76"/>
                </a:cubicBezTo>
                <a:cubicBezTo>
                  <a:pt x="76" y="76"/>
                  <a:pt x="74" y="74"/>
                  <a:pt x="74" y="72"/>
                </a:cubicBezTo>
                <a:cubicBezTo>
                  <a:pt x="74" y="71"/>
                  <a:pt x="74" y="71"/>
                  <a:pt x="74" y="71"/>
                </a:cubicBezTo>
                <a:cubicBezTo>
                  <a:pt x="74" y="68"/>
                  <a:pt x="76" y="66"/>
                  <a:pt x="79" y="66"/>
                </a:cubicBezTo>
                <a:cubicBezTo>
                  <a:pt x="81" y="66"/>
                  <a:pt x="81" y="66"/>
                  <a:pt x="81" y="66"/>
                </a:cubicBezTo>
                <a:cubicBezTo>
                  <a:pt x="84" y="66"/>
                  <a:pt x="86" y="68"/>
                  <a:pt x="86" y="71"/>
                </a:cubicBezTo>
                <a:lnTo>
                  <a:pt x="86" y="72"/>
                </a:lnTo>
                <a:close/>
                <a:moveTo>
                  <a:pt x="86" y="86"/>
                </a:moveTo>
                <a:cubicBezTo>
                  <a:pt x="86" y="89"/>
                  <a:pt x="84" y="91"/>
                  <a:pt x="81" y="91"/>
                </a:cubicBezTo>
                <a:cubicBezTo>
                  <a:pt x="79" y="91"/>
                  <a:pt x="79" y="91"/>
                  <a:pt x="79" y="91"/>
                </a:cubicBezTo>
                <a:cubicBezTo>
                  <a:pt x="76" y="91"/>
                  <a:pt x="74" y="89"/>
                  <a:pt x="74" y="86"/>
                </a:cubicBezTo>
                <a:cubicBezTo>
                  <a:pt x="74" y="85"/>
                  <a:pt x="74" y="85"/>
                  <a:pt x="74" y="85"/>
                </a:cubicBezTo>
                <a:cubicBezTo>
                  <a:pt x="74" y="83"/>
                  <a:pt x="76" y="81"/>
                  <a:pt x="79" y="81"/>
                </a:cubicBezTo>
                <a:cubicBezTo>
                  <a:pt x="81" y="81"/>
                  <a:pt x="81" y="81"/>
                  <a:pt x="81" y="81"/>
                </a:cubicBezTo>
                <a:cubicBezTo>
                  <a:pt x="84" y="81"/>
                  <a:pt x="86" y="83"/>
                  <a:pt x="86" y="85"/>
                </a:cubicBezTo>
                <a:lnTo>
                  <a:pt x="86" y="86"/>
                </a:lnTo>
                <a:close/>
                <a:moveTo>
                  <a:pt x="86" y="100"/>
                </a:moveTo>
                <a:cubicBezTo>
                  <a:pt x="86" y="103"/>
                  <a:pt x="84" y="105"/>
                  <a:pt x="81" y="105"/>
                </a:cubicBezTo>
                <a:cubicBezTo>
                  <a:pt x="79" y="105"/>
                  <a:pt x="79" y="105"/>
                  <a:pt x="79" y="105"/>
                </a:cubicBezTo>
                <a:cubicBezTo>
                  <a:pt x="76" y="105"/>
                  <a:pt x="74" y="103"/>
                  <a:pt x="74" y="100"/>
                </a:cubicBezTo>
                <a:cubicBezTo>
                  <a:pt x="74" y="100"/>
                  <a:pt x="74" y="100"/>
                  <a:pt x="74" y="100"/>
                </a:cubicBezTo>
                <a:cubicBezTo>
                  <a:pt x="74" y="97"/>
                  <a:pt x="76" y="95"/>
                  <a:pt x="79" y="95"/>
                </a:cubicBezTo>
                <a:cubicBezTo>
                  <a:pt x="81" y="95"/>
                  <a:pt x="81" y="95"/>
                  <a:pt x="81" y="95"/>
                </a:cubicBezTo>
                <a:cubicBezTo>
                  <a:pt x="84" y="95"/>
                  <a:pt x="86" y="97"/>
                  <a:pt x="86" y="100"/>
                </a:cubicBezTo>
                <a:close/>
                <a:moveTo>
                  <a:pt x="71" y="72"/>
                </a:moveTo>
                <a:cubicBezTo>
                  <a:pt x="71" y="74"/>
                  <a:pt x="69" y="76"/>
                  <a:pt x="66" y="76"/>
                </a:cubicBezTo>
                <a:cubicBezTo>
                  <a:pt x="64" y="76"/>
                  <a:pt x="64" y="76"/>
                  <a:pt x="64" y="76"/>
                </a:cubicBezTo>
                <a:cubicBezTo>
                  <a:pt x="61" y="76"/>
                  <a:pt x="59" y="74"/>
                  <a:pt x="59" y="72"/>
                </a:cubicBezTo>
                <a:cubicBezTo>
                  <a:pt x="59" y="71"/>
                  <a:pt x="59" y="71"/>
                  <a:pt x="59" y="71"/>
                </a:cubicBezTo>
                <a:cubicBezTo>
                  <a:pt x="59" y="68"/>
                  <a:pt x="61" y="66"/>
                  <a:pt x="64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69" y="66"/>
                  <a:pt x="71" y="68"/>
                  <a:pt x="71" y="71"/>
                </a:cubicBezTo>
                <a:lnTo>
                  <a:pt x="71" y="72"/>
                </a:lnTo>
                <a:close/>
                <a:moveTo>
                  <a:pt x="71" y="86"/>
                </a:moveTo>
                <a:cubicBezTo>
                  <a:pt x="71" y="89"/>
                  <a:pt x="69" y="91"/>
                  <a:pt x="66" y="91"/>
                </a:cubicBezTo>
                <a:cubicBezTo>
                  <a:pt x="64" y="91"/>
                  <a:pt x="64" y="91"/>
                  <a:pt x="64" y="91"/>
                </a:cubicBezTo>
                <a:cubicBezTo>
                  <a:pt x="61" y="91"/>
                  <a:pt x="59" y="89"/>
                  <a:pt x="59" y="86"/>
                </a:cubicBezTo>
                <a:cubicBezTo>
                  <a:pt x="59" y="85"/>
                  <a:pt x="59" y="85"/>
                  <a:pt x="59" y="85"/>
                </a:cubicBezTo>
                <a:cubicBezTo>
                  <a:pt x="59" y="83"/>
                  <a:pt x="61" y="81"/>
                  <a:pt x="64" y="81"/>
                </a:cubicBezTo>
                <a:cubicBezTo>
                  <a:pt x="66" y="81"/>
                  <a:pt x="66" y="81"/>
                  <a:pt x="66" y="81"/>
                </a:cubicBezTo>
                <a:cubicBezTo>
                  <a:pt x="69" y="81"/>
                  <a:pt x="71" y="83"/>
                  <a:pt x="71" y="85"/>
                </a:cubicBezTo>
                <a:lnTo>
                  <a:pt x="71" y="86"/>
                </a:lnTo>
                <a:close/>
                <a:moveTo>
                  <a:pt x="71" y="100"/>
                </a:moveTo>
                <a:cubicBezTo>
                  <a:pt x="71" y="103"/>
                  <a:pt x="69" y="105"/>
                  <a:pt x="66" y="105"/>
                </a:cubicBezTo>
                <a:cubicBezTo>
                  <a:pt x="64" y="105"/>
                  <a:pt x="64" y="105"/>
                  <a:pt x="64" y="105"/>
                </a:cubicBezTo>
                <a:cubicBezTo>
                  <a:pt x="61" y="105"/>
                  <a:pt x="59" y="103"/>
                  <a:pt x="59" y="100"/>
                </a:cubicBezTo>
                <a:cubicBezTo>
                  <a:pt x="59" y="100"/>
                  <a:pt x="59" y="100"/>
                  <a:pt x="59" y="100"/>
                </a:cubicBezTo>
                <a:cubicBezTo>
                  <a:pt x="59" y="97"/>
                  <a:pt x="61" y="95"/>
                  <a:pt x="64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69" y="95"/>
                  <a:pt x="71" y="97"/>
                  <a:pt x="71" y="100"/>
                </a:cubicBezTo>
                <a:close/>
                <a:moveTo>
                  <a:pt x="60" y="50"/>
                </a:moveTo>
                <a:cubicBezTo>
                  <a:pt x="60" y="48"/>
                  <a:pt x="62" y="46"/>
                  <a:pt x="64" y="46"/>
                </a:cubicBezTo>
                <a:cubicBezTo>
                  <a:pt x="96" y="46"/>
                  <a:pt x="96" y="46"/>
                  <a:pt x="96" y="46"/>
                </a:cubicBezTo>
                <a:cubicBezTo>
                  <a:pt x="98" y="46"/>
                  <a:pt x="100" y="48"/>
                  <a:pt x="100" y="50"/>
                </a:cubicBezTo>
                <a:cubicBezTo>
                  <a:pt x="100" y="55"/>
                  <a:pt x="100" y="55"/>
                  <a:pt x="100" y="55"/>
                </a:cubicBezTo>
                <a:cubicBezTo>
                  <a:pt x="100" y="57"/>
                  <a:pt x="98" y="59"/>
                  <a:pt x="96" y="59"/>
                </a:cubicBezTo>
                <a:cubicBezTo>
                  <a:pt x="64" y="59"/>
                  <a:pt x="64" y="59"/>
                  <a:pt x="64" y="59"/>
                </a:cubicBezTo>
                <a:cubicBezTo>
                  <a:pt x="62" y="59"/>
                  <a:pt x="60" y="57"/>
                  <a:pt x="60" y="55"/>
                </a:cubicBezTo>
                <a:lnTo>
                  <a:pt x="60" y="50"/>
                </a:lnTo>
                <a:close/>
                <a:moveTo>
                  <a:pt x="59" y="39"/>
                </a:moveTo>
                <a:cubicBezTo>
                  <a:pt x="56" y="39"/>
                  <a:pt x="54" y="41"/>
                  <a:pt x="54" y="44"/>
                </a:cubicBezTo>
                <a:cubicBezTo>
                  <a:pt x="54" y="106"/>
                  <a:pt x="54" y="106"/>
                  <a:pt x="54" y="106"/>
                </a:cubicBezTo>
                <a:cubicBezTo>
                  <a:pt x="54" y="109"/>
                  <a:pt x="56" y="111"/>
                  <a:pt x="59" y="111"/>
                </a:cubicBezTo>
                <a:cubicBezTo>
                  <a:pt x="101" y="111"/>
                  <a:pt x="101" y="111"/>
                  <a:pt x="101" y="111"/>
                </a:cubicBezTo>
                <a:cubicBezTo>
                  <a:pt x="104" y="111"/>
                  <a:pt x="106" y="109"/>
                  <a:pt x="106" y="106"/>
                </a:cubicBezTo>
                <a:cubicBezTo>
                  <a:pt x="106" y="44"/>
                  <a:pt x="106" y="44"/>
                  <a:pt x="106" y="44"/>
                </a:cubicBezTo>
                <a:cubicBezTo>
                  <a:pt x="106" y="41"/>
                  <a:pt x="104" y="39"/>
                  <a:pt x="101" y="39"/>
                </a:cubicBezTo>
                <a:lnTo>
                  <a:pt x="59" y="39"/>
                </a:lnTo>
                <a:close/>
                <a:moveTo>
                  <a:pt x="80" y="10"/>
                </a:moveTo>
                <a:cubicBezTo>
                  <a:pt x="47" y="10"/>
                  <a:pt x="20" y="34"/>
                  <a:pt x="15" y="66"/>
                </a:cubicBezTo>
                <a:cubicBezTo>
                  <a:pt x="13" y="84"/>
                  <a:pt x="17" y="101"/>
                  <a:pt x="28" y="115"/>
                </a:cubicBezTo>
                <a:cubicBezTo>
                  <a:pt x="39" y="128"/>
                  <a:pt x="54" y="137"/>
                  <a:pt x="71" y="140"/>
                </a:cubicBezTo>
                <a:cubicBezTo>
                  <a:pt x="74" y="140"/>
                  <a:pt x="77" y="140"/>
                  <a:pt x="80" y="140"/>
                </a:cubicBezTo>
                <a:cubicBezTo>
                  <a:pt x="113" y="140"/>
                  <a:pt x="140" y="116"/>
                  <a:pt x="145" y="84"/>
                </a:cubicBezTo>
                <a:cubicBezTo>
                  <a:pt x="147" y="66"/>
                  <a:pt x="143" y="49"/>
                  <a:pt x="132" y="35"/>
                </a:cubicBezTo>
                <a:cubicBezTo>
                  <a:pt x="121" y="21"/>
                  <a:pt x="106" y="13"/>
                  <a:pt x="89" y="10"/>
                </a:cubicBezTo>
                <a:cubicBezTo>
                  <a:pt x="86" y="10"/>
                  <a:pt x="83" y="10"/>
                  <a:pt x="80" y="10"/>
                </a:cubicBezTo>
                <a:moveTo>
                  <a:pt x="80" y="0"/>
                </a:moveTo>
                <a:cubicBezTo>
                  <a:pt x="83" y="0"/>
                  <a:pt x="87" y="0"/>
                  <a:pt x="90" y="1"/>
                </a:cubicBezTo>
                <a:cubicBezTo>
                  <a:pt x="131" y="6"/>
                  <a:pt x="160" y="44"/>
                  <a:pt x="154" y="85"/>
                </a:cubicBezTo>
                <a:cubicBezTo>
                  <a:pt x="149" y="123"/>
                  <a:pt x="117" y="150"/>
                  <a:pt x="80" y="150"/>
                </a:cubicBezTo>
                <a:cubicBezTo>
                  <a:pt x="77" y="150"/>
                  <a:pt x="73" y="150"/>
                  <a:pt x="70" y="149"/>
                </a:cubicBezTo>
                <a:cubicBezTo>
                  <a:pt x="29" y="144"/>
                  <a:pt x="0" y="106"/>
                  <a:pt x="6" y="65"/>
                </a:cubicBezTo>
                <a:cubicBezTo>
                  <a:pt x="11" y="27"/>
                  <a:pt x="43" y="0"/>
                  <a:pt x="8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8" name="Freeform 53"/>
          <p:cNvSpPr>
            <a:spLocks noEditPoints="1"/>
          </p:cNvSpPr>
          <p:nvPr/>
        </p:nvSpPr>
        <p:spPr bwMode="black">
          <a:xfrm>
            <a:off x="3030997" y="638244"/>
            <a:ext cx="609850" cy="579359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9 h 150"/>
              <a:gd name="T12" fmla="*/ 10 w 150"/>
              <a:gd name="T13" fmla="*/ 75 h 150"/>
              <a:gd name="T14" fmla="*/ 75 w 150"/>
              <a:gd name="T15" fmla="*/ 140 h 150"/>
              <a:gd name="T16" fmla="*/ 140 w 150"/>
              <a:gd name="T17" fmla="*/ 75 h 150"/>
              <a:gd name="T18" fmla="*/ 75 w 150"/>
              <a:gd name="T19" fmla="*/ 9 h 150"/>
              <a:gd name="T20" fmla="*/ 47 w 150"/>
              <a:gd name="T21" fmla="*/ 94 h 150"/>
              <a:gd name="T22" fmla="*/ 43 w 150"/>
              <a:gd name="T23" fmla="*/ 98 h 150"/>
              <a:gd name="T24" fmla="*/ 38 w 150"/>
              <a:gd name="T25" fmla="*/ 94 h 150"/>
              <a:gd name="T26" fmla="*/ 43 w 150"/>
              <a:gd name="T27" fmla="*/ 89 h 150"/>
              <a:gd name="T28" fmla="*/ 47 w 150"/>
              <a:gd name="T29" fmla="*/ 94 h 150"/>
              <a:gd name="T30" fmla="*/ 43 w 150"/>
              <a:gd name="T31" fmla="*/ 52 h 150"/>
              <a:gd name="T32" fmla="*/ 38 w 150"/>
              <a:gd name="T33" fmla="*/ 56 h 150"/>
              <a:gd name="T34" fmla="*/ 43 w 150"/>
              <a:gd name="T35" fmla="*/ 61 h 150"/>
              <a:gd name="T36" fmla="*/ 47 w 150"/>
              <a:gd name="T37" fmla="*/ 56 h 150"/>
              <a:gd name="T38" fmla="*/ 43 w 150"/>
              <a:gd name="T39" fmla="*/ 52 h 150"/>
              <a:gd name="T40" fmla="*/ 53 w 150"/>
              <a:gd name="T41" fmla="*/ 98 h 150"/>
              <a:gd name="T42" fmla="*/ 101 w 150"/>
              <a:gd name="T43" fmla="*/ 98 h 150"/>
              <a:gd name="T44" fmla="*/ 101 w 150"/>
              <a:gd name="T45" fmla="*/ 89 h 150"/>
              <a:gd name="T46" fmla="*/ 53 w 150"/>
              <a:gd name="T47" fmla="*/ 89 h 150"/>
              <a:gd name="T48" fmla="*/ 53 w 150"/>
              <a:gd name="T49" fmla="*/ 98 h 150"/>
              <a:gd name="T50" fmla="*/ 108 w 150"/>
              <a:gd name="T51" fmla="*/ 52 h 150"/>
              <a:gd name="T52" fmla="*/ 53 w 150"/>
              <a:gd name="T53" fmla="*/ 52 h 150"/>
              <a:gd name="T54" fmla="*/ 53 w 150"/>
              <a:gd name="T55" fmla="*/ 61 h 150"/>
              <a:gd name="T56" fmla="*/ 108 w 150"/>
              <a:gd name="T57" fmla="*/ 61 h 150"/>
              <a:gd name="T58" fmla="*/ 108 w 150"/>
              <a:gd name="T59" fmla="*/ 52 h 150"/>
              <a:gd name="T60" fmla="*/ 53 w 150"/>
              <a:gd name="T61" fmla="*/ 70 h 150"/>
              <a:gd name="T62" fmla="*/ 53 w 150"/>
              <a:gd name="T63" fmla="*/ 80 h 150"/>
              <a:gd name="T64" fmla="*/ 116 w 150"/>
              <a:gd name="T65" fmla="*/ 80 h 150"/>
              <a:gd name="T66" fmla="*/ 116 w 150"/>
              <a:gd name="T67" fmla="*/ 70 h 150"/>
              <a:gd name="T68" fmla="*/ 53 w 150"/>
              <a:gd name="T69" fmla="*/ 70 h 150"/>
              <a:gd name="T70" fmla="*/ 43 w 150"/>
              <a:gd name="T71" fmla="*/ 70 h 150"/>
              <a:gd name="T72" fmla="*/ 38 w 150"/>
              <a:gd name="T73" fmla="*/ 75 h 150"/>
              <a:gd name="T74" fmla="*/ 43 w 150"/>
              <a:gd name="T75" fmla="*/ 80 h 150"/>
              <a:gd name="T76" fmla="*/ 47 w 150"/>
              <a:gd name="T77" fmla="*/ 75 h 150"/>
              <a:gd name="T78" fmla="*/ 43 w 150"/>
              <a:gd name="T79" fmla="*/ 7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6"/>
                  <a:pt x="0" y="75"/>
                </a:cubicBezTo>
                <a:cubicBezTo>
                  <a:pt x="0" y="34"/>
                  <a:pt x="34" y="0"/>
                  <a:pt x="75" y="0"/>
                </a:cubicBezTo>
                <a:cubicBezTo>
                  <a:pt x="116" y="0"/>
                  <a:pt x="150" y="34"/>
                  <a:pt x="150" y="75"/>
                </a:cubicBezTo>
                <a:cubicBezTo>
                  <a:pt x="150" y="116"/>
                  <a:pt x="116" y="150"/>
                  <a:pt x="75" y="150"/>
                </a:cubicBezTo>
                <a:close/>
                <a:moveTo>
                  <a:pt x="75" y="9"/>
                </a:moveTo>
                <a:cubicBezTo>
                  <a:pt x="39" y="9"/>
                  <a:pt x="10" y="39"/>
                  <a:pt x="10" y="75"/>
                </a:cubicBezTo>
                <a:cubicBezTo>
                  <a:pt x="10" y="111"/>
                  <a:pt x="39" y="140"/>
                  <a:pt x="75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9"/>
                  <a:pt x="75" y="9"/>
                </a:cubicBezTo>
                <a:close/>
                <a:moveTo>
                  <a:pt x="47" y="94"/>
                </a:moveTo>
                <a:cubicBezTo>
                  <a:pt x="47" y="96"/>
                  <a:pt x="45" y="98"/>
                  <a:pt x="43" y="98"/>
                </a:cubicBezTo>
                <a:cubicBezTo>
                  <a:pt x="40" y="98"/>
                  <a:pt x="38" y="96"/>
                  <a:pt x="38" y="94"/>
                </a:cubicBezTo>
                <a:cubicBezTo>
                  <a:pt x="38" y="91"/>
                  <a:pt x="40" y="89"/>
                  <a:pt x="43" y="89"/>
                </a:cubicBezTo>
                <a:cubicBezTo>
                  <a:pt x="45" y="89"/>
                  <a:pt x="47" y="91"/>
                  <a:pt x="47" y="94"/>
                </a:cubicBezTo>
                <a:close/>
                <a:moveTo>
                  <a:pt x="43" y="52"/>
                </a:moveTo>
                <a:cubicBezTo>
                  <a:pt x="40" y="52"/>
                  <a:pt x="38" y="54"/>
                  <a:pt x="38" y="56"/>
                </a:cubicBezTo>
                <a:cubicBezTo>
                  <a:pt x="38" y="59"/>
                  <a:pt x="40" y="61"/>
                  <a:pt x="43" y="61"/>
                </a:cubicBezTo>
                <a:cubicBezTo>
                  <a:pt x="45" y="61"/>
                  <a:pt x="47" y="59"/>
                  <a:pt x="47" y="56"/>
                </a:cubicBezTo>
                <a:cubicBezTo>
                  <a:pt x="47" y="54"/>
                  <a:pt x="45" y="52"/>
                  <a:pt x="43" y="52"/>
                </a:cubicBezTo>
                <a:close/>
                <a:moveTo>
                  <a:pt x="53" y="98"/>
                </a:moveTo>
                <a:cubicBezTo>
                  <a:pt x="101" y="98"/>
                  <a:pt x="101" y="98"/>
                  <a:pt x="101" y="98"/>
                </a:cubicBezTo>
                <a:cubicBezTo>
                  <a:pt x="101" y="89"/>
                  <a:pt x="101" y="89"/>
                  <a:pt x="101" y="89"/>
                </a:cubicBezTo>
                <a:cubicBezTo>
                  <a:pt x="53" y="89"/>
                  <a:pt x="53" y="89"/>
                  <a:pt x="53" y="89"/>
                </a:cubicBezTo>
                <a:lnTo>
                  <a:pt x="53" y="98"/>
                </a:lnTo>
                <a:close/>
                <a:moveTo>
                  <a:pt x="108" y="52"/>
                </a:moveTo>
                <a:cubicBezTo>
                  <a:pt x="53" y="52"/>
                  <a:pt x="53" y="52"/>
                  <a:pt x="53" y="52"/>
                </a:cubicBezTo>
                <a:cubicBezTo>
                  <a:pt x="53" y="61"/>
                  <a:pt x="53" y="61"/>
                  <a:pt x="53" y="61"/>
                </a:cubicBezTo>
                <a:cubicBezTo>
                  <a:pt x="108" y="61"/>
                  <a:pt x="108" y="61"/>
                  <a:pt x="108" y="61"/>
                </a:cubicBezTo>
                <a:lnTo>
                  <a:pt x="108" y="52"/>
                </a:lnTo>
                <a:close/>
                <a:moveTo>
                  <a:pt x="53" y="70"/>
                </a:moveTo>
                <a:cubicBezTo>
                  <a:pt x="53" y="80"/>
                  <a:pt x="53" y="80"/>
                  <a:pt x="53" y="80"/>
                </a:cubicBezTo>
                <a:cubicBezTo>
                  <a:pt x="116" y="80"/>
                  <a:pt x="116" y="80"/>
                  <a:pt x="116" y="80"/>
                </a:cubicBezTo>
                <a:cubicBezTo>
                  <a:pt x="116" y="70"/>
                  <a:pt x="116" y="70"/>
                  <a:pt x="116" y="70"/>
                </a:cubicBezTo>
                <a:lnTo>
                  <a:pt x="53" y="70"/>
                </a:lnTo>
                <a:close/>
                <a:moveTo>
                  <a:pt x="43" y="70"/>
                </a:moveTo>
                <a:cubicBezTo>
                  <a:pt x="40" y="70"/>
                  <a:pt x="38" y="72"/>
                  <a:pt x="38" y="75"/>
                </a:cubicBezTo>
                <a:cubicBezTo>
                  <a:pt x="38" y="78"/>
                  <a:pt x="40" y="80"/>
                  <a:pt x="43" y="80"/>
                </a:cubicBezTo>
                <a:cubicBezTo>
                  <a:pt x="45" y="80"/>
                  <a:pt x="47" y="78"/>
                  <a:pt x="47" y="75"/>
                </a:cubicBezTo>
                <a:cubicBezTo>
                  <a:pt x="47" y="72"/>
                  <a:pt x="45" y="70"/>
                  <a:pt x="43" y="7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9" name="Freeform 45"/>
          <p:cNvSpPr>
            <a:spLocks noEditPoints="1"/>
          </p:cNvSpPr>
          <p:nvPr/>
        </p:nvSpPr>
        <p:spPr bwMode="black">
          <a:xfrm>
            <a:off x="3014767" y="1704950"/>
            <a:ext cx="670425" cy="667733"/>
          </a:xfrm>
          <a:custGeom>
            <a:avLst/>
            <a:gdLst>
              <a:gd name="T0" fmla="*/ 75 w 150"/>
              <a:gd name="T1" fmla="*/ 150 h 150"/>
              <a:gd name="T2" fmla="*/ 0 w 150"/>
              <a:gd name="T3" fmla="*/ 75 h 150"/>
              <a:gd name="T4" fmla="*/ 75 w 150"/>
              <a:gd name="T5" fmla="*/ 0 h 150"/>
              <a:gd name="T6" fmla="*/ 150 w 150"/>
              <a:gd name="T7" fmla="*/ 75 h 150"/>
              <a:gd name="T8" fmla="*/ 75 w 150"/>
              <a:gd name="T9" fmla="*/ 150 h 150"/>
              <a:gd name="T10" fmla="*/ 75 w 150"/>
              <a:gd name="T11" fmla="*/ 10 h 150"/>
              <a:gd name="T12" fmla="*/ 10 w 150"/>
              <a:gd name="T13" fmla="*/ 75 h 150"/>
              <a:gd name="T14" fmla="*/ 75 w 150"/>
              <a:gd name="T15" fmla="*/ 141 h 150"/>
              <a:gd name="T16" fmla="*/ 141 w 150"/>
              <a:gd name="T17" fmla="*/ 75 h 150"/>
              <a:gd name="T18" fmla="*/ 75 w 150"/>
              <a:gd name="T19" fmla="*/ 10 h 150"/>
              <a:gd name="T20" fmla="*/ 94 w 150"/>
              <a:gd name="T21" fmla="*/ 91 h 150"/>
              <a:gd name="T22" fmla="*/ 93 w 150"/>
              <a:gd name="T23" fmla="*/ 91 h 150"/>
              <a:gd name="T24" fmla="*/ 78 w 150"/>
              <a:gd name="T25" fmla="*/ 98 h 150"/>
              <a:gd name="T26" fmla="*/ 77 w 150"/>
              <a:gd name="T27" fmla="*/ 98 h 150"/>
              <a:gd name="T28" fmla="*/ 64 w 150"/>
              <a:gd name="T29" fmla="*/ 93 h 150"/>
              <a:gd name="T30" fmla="*/ 61 w 150"/>
              <a:gd name="T31" fmla="*/ 91 h 150"/>
              <a:gd name="T32" fmla="*/ 69 w 150"/>
              <a:gd name="T33" fmla="*/ 85 h 150"/>
              <a:gd name="T34" fmla="*/ 44 w 150"/>
              <a:gd name="T35" fmla="*/ 80 h 150"/>
              <a:gd name="T36" fmla="*/ 46 w 150"/>
              <a:gd name="T37" fmla="*/ 105 h 150"/>
              <a:gd name="T38" fmla="*/ 54 w 150"/>
              <a:gd name="T39" fmla="*/ 98 h 150"/>
              <a:gd name="T40" fmla="*/ 56 w 150"/>
              <a:gd name="T41" fmla="*/ 100 h 150"/>
              <a:gd name="T42" fmla="*/ 77 w 150"/>
              <a:gd name="T43" fmla="*/ 108 h 150"/>
              <a:gd name="T44" fmla="*/ 79 w 150"/>
              <a:gd name="T45" fmla="*/ 108 h 150"/>
              <a:gd name="T46" fmla="*/ 101 w 150"/>
              <a:gd name="T47" fmla="*/ 98 h 150"/>
              <a:gd name="T48" fmla="*/ 101 w 150"/>
              <a:gd name="T49" fmla="*/ 98 h 150"/>
              <a:gd name="T50" fmla="*/ 94 w 150"/>
              <a:gd name="T51" fmla="*/ 91 h 150"/>
              <a:gd name="T52" fmla="*/ 107 w 150"/>
              <a:gd name="T53" fmla="*/ 72 h 150"/>
              <a:gd name="T54" fmla="*/ 105 w 150"/>
              <a:gd name="T55" fmla="*/ 47 h 150"/>
              <a:gd name="T56" fmla="*/ 97 w 150"/>
              <a:gd name="T57" fmla="*/ 54 h 150"/>
              <a:gd name="T58" fmla="*/ 97 w 150"/>
              <a:gd name="T59" fmla="*/ 54 h 150"/>
              <a:gd name="T60" fmla="*/ 97 w 150"/>
              <a:gd name="T61" fmla="*/ 53 h 150"/>
              <a:gd name="T62" fmla="*/ 95 w 150"/>
              <a:gd name="T63" fmla="*/ 51 h 150"/>
              <a:gd name="T64" fmla="*/ 73 w 150"/>
              <a:gd name="T65" fmla="*/ 43 h 150"/>
              <a:gd name="T66" fmla="*/ 72 w 150"/>
              <a:gd name="T67" fmla="*/ 43 h 150"/>
              <a:gd name="T68" fmla="*/ 50 w 150"/>
              <a:gd name="T69" fmla="*/ 53 h 150"/>
              <a:gd name="T70" fmla="*/ 49 w 150"/>
              <a:gd name="T71" fmla="*/ 53 h 150"/>
              <a:gd name="T72" fmla="*/ 57 w 150"/>
              <a:gd name="T73" fmla="*/ 60 h 150"/>
              <a:gd name="T74" fmla="*/ 57 w 150"/>
              <a:gd name="T75" fmla="*/ 60 h 150"/>
              <a:gd name="T76" fmla="*/ 72 w 150"/>
              <a:gd name="T77" fmla="*/ 53 h 150"/>
              <a:gd name="T78" fmla="*/ 73 w 150"/>
              <a:gd name="T79" fmla="*/ 53 h 150"/>
              <a:gd name="T80" fmla="*/ 87 w 150"/>
              <a:gd name="T81" fmla="*/ 58 h 150"/>
              <a:gd name="T82" fmla="*/ 90 w 150"/>
              <a:gd name="T83" fmla="*/ 60 h 150"/>
              <a:gd name="T84" fmla="*/ 82 w 150"/>
              <a:gd name="T85" fmla="*/ 67 h 150"/>
              <a:gd name="T86" fmla="*/ 107 w 150"/>
              <a:gd name="T87" fmla="*/ 72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0" h="150">
                <a:moveTo>
                  <a:pt x="75" y="150"/>
                </a:moveTo>
                <a:cubicBezTo>
                  <a:pt x="34" y="150"/>
                  <a:pt x="0" y="117"/>
                  <a:pt x="0" y="75"/>
                </a:cubicBezTo>
                <a:cubicBezTo>
                  <a:pt x="0" y="34"/>
                  <a:pt x="34" y="0"/>
                  <a:pt x="75" y="0"/>
                </a:cubicBezTo>
                <a:cubicBezTo>
                  <a:pt x="117" y="0"/>
                  <a:pt x="150" y="34"/>
                  <a:pt x="150" y="75"/>
                </a:cubicBezTo>
                <a:cubicBezTo>
                  <a:pt x="150" y="117"/>
                  <a:pt x="117" y="150"/>
                  <a:pt x="75" y="150"/>
                </a:cubicBezTo>
                <a:close/>
                <a:moveTo>
                  <a:pt x="75" y="10"/>
                </a:moveTo>
                <a:cubicBezTo>
                  <a:pt x="39" y="10"/>
                  <a:pt x="10" y="39"/>
                  <a:pt x="10" y="75"/>
                </a:cubicBezTo>
                <a:cubicBezTo>
                  <a:pt x="10" y="112"/>
                  <a:pt x="39" y="141"/>
                  <a:pt x="75" y="141"/>
                </a:cubicBezTo>
                <a:cubicBezTo>
                  <a:pt x="111" y="141"/>
                  <a:pt x="141" y="112"/>
                  <a:pt x="141" y="75"/>
                </a:cubicBezTo>
                <a:cubicBezTo>
                  <a:pt x="141" y="39"/>
                  <a:pt x="111" y="10"/>
                  <a:pt x="75" y="10"/>
                </a:cubicBezTo>
                <a:close/>
                <a:moveTo>
                  <a:pt x="94" y="91"/>
                </a:moveTo>
                <a:cubicBezTo>
                  <a:pt x="93" y="91"/>
                  <a:pt x="93" y="91"/>
                  <a:pt x="93" y="91"/>
                </a:cubicBezTo>
                <a:cubicBezTo>
                  <a:pt x="89" y="95"/>
                  <a:pt x="84" y="97"/>
                  <a:pt x="78" y="98"/>
                </a:cubicBezTo>
                <a:cubicBezTo>
                  <a:pt x="77" y="98"/>
                  <a:pt x="77" y="98"/>
                  <a:pt x="77" y="98"/>
                </a:cubicBezTo>
                <a:cubicBezTo>
                  <a:pt x="73" y="98"/>
                  <a:pt x="68" y="96"/>
                  <a:pt x="64" y="93"/>
                </a:cubicBezTo>
                <a:cubicBezTo>
                  <a:pt x="61" y="91"/>
                  <a:pt x="61" y="91"/>
                  <a:pt x="61" y="91"/>
                </a:cubicBezTo>
                <a:cubicBezTo>
                  <a:pt x="69" y="85"/>
                  <a:pt x="69" y="85"/>
                  <a:pt x="69" y="85"/>
                </a:cubicBezTo>
                <a:cubicBezTo>
                  <a:pt x="44" y="80"/>
                  <a:pt x="44" y="80"/>
                  <a:pt x="44" y="80"/>
                </a:cubicBezTo>
                <a:cubicBezTo>
                  <a:pt x="46" y="105"/>
                  <a:pt x="46" y="105"/>
                  <a:pt x="46" y="105"/>
                </a:cubicBezTo>
                <a:cubicBezTo>
                  <a:pt x="54" y="98"/>
                  <a:pt x="54" y="98"/>
                  <a:pt x="54" y="98"/>
                </a:cubicBezTo>
                <a:cubicBezTo>
                  <a:pt x="56" y="100"/>
                  <a:pt x="56" y="100"/>
                  <a:pt x="56" y="100"/>
                </a:cubicBezTo>
                <a:cubicBezTo>
                  <a:pt x="62" y="105"/>
                  <a:pt x="70" y="108"/>
                  <a:pt x="77" y="108"/>
                </a:cubicBezTo>
                <a:cubicBezTo>
                  <a:pt x="78" y="108"/>
                  <a:pt x="78" y="108"/>
                  <a:pt x="79" y="108"/>
                </a:cubicBezTo>
                <a:cubicBezTo>
                  <a:pt x="87" y="107"/>
                  <a:pt x="95" y="104"/>
                  <a:pt x="101" y="98"/>
                </a:cubicBezTo>
                <a:cubicBezTo>
                  <a:pt x="101" y="98"/>
                  <a:pt x="101" y="98"/>
                  <a:pt x="101" y="98"/>
                </a:cubicBezTo>
                <a:lnTo>
                  <a:pt x="94" y="91"/>
                </a:lnTo>
                <a:close/>
                <a:moveTo>
                  <a:pt x="107" y="72"/>
                </a:moveTo>
                <a:cubicBezTo>
                  <a:pt x="105" y="47"/>
                  <a:pt x="105" y="47"/>
                  <a:pt x="105" y="47"/>
                </a:cubicBezTo>
                <a:cubicBezTo>
                  <a:pt x="97" y="54"/>
                  <a:pt x="97" y="54"/>
                  <a:pt x="97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97" y="53"/>
                  <a:pt x="97" y="53"/>
                  <a:pt x="97" y="53"/>
                </a:cubicBezTo>
                <a:cubicBezTo>
                  <a:pt x="95" y="51"/>
                  <a:pt x="95" y="51"/>
                  <a:pt x="95" y="51"/>
                </a:cubicBezTo>
                <a:cubicBezTo>
                  <a:pt x="89" y="46"/>
                  <a:pt x="81" y="43"/>
                  <a:pt x="73" y="43"/>
                </a:cubicBezTo>
                <a:cubicBezTo>
                  <a:pt x="73" y="43"/>
                  <a:pt x="73" y="43"/>
                  <a:pt x="72" y="43"/>
                </a:cubicBezTo>
                <a:cubicBezTo>
                  <a:pt x="64" y="43"/>
                  <a:pt x="56" y="47"/>
                  <a:pt x="50" y="53"/>
                </a:cubicBezTo>
                <a:cubicBezTo>
                  <a:pt x="49" y="53"/>
                  <a:pt x="49" y="53"/>
                  <a:pt x="49" y="53"/>
                </a:cubicBezTo>
                <a:cubicBezTo>
                  <a:pt x="57" y="60"/>
                  <a:pt x="57" y="60"/>
                  <a:pt x="57" y="60"/>
                </a:cubicBezTo>
                <a:cubicBezTo>
                  <a:pt x="57" y="60"/>
                  <a:pt x="57" y="60"/>
                  <a:pt x="57" y="60"/>
                </a:cubicBezTo>
                <a:cubicBezTo>
                  <a:pt x="61" y="56"/>
                  <a:pt x="67" y="53"/>
                  <a:pt x="72" y="53"/>
                </a:cubicBezTo>
                <a:cubicBezTo>
                  <a:pt x="73" y="53"/>
                  <a:pt x="73" y="53"/>
                  <a:pt x="73" y="53"/>
                </a:cubicBezTo>
                <a:cubicBezTo>
                  <a:pt x="78" y="53"/>
                  <a:pt x="83" y="55"/>
                  <a:pt x="87" y="58"/>
                </a:cubicBezTo>
                <a:cubicBezTo>
                  <a:pt x="90" y="60"/>
                  <a:pt x="90" y="60"/>
                  <a:pt x="90" y="60"/>
                </a:cubicBezTo>
                <a:cubicBezTo>
                  <a:pt x="82" y="67"/>
                  <a:pt x="82" y="67"/>
                  <a:pt x="82" y="67"/>
                </a:cubicBezTo>
                <a:lnTo>
                  <a:pt x="107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0" name="Freeform 43"/>
          <p:cNvSpPr>
            <a:spLocks noEditPoints="1"/>
          </p:cNvSpPr>
          <p:nvPr/>
        </p:nvSpPr>
        <p:spPr bwMode="black">
          <a:xfrm>
            <a:off x="3011319" y="2846099"/>
            <a:ext cx="696585" cy="661755"/>
          </a:xfrm>
          <a:custGeom>
            <a:avLst/>
            <a:gdLst>
              <a:gd name="T0" fmla="*/ 0 w 154"/>
              <a:gd name="T1" fmla="*/ 77 h 154"/>
              <a:gd name="T2" fmla="*/ 154 w 154"/>
              <a:gd name="T3" fmla="*/ 77 h 154"/>
              <a:gd name="T4" fmla="*/ 77 w 154"/>
              <a:gd name="T5" fmla="*/ 10 h 154"/>
              <a:gd name="T6" fmla="*/ 77 w 154"/>
              <a:gd name="T7" fmla="*/ 144 h 154"/>
              <a:gd name="T8" fmla="*/ 77 w 154"/>
              <a:gd name="T9" fmla="*/ 10 h 154"/>
              <a:gd name="T10" fmla="*/ 92 w 154"/>
              <a:gd name="T11" fmla="*/ 64 h 154"/>
              <a:gd name="T12" fmla="*/ 75 w 154"/>
              <a:gd name="T13" fmla="*/ 47 h 154"/>
              <a:gd name="T14" fmla="*/ 71 w 154"/>
              <a:gd name="T15" fmla="*/ 45 h 154"/>
              <a:gd name="T16" fmla="*/ 49 w 154"/>
              <a:gd name="T17" fmla="*/ 45 h 154"/>
              <a:gd name="T18" fmla="*/ 43 w 154"/>
              <a:gd name="T19" fmla="*/ 101 h 154"/>
              <a:gd name="T20" fmla="*/ 87 w 154"/>
              <a:gd name="T21" fmla="*/ 107 h 154"/>
              <a:gd name="T22" fmla="*/ 93 w 154"/>
              <a:gd name="T23" fmla="*/ 66 h 154"/>
              <a:gd name="T24" fmla="*/ 92 w 154"/>
              <a:gd name="T25" fmla="*/ 64 h 154"/>
              <a:gd name="T26" fmla="*/ 87 w 154"/>
              <a:gd name="T27" fmla="*/ 66 h 154"/>
              <a:gd name="T28" fmla="*/ 71 w 154"/>
              <a:gd name="T29" fmla="*/ 50 h 154"/>
              <a:gd name="T30" fmla="*/ 49 w 154"/>
              <a:gd name="T31" fmla="*/ 101 h 154"/>
              <a:gd name="T32" fmla="*/ 66 w 154"/>
              <a:gd name="T33" fmla="*/ 50 h 154"/>
              <a:gd name="T34" fmla="*/ 71 w 154"/>
              <a:gd name="T35" fmla="*/ 72 h 154"/>
              <a:gd name="T36" fmla="*/ 87 w 154"/>
              <a:gd name="T37" fmla="*/ 101 h 154"/>
              <a:gd name="T38" fmla="*/ 103 w 154"/>
              <a:gd name="T39" fmla="*/ 64 h 154"/>
              <a:gd name="T40" fmla="*/ 98 w 154"/>
              <a:gd name="T41" fmla="*/ 107 h 154"/>
              <a:gd name="T42" fmla="*/ 98 w 154"/>
              <a:gd name="T43" fmla="*/ 102 h 154"/>
              <a:gd name="T44" fmla="*/ 96 w 154"/>
              <a:gd name="T45" fmla="*/ 60 h 154"/>
              <a:gd name="T46" fmla="*/ 80 w 154"/>
              <a:gd name="T47" fmla="*/ 45 h 154"/>
              <a:gd name="T48" fmla="*/ 83 w 154"/>
              <a:gd name="T49" fmla="*/ 45 h 154"/>
              <a:gd name="T50" fmla="*/ 101 w 154"/>
              <a:gd name="T51" fmla="*/ 59 h 154"/>
              <a:gd name="T52" fmla="*/ 114 w 154"/>
              <a:gd name="T53" fmla="*/ 101 h 154"/>
              <a:gd name="T54" fmla="*/ 107 w 154"/>
              <a:gd name="T55" fmla="*/ 107 h 154"/>
              <a:gd name="T56" fmla="*/ 108 w 154"/>
              <a:gd name="T57" fmla="*/ 63 h 154"/>
              <a:gd name="T58" fmla="*/ 93 w 154"/>
              <a:gd name="T59" fmla="*/ 45 h 154"/>
              <a:gd name="T60" fmla="*/ 94 w 154"/>
              <a:gd name="T61" fmla="*/ 45 h 154"/>
              <a:gd name="T62" fmla="*/ 102 w 154"/>
              <a:gd name="T63" fmla="*/ 48 h 154"/>
              <a:gd name="T64" fmla="*/ 114 w 154"/>
              <a:gd name="T65" fmla="*/ 6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4" h="154">
                <a:moveTo>
                  <a:pt x="77" y="0"/>
                </a:moveTo>
                <a:cubicBezTo>
                  <a:pt x="35" y="0"/>
                  <a:pt x="0" y="35"/>
                  <a:pt x="0" y="77"/>
                </a:cubicBezTo>
                <a:cubicBezTo>
                  <a:pt x="0" y="119"/>
                  <a:pt x="35" y="154"/>
                  <a:pt x="77" y="154"/>
                </a:cubicBezTo>
                <a:cubicBezTo>
                  <a:pt x="119" y="154"/>
                  <a:pt x="154" y="119"/>
                  <a:pt x="154" y="77"/>
                </a:cubicBezTo>
                <a:cubicBezTo>
                  <a:pt x="154" y="35"/>
                  <a:pt x="119" y="0"/>
                  <a:pt x="77" y="0"/>
                </a:cubicBezTo>
                <a:close/>
                <a:moveTo>
                  <a:pt x="77" y="10"/>
                </a:moveTo>
                <a:cubicBezTo>
                  <a:pt x="114" y="10"/>
                  <a:pt x="144" y="40"/>
                  <a:pt x="144" y="77"/>
                </a:cubicBezTo>
                <a:cubicBezTo>
                  <a:pt x="144" y="114"/>
                  <a:pt x="114" y="144"/>
                  <a:pt x="77" y="144"/>
                </a:cubicBezTo>
                <a:cubicBezTo>
                  <a:pt x="40" y="144"/>
                  <a:pt x="10" y="114"/>
                  <a:pt x="10" y="77"/>
                </a:cubicBezTo>
                <a:cubicBezTo>
                  <a:pt x="10" y="40"/>
                  <a:pt x="40" y="10"/>
                  <a:pt x="77" y="10"/>
                </a:cubicBezTo>
                <a:close/>
                <a:moveTo>
                  <a:pt x="92" y="64"/>
                </a:moveTo>
                <a:cubicBezTo>
                  <a:pt x="92" y="64"/>
                  <a:pt x="92" y="64"/>
                  <a:pt x="92" y="64"/>
                </a:cubicBezTo>
                <a:cubicBezTo>
                  <a:pt x="92" y="63"/>
                  <a:pt x="91" y="63"/>
                  <a:pt x="91" y="62"/>
                </a:cubicBezTo>
                <a:cubicBezTo>
                  <a:pt x="75" y="47"/>
                  <a:pt x="75" y="47"/>
                  <a:pt x="75" y="47"/>
                </a:cubicBezTo>
                <a:cubicBezTo>
                  <a:pt x="74" y="45"/>
                  <a:pt x="73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71" y="45"/>
                  <a:pt x="71" y="45"/>
                  <a:pt x="71" y="45"/>
                </a:cubicBezTo>
                <a:cubicBezTo>
                  <a:pt x="49" y="45"/>
                  <a:pt x="49" y="45"/>
                  <a:pt x="49" y="45"/>
                </a:cubicBezTo>
                <a:cubicBezTo>
                  <a:pt x="46" y="45"/>
                  <a:pt x="43" y="47"/>
                  <a:pt x="43" y="50"/>
                </a:cubicBezTo>
                <a:cubicBezTo>
                  <a:pt x="43" y="101"/>
                  <a:pt x="43" y="101"/>
                  <a:pt x="43" y="101"/>
                </a:cubicBezTo>
                <a:cubicBezTo>
                  <a:pt x="43" y="104"/>
                  <a:pt x="46" y="107"/>
                  <a:pt x="49" y="107"/>
                </a:cubicBezTo>
                <a:cubicBezTo>
                  <a:pt x="87" y="107"/>
                  <a:pt x="87" y="107"/>
                  <a:pt x="87" y="107"/>
                </a:cubicBezTo>
                <a:cubicBezTo>
                  <a:pt x="90" y="107"/>
                  <a:pt x="93" y="104"/>
                  <a:pt x="93" y="101"/>
                </a:cubicBezTo>
                <a:cubicBezTo>
                  <a:pt x="93" y="66"/>
                  <a:pt x="93" y="66"/>
                  <a:pt x="93" y="66"/>
                </a:cubicBezTo>
                <a:cubicBezTo>
                  <a:pt x="93" y="66"/>
                  <a:pt x="92" y="66"/>
                  <a:pt x="92" y="66"/>
                </a:cubicBezTo>
                <a:cubicBezTo>
                  <a:pt x="92" y="65"/>
                  <a:pt x="92" y="65"/>
                  <a:pt x="92" y="64"/>
                </a:cubicBezTo>
                <a:close/>
                <a:moveTo>
                  <a:pt x="71" y="50"/>
                </a:moveTo>
                <a:cubicBezTo>
                  <a:pt x="87" y="66"/>
                  <a:pt x="87" y="66"/>
                  <a:pt x="87" y="66"/>
                </a:cubicBezTo>
                <a:cubicBezTo>
                  <a:pt x="71" y="66"/>
                  <a:pt x="71" y="66"/>
                  <a:pt x="71" y="66"/>
                </a:cubicBezTo>
                <a:lnTo>
                  <a:pt x="71" y="50"/>
                </a:lnTo>
                <a:close/>
                <a:moveTo>
                  <a:pt x="87" y="101"/>
                </a:moveTo>
                <a:cubicBezTo>
                  <a:pt x="49" y="101"/>
                  <a:pt x="49" y="101"/>
                  <a:pt x="49" y="101"/>
                </a:cubicBezTo>
                <a:cubicBezTo>
                  <a:pt x="49" y="50"/>
                  <a:pt x="49" y="50"/>
                  <a:pt x="49" y="50"/>
                </a:cubicBezTo>
                <a:cubicBezTo>
                  <a:pt x="66" y="50"/>
                  <a:pt x="66" y="50"/>
                  <a:pt x="66" y="50"/>
                </a:cubicBezTo>
                <a:cubicBezTo>
                  <a:pt x="66" y="66"/>
                  <a:pt x="66" y="66"/>
                  <a:pt x="66" y="66"/>
                </a:cubicBezTo>
                <a:cubicBezTo>
                  <a:pt x="66" y="69"/>
                  <a:pt x="68" y="72"/>
                  <a:pt x="71" y="72"/>
                </a:cubicBezTo>
                <a:cubicBezTo>
                  <a:pt x="87" y="72"/>
                  <a:pt x="87" y="72"/>
                  <a:pt x="87" y="72"/>
                </a:cubicBezTo>
                <a:lnTo>
                  <a:pt x="87" y="101"/>
                </a:lnTo>
                <a:close/>
                <a:moveTo>
                  <a:pt x="101" y="59"/>
                </a:moveTo>
                <a:cubicBezTo>
                  <a:pt x="102" y="60"/>
                  <a:pt x="103" y="62"/>
                  <a:pt x="103" y="64"/>
                </a:cubicBezTo>
                <a:cubicBezTo>
                  <a:pt x="103" y="101"/>
                  <a:pt x="103" y="101"/>
                  <a:pt x="103" y="101"/>
                </a:cubicBezTo>
                <a:cubicBezTo>
                  <a:pt x="103" y="104"/>
                  <a:pt x="101" y="107"/>
                  <a:pt x="98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7" y="105"/>
                  <a:pt x="98" y="104"/>
                  <a:pt x="98" y="102"/>
                </a:cubicBezTo>
                <a:cubicBezTo>
                  <a:pt x="98" y="66"/>
                  <a:pt x="98" y="66"/>
                  <a:pt x="98" y="66"/>
                </a:cubicBezTo>
                <a:cubicBezTo>
                  <a:pt x="98" y="64"/>
                  <a:pt x="97" y="62"/>
                  <a:pt x="96" y="60"/>
                </a:cubicBezTo>
                <a:cubicBezTo>
                  <a:pt x="80" y="45"/>
                  <a:pt x="80" y="45"/>
                  <a:pt x="80" y="45"/>
                </a:cubicBezTo>
                <a:cubicBezTo>
                  <a:pt x="80" y="45"/>
                  <a:pt x="80" y="45"/>
                  <a:pt x="80" y="45"/>
                </a:cubicBezTo>
                <a:cubicBezTo>
                  <a:pt x="82" y="45"/>
                  <a:pt x="82" y="45"/>
                  <a:pt x="82" y="45"/>
                </a:cubicBezTo>
                <a:cubicBezTo>
                  <a:pt x="83" y="45"/>
                  <a:pt x="83" y="45"/>
                  <a:pt x="83" y="45"/>
                </a:cubicBezTo>
                <a:cubicBezTo>
                  <a:pt x="84" y="45"/>
                  <a:pt x="87" y="45"/>
                  <a:pt x="90" y="48"/>
                </a:cubicBezTo>
                <a:lnTo>
                  <a:pt x="101" y="59"/>
                </a:lnTo>
                <a:close/>
                <a:moveTo>
                  <a:pt x="114" y="62"/>
                </a:moveTo>
                <a:cubicBezTo>
                  <a:pt x="114" y="101"/>
                  <a:pt x="114" y="101"/>
                  <a:pt x="114" y="101"/>
                </a:cubicBezTo>
                <a:cubicBezTo>
                  <a:pt x="114" y="104"/>
                  <a:pt x="111" y="107"/>
                  <a:pt x="108" y="107"/>
                </a:cubicBezTo>
                <a:cubicBezTo>
                  <a:pt x="107" y="107"/>
                  <a:pt x="107" y="107"/>
                  <a:pt x="107" y="107"/>
                </a:cubicBezTo>
                <a:cubicBezTo>
                  <a:pt x="108" y="105"/>
                  <a:pt x="108" y="104"/>
                  <a:pt x="108" y="102"/>
                </a:cubicBezTo>
                <a:cubicBezTo>
                  <a:pt x="108" y="63"/>
                  <a:pt x="108" y="63"/>
                  <a:pt x="108" y="63"/>
                </a:cubicBezTo>
                <a:cubicBezTo>
                  <a:pt x="108" y="62"/>
                  <a:pt x="108" y="60"/>
                  <a:pt x="107" y="59"/>
                </a:cubicBezTo>
                <a:cubicBezTo>
                  <a:pt x="93" y="45"/>
                  <a:pt x="93" y="45"/>
                  <a:pt x="93" y="45"/>
                </a:cubicBezTo>
                <a:cubicBezTo>
                  <a:pt x="93" y="45"/>
                  <a:pt x="93" y="45"/>
                  <a:pt x="93" y="45"/>
                </a:cubicBezTo>
                <a:cubicBezTo>
                  <a:pt x="94" y="45"/>
                  <a:pt x="94" y="45"/>
                  <a:pt x="94" y="45"/>
                </a:cubicBezTo>
                <a:cubicBezTo>
                  <a:pt x="95" y="45"/>
                  <a:pt x="95" y="45"/>
                  <a:pt x="95" y="45"/>
                </a:cubicBezTo>
                <a:cubicBezTo>
                  <a:pt x="97" y="45"/>
                  <a:pt x="99" y="45"/>
                  <a:pt x="102" y="48"/>
                </a:cubicBezTo>
                <a:cubicBezTo>
                  <a:pt x="112" y="58"/>
                  <a:pt x="112" y="58"/>
                  <a:pt x="112" y="58"/>
                </a:cubicBezTo>
                <a:cubicBezTo>
                  <a:pt x="113" y="59"/>
                  <a:pt x="114" y="61"/>
                  <a:pt x="114" y="6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t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1" name="Freeform 36"/>
          <p:cNvSpPr>
            <a:spLocks noEditPoints="1"/>
          </p:cNvSpPr>
          <p:nvPr/>
        </p:nvSpPr>
        <p:spPr bwMode="black">
          <a:xfrm>
            <a:off x="3030997" y="4060087"/>
            <a:ext cx="599896" cy="599895"/>
          </a:xfrm>
          <a:custGeom>
            <a:avLst/>
            <a:gdLst>
              <a:gd name="T0" fmla="*/ 52 w 154"/>
              <a:gd name="T1" fmla="*/ 58 h 154"/>
              <a:gd name="T2" fmla="*/ 70 w 154"/>
              <a:gd name="T3" fmla="*/ 47 h 154"/>
              <a:gd name="T4" fmla="*/ 57 w 154"/>
              <a:gd name="T5" fmla="*/ 64 h 154"/>
              <a:gd name="T6" fmla="*/ 102 w 154"/>
              <a:gd name="T7" fmla="*/ 92 h 154"/>
              <a:gd name="T8" fmla="*/ 85 w 154"/>
              <a:gd name="T9" fmla="*/ 108 h 154"/>
              <a:gd name="T10" fmla="*/ 92 w 154"/>
              <a:gd name="T11" fmla="*/ 91 h 154"/>
              <a:gd name="T12" fmla="*/ 102 w 154"/>
              <a:gd name="T13" fmla="*/ 92 h 154"/>
              <a:gd name="T14" fmla="*/ 82 w 154"/>
              <a:gd name="T15" fmla="*/ 81 h 154"/>
              <a:gd name="T16" fmla="*/ 89 w 154"/>
              <a:gd name="T17" fmla="*/ 89 h 154"/>
              <a:gd name="T18" fmla="*/ 79 w 154"/>
              <a:gd name="T19" fmla="*/ 105 h 154"/>
              <a:gd name="T20" fmla="*/ 53 w 154"/>
              <a:gd name="T21" fmla="*/ 100 h 154"/>
              <a:gd name="T22" fmla="*/ 72 w 154"/>
              <a:gd name="T23" fmla="*/ 83 h 154"/>
              <a:gd name="T24" fmla="*/ 75 w 154"/>
              <a:gd name="T25" fmla="*/ 108 h 154"/>
              <a:gd name="T26" fmla="*/ 53 w 154"/>
              <a:gd name="T27" fmla="*/ 100 h 154"/>
              <a:gd name="T28" fmla="*/ 70 w 154"/>
              <a:gd name="T29" fmla="*/ 79 h 154"/>
              <a:gd name="T30" fmla="*/ 52 w 154"/>
              <a:gd name="T31" fmla="*/ 90 h 154"/>
              <a:gd name="T32" fmla="*/ 65 w 154"/>
              <a:gd name="T33" fmla="*/ 73 h 154"/>
              <a:gd name="T34" fmla="*/ 75 w 154"/>
              <a:gd name="T35" fmla="*/ 70 h 154"/>
              <a:gd name="T36" fmla="*/ 66 w 154"/>
              <a:gd name="T37" fmla="*/ 69 h 154"/>
              <a:gd name="T38" fmla="*/ 73 w 154"/>
              <a:gd name="T39" fmla="*/ 49 h 154"/>
              <a:gd name="T40" fmla="*/ 75 w 154"/>
              <a:gd name="T41" fmla="*/ 70 h 154"/>
              <a:gd name="T42" fmla="*/ 79 w 154"/>
              <a:gd name="T43" fmla="*/ 70 h 154"/>
              <a:gd name="T44" fmla="*/ 82 w 154"/>
              <a:gd name="T45" fmla="*/ 44 h 154"/>
              <a:gd name="T46" fmla="*/ 101 w 154"/>
              <a:gd name="T47" fmla="*/ 58 h 154"/>
              <a:gd name="T48" fmla="*/ 101 w 154"/>
              <a:gd name="T49" fmla="*/ 62 h 154"/>
              <a:gd name="T50" fmla="*/ 93 w 154"/>
              <a:gd name="T51" fmla="*/ 80 h 154"/>
              <a:gd name="T52" fmla="*/ 83 w 154"/>
              <a:gd name="T53" fmla="*/ 78 h 154"/>
              <a:gd name="T54" fmla="*/ 101 w 154"/>
              <a:gd name="T55" fmla="*/ 62 h 154"/>
              <a:gd name="T56" fmla="*/ 109 w 154"/>
              <a:gd name="T57" fmla="*/ 92 h 154"/>
              <a:gd name="T58" fmla="*/ 97 w 154"/>
              <a:gd name="T59" fmla="*/ 81 h 154"/>
              <a:gd name="T60" fmla="*/ 108 w 154"/>
              <a:gd name="T61" fmla="*/ 53 h 154"/>
              <a:gd name="T62" fmla="*/ 73 w 154"/>
              <a:gd name="T63" fmla="*/ 39 h 154"/>
              <a:gd name="T64" fmla="*/ 45 w 154"/>
              <a:gd name="T65" fmla="*/ 62 h 154"/>
              <a:gd name="T66" fmla="*/ 57 w 154"/>
              <a:gd name="T67" fmla="*/ 72 h 154"/>
              <a:gd name="T68" fmla="*/ 46 w 154"/>
              <a:gd name="T69" fmla="*/ 100 h 154"/>
              <a:gd name="T70" fmla="*/ 81 w 154"/>
              <a:gd name="T71" fmla="*/ 115 h 154"/>
              <a:gd name="T72" fmla="*/ 77 w 154"/>
              <a:gd name="T73" fmla="*/ 0 h 154"/>
              <a:gd name="T74" fmla="*/ 77 w 154"/>
              <a:gd name="T75" fmla="*/ 154 h 154"/>
              <a:gd name="T76" fmla="*/ 77 w 154"/>
              <a:gd name="T77" fmla="*/ 0 h 154"/>
              <a:gd name="T78" fmla="*/ 143 w 154"/>
              <a:gd name="T79" fmla="*/ 77 h 154"/>
              <a:gd name="T80" fmla="*/ 11 w 154"/>
              <a:gd name="T81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4" h="154">
                <a:moveTo>
                  <a:pt x="52" y="62"/>
                </a:moveTo>
                <a:cubicBezTo>
                  <a:pt x="50" y="61"/>
                  <a:pt x="50" y="59"/>
                  <a:pt x="52" y="58"/>
                </a:cubicBezTo>
                <a:cubicBezTo>
                  <a:pt x="69" y="46"/>
                  <a:pt x="69" y="46"/>
                  <a:pt x="69" y="46"/>
                </a:cubicBezTo>
                <a:cubicBezTo>
                  <a:pt x="70" y="45"/>
                  <a:pt x="71" y="46"/>
                  <a:pt x="70" y="47"/>
                </a:cubicBezTo>
                <a:cubicBezTo>
                  <a:pt x="62" y="63"/>
                  <a:pt x="62" y="63"/>
                  <a:pt x="62" y="63"/>
                </a:cubicBezTo>
                <a:cubicBezTo>
                  <a:pt x="61" y="65"/>
                  <a:pt x="59" y="65"/>
                  <a:pt x="57" y="64"/>
                </a:cubicBezTo>
                <a:lnTo>
                  <a:pt x="52" y="62"/>
                </a:lnTo>
                <a:close/>
                <a:moveTo>
                  <a:pt x="102" y="92"/>
                </a:moveTo>
                <a:cubicBezTo>
                  <a:pt x="104" y="93"/>
                  <a:pt x="104" y="94"/>
                  <a:pt x="102" y="95"/>
                </a:cubicBezTo>
                <a:cubicBezTo>
                  <a:pt x="85" y="108"/>
                  <a:pt x="85" y="108"/>
                  <a:pt x="85" y="108"/>
                </a:cubicBezTo>
                <a:cubicBezTo>
                  <a:pt x="83" y="109"/>
                  <a:pt x="83" y="108"/>
                  <a:pt x="83" y="107"/>
                </a:cubicBezTo>
                <a:cubicBezTo>
                  <a:pt x="92" y="91"/>
                  <a:pt x="92" y="91"/>
                  <a:pt x="92" y="91"/>
                </a:cubicBezTo>
                <a:cubicBezTo>
                  <a:pt x="93" y="89"/>
                  <a:pt x="95" y="88"/>
                  <a:pt x="96" y="89"/>
                </a:cubicBezTo>
                <a:lnTo>
                  <a:pt x="102" y="92"/>
                </a:lnTo>
                <a:close/>
                <a:moveTo>
                  <a:pt x="79" y="83"/>
                </a:moveTo>
                <a:cubicBezTo>
                  <a:pt x="79" y="81"/>
                  <a:pt x="80" y="81"/>
                  <a:pt x="82" y="81"/>
                </a:cubicBezTo>
                <a:cubicBezTo>
                  <a:pt x="87" y="84"/>
                  <a:pt x="87" y="84"/>
                  <a:pt x="87" y="84"/>
                </a:cubicBezTo>
                <a:cubicBezTo>
                  <a:pt x="89" y="85"/>
                  <a:pt x="89" y="87"/>
                  <a:pt x="89" y="89"/>
                </a:cubicBezTo>
                <a:cubicBezTo>
                  <a:pt x="80" y="105"/>
                  <a:pt x="80" y="105"/>
                  <a:pt x="80" y="105"/>
                </a:cubicBezTo>
                <a:cubicBezTo>
                  <a:pt x="79" y="107"/>
                  <a:pt x="79" y="107"/>
                  <a:pt x="79" y="105"/>
                </a:cubicBezTo>
                <a:lnTo>
                  <a:pt x="79" y="83"/>
                </a:lnTo>
                <a:close/>
                <a:moveTo>
                  <a:pt x="53" y="100"/>
                </a:moveTo>
                <a:cubicBezTo>
                  <a:pt x="51" y="99"/>
                  <a:pt x="51" y="97"/>
                  <a:pt x="52" y="96"/>
                </a:cubicBezTo>
                <a:cubicBezTo>
                  <a:pt x="72" y="83"/>
                  <a:pt x="72" y="83"/>
                  <a:pt x="72" y="83"/>
                </a:cubicBezTo>
                <a:cubicBezTo>
                  <a:pt x="74" y="82"/>
                  <a:pt x="75" y="82"/>
                  <a:pt x="75" y="84"/>
                </a:cubicBezTo>
                <a:cubicBezTo>
                  <a:pt x="75" y="108"/>
                  <a:pt x="75" y="108"/>
                  <a:pt x="75" y="108"/>
                </a:cubicBezTo>
                <a:cubicBezTo>
                  <a:pt x="75" y="110"/>
                  <a:pt x="73" y="111"/>
                  <a:pt x="72" y="110"/>
                </a:cubicBezTo>
                <a:lnTo>
                  <a:pt x="53" y="100"/>
                </a:lnTo>
                <a:close/>
                <a:moveTo>
                  <a:pt x="70" y="76"/>
                </a:moveTo>
                <a:cubicBezTo>
                  <a:pt x="72" y="76"/>
                  <a:pt x="72" y="78"/>
                  <a:pt x="70" y="79"/>
                </a:cubicBezTo>
                <a:cubicBezTo>
                  <a:pt x="53" y="91"/>
                  <a:pt x="53" y="91"/>
                  <a:pt x="53" y="91"/>
                </a:cubicBezTo>
                <a:cubicBezTo>
                  <a:pt x="51" y="92"/>
                  <a:pt x="51" y="92"/>
                  <a:pt x="52" y="90"/>
                </a:cubicBezTo>
                <a:cubicBezTo>
                  <a:pt x="60" y="74"/>
                  <a:pt x="60" y="74"/>
                  <a:pt x="60" y="74"/>
                </a:cubicBezTo>
                <a:cubicBezTo>
                  <a:pt x="61" y="72"/>
                  <a:pt x="63" y="72"/>
                  <a:pt x="65" y="73"/>
                </a:cubicBezTo>
                <a:lnTo>
                  <a:pt x="70" y="76"/>
                </a:lnTo>
                <a:close/>
                <a:moveTo>
                  <a:pt x="75" y="70"/>
                </a:moveTo>
                <a:cubicBezTo>
                  <a:pt x="75" y="72"/>
                  <a:pt x="74" y="73"/>
                  <a:pt x="72" y="72"/>
                </a:cubicBezTo>
                <a:cubicBezTo>
                  <a:pt x="66" y="69"/>
                  <a:pt x="66" y="69"/>
                  <a:pt x="66" y="69"/>
                </a:cubicBezTo>
                <a:cubicBezTo>
                  <a:pt x="65" y="68"/>
                  <a:pt x="64" y="66"/>
                  <a:pt x="65" y="65"/>
                </a:cubicBezTo>
                <a:cubicBezTo>
                  <a:pt x="73" y="49"/>
                  <a:pt x="73" y="49"/>
                  <a:pt x="73" y="49"/>
                </a:cubicBezTo>
                <a:cubicBezTo>
                  <a:pt x="74" y="47"/>
                  <a:pt x="75" y="47"/>
                  <a:pt x="75" y="49"/>
                </a:cubicBezTo>
                <a:lnTo>
                  <a:pt x="75" y="70"/>
                </a:lnTo>
                <a:close/>
                <a:moveTo>
                  <a:pt x="81" y="71"/>
                </a:moveTo>
                <a:cubicBezTo>
                  <a:pt x="80" y="72"/>
                  <a:pt x="79" y="72"/>
                  <a:pt x="79" y="70"/>
                </a:cubicBezTo>
                <a:cubicBezTo>
                  <a:pt x="79" y="46"/>
                  <a:pt x="79" y="46"/>
                  <a:pt x="79" y="46"/>
                </a:cubicBezTo>
                <a:cubicBezTo>
                  <a:pt x="79" y="44"/>
                  <a:pt x="80" y="43"/>
                  <a:pt x="82" y="44"/>
                </a:cubicBezTo>
                <a:cubicBezTo>
                  <a:pt x="101" y="54"/>
                  <a:pt x="101" y="54"/>
                  <a:pt x="101" y="54"/>
                </a:cubicBezTo>
                <a:cubicBezTo>
                  <a:pt x="102" y="55"/>
                  <a:pt x="102" y="57"/>
                  <a:pt x="101" y="58"/>
                </a:cubicBezTo>
                <a:lnTo>
                  <a:pt x="81" y="71"/>
                </a:lnTo>
                <a:close/>
                <a:moveTo>
                  <a:pt x="101" y="62"/>
                </a:moveTo>
                <a:cubicBezTo>
                  <a:pt x="102" y="61"/>
                  <a:pt x="103" y="62"/>
                  <a:pt x="102" y="63"/>
                </a:cubicBezTo>
                <a:cubicBezTo>
                  <a:pt x="93" y="80"/>
                  <a:pt x="93" y="80"/>
                  <a:pt x="93" y="80"/>
                </a:cubicBezTo>
                <a:cubicBezTo>
                  <a:pt x="93" y="81"/>
                  <a:pt x="91" y="82"/>
                  <a:pt x="89" y="81"/>
                </a:cubicBezTo>
                <a:cubicBezTo>
                  <a:pt x="83" y="78"/>
                  <a:pt x="83" y="78"/>
                  <a:pt x="83" y="78"/>
                </a:cubicBezTo>
                <a:cubicBezTo>
                  <a:pt x="82" y="77"/>
                  <a:pt x="82" y="76"/>
                  <a:pt x="83" y="75"/>
                </a:cubicBezTo>
                <a:lnTo>
                  <a:pt x="101" y="62"/>
                </a:lnTo>
                <a:close/>
                <a:moveTo>
                  <a:pt x="110" y="95"/>
                </a:moveTo>
                <a:cubicBezTo>
                  <a:pt x="111" y="94"/>
                  <a:pt x="111" y="92"/>
                  <a:pt x="109" y="92"/>
                </a:cubicBezTo>
                <a:cubicBezTo>
                  <a:pt x="98" y="86"/>
                  <a:pt x="98" y="86"/>
                  <a:pt x="98" y="86"/>
                </a:cubicBezTo>
                <a:cubicBezTo>
                  <a:pt x="97" y="85"/>
                  <a:pt x="96" y="83"/>
                  <a:pt x="97" y="81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10" y="56"/>
                  <a:pt x="109" y="54"/>
                  <a:pt x="108" y="53"/>
                </a:cubicBezTo>
                <a:cubicBezTo>
                  <a:pt x="79" y="38"/>
                  <a:pt x="79" y="38"/>
                  <a:pt x="79" y="38"/>
                </a:cubicBezTo>
                <a:cubicBezTo>
                  <a:pt x="77" y="37"/>
                  <a:pt x="75" y="38"/>
                  <a:pt x="73" y="39"/>
                </a:cubicBezTo>
                <a:cubicBezTo>
                  <a:pt x="44" y="59"/>
                  <a:pt x="44" y="59"/>
                  <a:pt x="44" y="59"/>
                </a:cubicBezTo>
                <a:cubicBezTo>
                  <a:pt x="43" y="60"/>
                  <a:pt x="43" y="61"/>
                  <a:pt x="45" y="62"/>
                </a:cubicBezTo>
                <a:cubicBezTo>
                  <a:pt x="55" y="68"/>
                  <a:pt x="55" y="68"/>
                  <a:pt x="55" y="68"/>
                </a:cubicBezTo>
                <a:cubicBezTo>
                  <a:pt x="57" y="69"/>
                  <a:pt x="58" y="71"/>
                  <a:pt x="57" y="72"/>
                </a:cubicBezTo>
                <a:cubicBezTo>
                  <a:pt x="44" y="96"/>
                  <a:pt x="44" y="96"/>
                  <a:pt x="44" y="96"/>
                </a:cubicBezTo>
                <a:cubicBezTo>
                  <a:pt x="44" y="98"/>
                  <a:pt x="44" y="100"/>
                  <a:pt x="46" y="100"/>
                </a:cubicBezTo>
                <a:cubicBezTo>
                  <a:pt x="75" y="116"/>
                  <a:pt x="75" y="116"/>
                  <a:pt x="75" y="116"/>
                </a:cubicBezTo>
                <a:cubicBezTo>
                  <a:pt x="77" y="117"/>
                  <a:pt x="79" y="116"/>
                  <a:pt x="81" y="115"/>
                </a:cubicBezTo>
                <a:lnTo>
                  <a:pt x="110" y="95"/>
                </a:lnTo>
                <a:close/>
                <a:moveTo>
                  <a:pt x="77" y="0"/>
                </a:moveTo>
                <a:cubicBezTo>
                  <a:pt x="35" y="0"/>
                  <a:pt x="0" y="35"/>
                  <a:pt x="0" y="77"/>
                </a:cubicBezTo>
                <a:cubicBezTo>
                  <a:pt x="0" y="119"/>
                  <a:pt x="35" y="154"/>
                  <a:pt x="77" y="154"/>
                </a:cubicBezTo>
                <a:cubicBezTo>
                  <a:pt x="119" y="154"/>
                  <a:pt x="154" y="119"/>
                  <a:pt x="154" y="77"/>
                </a:cubicBezTo>
                <a:cubicBezTo>
                  <a:pt x="154" y="35"/>
                  <a:pt x="119" y="0"/>
                  <a:pt x="77" y="0"/>
                </a:cubicBezTo>
                <a:moveTo>
                  <a:pt x="77" y="11"/>
                </a:moveTo>
                <a:cubicBezTo>
                  <a:pt x="114" y="11"/>
                  <a:pt x="143" y="40"/>
                  <a:pt x="143" y="77"/>
                </a:cubicBezTo>
                <a:cubicBezTo>
                  <a:pt x="143" y="114"/>
                  <a:pt x="114" y="143"/>
                  <a:pt x="77" y="143"/>
                </a:cubicBezTo>
                <a:cubicBezTo>
                  <a:pt x="40" y="143"/>
                  <a:pt x="11" y="114"/>
                  <a:pt x="11" y="77"/>
                </a:cubicBezTo>
                <a:cubicBezTo>
                  <a:pt x="11" y="40"/>
                  <a:pt x="40" y="11"/>
                  <a:pt x="77" y="1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64" tIns="46632" rIns="93264" bIns="46632" numCol="1" anchor="b" anchorCtr="0" compatLnSpc="1"/>
          <a:lstStyle>
            <a:defPPr>
              <a:defRPr lang="en-US"/>
            </a:defPPr>
            <a:lvl1pPr marL="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09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81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890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63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72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44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35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1260" algn="l" defTabSz="932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18"/>
          <p:cNvPicPr>
            <a:picLocks noChangeAspect="1"/>
          </p:cNvPicPr>
          <p:nvPr/>
        </p:nvPicPr>
        <p:blipFill>
          <a:blip r:embed="rId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48023" y="607173"/>
            <a:ext cx="720080" cy="712579"/>
          </a:xfrm>
          <a:prstGeom prst="rect">
            <a:avLst/>
          </a:prstGeom>
        </p:spPr>
      </p:pic>
      <p:pic>
        <p:nvPicPr>
          <p:cNvPr id="63" name="Picture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555526"/>
            <a:ext cx="495622" cy="607006"/>
          </a:xfrm>
          <a:prstGeom prst="rect">
            <a:avLst/>
          </a:prstGeom>
        </p:spPr>
      </p:pic>
      <p:pic>
        <p:nvPicPr>
          <p:cNvPr id="65" name="Picture 74"/>
          <p:cNvPicPr>
            <a:picLocks noChangeAspect="1" noChangeArrowheads="1"/>
          </p:cNvPicPr>
          <p:nvPr/>
        </p:nvPicPr>
        <p:blipFill>
          <a:blip r:embed="rId3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8096175" y="1794310"/>
            <a:ext cx="648072" cy="544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" name="Picture 2" descr="\\MAGNUM\Projects\Microsoft\Cloud Power FY12\Design\ICONS_PNG\Devices.png"/>
          <p:cNvPicPr>
            <a:picLocks noChangeAspect="1" noChangeArrowheads="1"/>
          </p:cNvPicPr>
          <p:nvPr/>
        </p:nvPicPr>
        <p:blipFill>
          <a:blip r:embed="rId4" cstate="print">
            <a:lum bright="100000" contrast="100000"/>
          </a:blip>
          <a:stretch>
            <a:fillRect/>
          </a:stretch>
        </p:blipFill>
        <p:spPr bwMode="auto">
          <a:xfrm>
            <a:off x="7987641" y="2815927"/>
            <a:ext cx="873694" cy="8736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7" name="Group 66"/>
          <p:cNvGrpSpPr/>
          <p:nvPr/>
        </p:nvGrpSpPr>
        <p:grpSpPr bwMode="black">
          <a:xfrm>
            <a:off x="8107736" y="4076843"/>
            <a:ext cx="656306" cy="657364"/>
            <a:chOff x="1566863" y="2774950"/>
            <a:chExt cx="698500" cy="700088"/>
          </a:xfrm>
          <a:solidFill>
            <a:srgbClr val="FFFFFF"/>
          </a:solidFill>
        </p:grpSpPr>
        <p:sp>
          <p:nvSpPr>
            <p:cNvPr id="68" name="Freeform 8"/>
            <p:cNvSpPr>
              <a:spLocks noEditPoints="1"/>
            </p:cNvSpPr>
            <p:nvPr/>
          </p:nvSpPr>
          <p:spPr bwMode="black">
            <a:xfrm>
              <a:off x="1566863" y="2774950"/>
              <a:ext cx="698500" cy="700088"/>
            </a:xfrm>
            <a:custGeom>
              <a:avLst/>
              <a:gdLst>
                <a:gd name="T0" fmla="*/ 333 w 393"/>
                <a:gd name="T1" fmla="*/ 0 h 394"/>
                <a:gd name="T2" fmla="*/ 61 w 393"/>
                <a:gd name="T3" fmla="*/ 0 h 394"/>
                <a:gd name="T4" fmla="*/ 0 w 393"/>
                <a:gd name="T5" fmla="*/ 61 h 394"/>
                <a:gd name="T6" fmla="*/ 0 w 393"/>
                <a:gd name="T7" fmla="*/ 333 h 394"/>
                <a:gd name="T8" fmla="*/ 61 w 393"/>
                <a:gd name="T9" fmla="*/ 394 h 394"/>
                <a:gd name="T10" fmla="*/ 333 w 393"/>
                <a:gd name="T11" fmla="*/ 394 h 394"/>
                <a:gd name="T12" fmla="*/ 393 w 393"/>
                <a:gd name="T13" fmla="*/ 333 h 394"/>
                <a:gd name="T14" fmla="*/ 393 w 393"/>
                <a:gd name="T15" fmla="*/ 61 h 394"/>
                <a:gd name="T16" fmla="*/ 333 w 393"/>
                <a:gd name="T17" fmla="*/ 0 h 394"/>
                <a:gd name="T18" fmla="*/ 376 w 393"/>
                <a:gd name="T19" fmla="*/ 333 h 394"/>
                <a:gd name="T20" fmla="*/ 333 w 393"/>
                <a:gd name="T21" fmla="*/ 376 h 394"/>
                <a:gd name="T22" fmla="*/ 61 w 393"/>
                <a:gd name="T23" fmla="*/ 376 h 394"/>
                <a:gd name="T24" fmla="*/ 18 w 393"/>
                <a:gd name="T25" fmla="*/ 333 h 394"/>
                <a:gd name="T26" fmla="*/ 18 w 393"/>
                <a:gd name="T27" fmla="*/ 61 h 394"/>
                <a:gd name="T28" fmla="*/ 61 w 393"/>
                <a:gd name="T29" fmla="*/ 18 h 394"/>
                <a:gd name="T30" fmla="*/ 333 w 393"/>
                <a:gd name="T31" fmla="*/ 18 h 394"/>
                <a:gd name="T32" fmla="*/ 376 w 393"/>
                <a:gd name="T33" fmla="*/ 61 h 394"/>
                <a:gd name="T34" fmla="*/ 376 w 393"/>
                <a:gd name="T35" fmla="*/ 33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3" h="394">
                  <a:moveTo>
                    <a:pt x="333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28" y="0"/>
                    <a:pt x="0" y="28"/>
                    <a:pt x="0" y="61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66"/>
                    <a:pt x="28" y="394"/>
                    <a:pt x="61" y="394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66" y="394"/>
                    <a:pt x="393" y="366"/>
                    <a:pt x="393" y="333"/>
                  </a:cubicBezTo>
                  <a:cubicBezTo>
                    <a:pt x="393" y="61"/>
                    <a:pt x="393" y="61"/>
                    <a:pt x="393" y="61"/>
                  </a:cubicBezTo>
                  <a:cubicBezTo>
                    <a:pt x="393" y="28"/>
                    <a:pt x="366" y="0"/>
                    <a:pt x="333" y="0"/>
                  </a:cubicBezTo>
                  <a:close/>
                  <a:moveTo>
                    <a:pt x="376" y="333"/>
                  </a:moveTo>
                  <a:cubicBezTo>
                    <a:pt x="376" y="357"/>
                    <a:pt x="357" y="376"/>
                    <a:pt x="333" y="376"/>
                  </a:cubicBezTo>
                  <a:cubicBezTo>
                    <a:pt x="61" y="376"/>
                    <a:pt x="61" y="376"/>
                    <a:pt x="61" y="376"/>
                  </a:cubicBezTo>
                  <a:cubicBezTo>
                    <a:pt x="37" y="376"/>
                    <a:pt x="18" y="357"/>
                    <a:pt x="18" y="333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37"/>
                    <a:pt x="37" y="18"/>
                    <a:pt x="61" y="18"/>
                  </a:cubicBezTo>
                  <a:cubicBezTo>
                    <a:pt x="333" y="18"/>
                    <a:pt x="333" y="18"/>
                    <a:pt x="333" y="18"/>
                  </a:cubicBezTo>
                  <a:cubicBezTo>
                    <a:pt x="357" y="18"/>
                    <a:pt x="376" y="37"/>
                    <a:pt x="376" y="61"/>
                  </a:cubicBezTo>
                  <a:lnTo>
                    <a:pt x="376" y="3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69" name="Freeform 9"/>
            <p:cNvSpPr/>
            <p:nvPr/>
          </p:nvSpPr>
          <p:spPr bwMode="black">
            <a:xfrm>
              <a:off x="1827213" y="2951163"/>
              <a:ext cx="263525" cy="290513"/>
            </a:xfrm>
            <a:custGeom>
              <a:avLst/>
              <a:gdLst>
                <a:gd name="T0" fmla="*/ 50 w 148"/>
                <a:gd name="T1" fmla="*/ 0 h 163"/>
                <a:gd name="T2" fmla="*/ 0 w 148"/>
                <a:gd name="T3" fmla="*/ 13 h 163"/>
                <a:gd name="T4" fmla="*/ 124 w 148"/>
                <a:gd name="T5" fmla="*/ 163 h 163"/>
                <a:gd name="T6" fmla="*/ 148 w 148"/>
                <a:gd name="T7" fmla="*/ 98 h 163"/>
                <a:gd name="T8" fmla="*/ 50 w 148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63">
                  <a:moveTo>
                    <a:pt x="50" y="0"/>
                  </a:moveTo>
                  <a:cubicBezTo>
                    <a:pt x="32" y="0"/>
                    <a:pt x="15" y="5"/>
                    <a:pt x="0" y="13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39" y="145"/>
                    <a:pt x="148" y="123"/>
                    <a:pt x="148" y="98"/>
                  </a:cubicBezTo>
                  <a:cubicBezTo>
                    <a:pt x="148" y="44"/>
                    <a:pt x="104" y="0"/>
                    <a:pt x="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0" name="Freeform 10"/>
            <p:cNvSpPr/>
            <p:nvPr/>
          </p:nvSpPr>
          <p:spPr bwMode="black">
            <a:xfrm>
              <a:off x="1743075" y="3011488"/>
              <a:ext cx="260350" cy="287338"/>
            </a:xfrm>
            <a:custGeom>
              <a:avLst/>
              <a:gdLst>
                <a:gd name="T0" fmla="*/ 0 w 147"/>
                <a:gd name="T1" fmla="*/ 64 h 162"/>
                <a:gd name="T2" fmla="*/ 98 w 147"/>
                <a:gd name="T3" fmla="*/ 162 h 162"/>
                <a:gd name="T4" fmla="*/ 147 w 147"/>
                <a:gd name="T5" fmla="*/ 149 h 162"/>
                <a:gd name="T6" fmla="*/ 23 w 147"/>
                <a:gd name="T7" fmla="*/ 0 h 162"/>
                <a:gd name="T8" fmla="*/ 0 w 147"/>
                <a:gd name="T9" fmla="*/ 6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62">
                  <a:moveTo>
                    <a:pt x="0" y="64"/>
                  </a:moveTo>
                  <a:cubicBezTo>
                    <a:pt x="0" y="118"/>
                    <a:pt x="44" y="162"/>
                    <a:pt x="98" y="162"/>
                  </a:cubicBezTo>
                  <a:cubicBezTo>
                    <a:pt x="116" y="162"/>
                    <a:pt x="132" y="158"/>
                    <a:pt x="147" y="149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9" y="17"/>
                    <a:pt x="0" y="40"/>
                    <a:pt x="0" y="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1" name="Freeform 11"/>
            <p:cNvSpPr>
              <a:spLocks noEditPoints="1"/>
            </p:cNvSpPr>
            <p:nvPr/>
          </p:nvSpPr>
          <p:spPr bwMode="black">
            <a:xfrm>
              <a:off x="1628775" y="2836863"/>
              <a:ext cx="576263" cy="576263"/>
            </a:xfrm>
            <a:custGeom>
              <a:avLst/>
              <a:gdLst>
                <a:gd name="T0" fmla="*/ 298 w 324"/>
                <a:gd name="T1" fmla="*/ 0 h 324"/>
                <a:gd name="T2" fmla="*/ 26 w 324"/>
                <a:gd name="T3" fmla="*/ 0 h 324"/>
                <a:gd name="T4" fmla="*/ 0 w 324"/>
                <a:gd name="T5" fmla="*/ 26 h 324"/>
                <a:gd name="T6" fmla="*/ 0 w 324"/>
                <a:gd name="T7" fmla="*/ 298 h 324"/>
                <a:gd name="T8" fmla="*/ 26 w 324"/>
                <a:gd name="T9" fmla="*/ 324 h 324"/>
                <a:gd name="T10" fmla="*/ 298 w 324"/>
                <a:gd name="T11" fmla="*/ 324 h 324"/>
                <a:gd name="T12" fmla="*/ 324 w 324"/>
                <a:gd name="T13" fmla="*/ 298 h 324"/>
                <a:gd name="T14" fmla="*/ 324 w 324"/>
                <a:gd name="T15" fmla="*/ 26 h 324"/>
                <a:gd name="T16" fmla="*/ 298 w 324"/>
                <a:gd name="T17" fmla="*/ 0 h 324"/>
                <a:gd name="T18" fmla="*/ 162 w 324"/>
                <a:gd name="T19" fmla="*/ 296 h 324"/>
                <a:gd name="T20" fmla="*/ 28 w 324"/>
                <a:gd name="T21" fmla="*/ 162 h 324"/>
                <a:gd name="T22" fmla="*/ 162 w 324"/>
                <a:gd name="T23" fmla="*/ 28 h 324"/>
                <a:gd name="T24" fmla="*/ 296 w 324"/>
                <a:gd name="T25" fmla="*/ 162 h 324"/>
                <a:gd name="T26" fmla="*/ 162 w 324"/>
                <a:gd name="T27" fmla="*/ 296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4" h="324">
                  <a:moveTo>
                    <a:pt x="298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0" y="312"/>
                    <a:pt x="12" y="324"/>
                    <a:pt x="26" y="324"/>
                  </a:cubicBezTo>
                  <a:cubicBezTo>
                    <a:pt x="298" y="324"/>
                    <a:pt x="298" y="324"/>
                    <a:pt x="298" y="324"/>
                  </a:cubicBezTo>
                  <a:cubicBezTo>
                    <a:pt x="312" y="324"/>
                    <a:pt x="324" y="312"/>
                    <a:pt x="324" y="298"/>
                  </a:cubicBezTo>
                  <a:cubicBezTo>
                    <a:pt x="324" y="26"/>
                    <a:pt x="324" y="26"/>
                    <a:pt x="324" y="26"/>
                  </a:cubicBezTo>
                  <a:cubicBezTo>
                    <a:pt x="324" y="12"/>
                    <a:pt x="312" y="0"/>
                    <a:pt x="298" y="0"/>
                  </a:cubicBezTo>
                  <a:close/>
                  <a:moveTo>
                    <a:pt x="162" y="296"/>
                  </a:moveTo>
                  <a:cubicBezTo>
                    <a:pt x="88" y="296"/>
                    <a:pt x="28" y="236"/>
                    <a:pt x="28" y="162"/>
                  </a:cubicBezTo>
                  <a:cubicBezTo>
                    <a:pt x="28" y="88"/>
                    <a:pt x="88" y="28"/>
                    <a:pt x="162" y="28"/>
                  </a:cubicBezTo>
                  <a:cubicBezTo>
                    <a:pt x="236" y="28"/>
                    <a:pt x="296" y="88"/>
                    <a:pt x="296" y="162"/>
                  </a:cubicBezTo>
                  <a:cubicBezTo>
                    <a:pt x="296" y="236"/>
                    <a:pt x="236" y="296"/>
                    <a:pt x="162" y="29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2" name="Group 76"/>
          <p:cNvGrpSpPr/>
          <p:nvPr/>
        </p:nvGrpSpPr>
        <p:grpSpPr bwMode="black">
          <a:xfrm>
            <a:off x="4248023" y="1700394"/>
            <a:ext cx="753955" cy="751747"/>
            <a:chOff x="2576513" y="555625"/>
            <a:chExt cx="700088" cy="698500"/>
          </a:xfrm>
          <a:solidFill>
            <a:srgbClr val="FFFFFF"/>
          </a:solidFill>
        </p:grpSpPr>
        <p:sp>
          <p:nvSpPr>
            <p:cNvPr id="73" name="Freeform 20"/>
            <p:cNvSpPr>
              <a:spLocks noEditPoints="1"/>
            </p:cNvSpPr>
            <p:nvPr/>
          </p:nvSpPr>
          <p:spPr bwMode="black">
            <a:xfrm>
              <a:off x="2576513" y="555625"/>
              <a:ext cx="700088" cy="698500"/>
            </a:xfrm>
            <a:custGeom>
              <a:avLst/>
              <a:gdLst>
                <a:gd name="T0" fmla="*/ 333 w 394"/>
                <a:gd name="T1" fmla="*/ 0 h 393"/>
                <a:gd name="T2" fmla="*/ 61 w 394"/>
                <a:gd name="T3" fmla="*/ 0 h 393"/>
                <a:gd name="T4" fmla="*/ 0 w 394"/>
                <a:gd name="T5" fmla="*/ 60 h 393"/>
                <a:gd name="T6" fmla="*/ 0 w 394"/>
                <a:gd name="T7" fmla="*/ 333 h 393"/>
                <a:gd name="T8" fmla="*/ 61 w 394"/>
                <a:gd name="T9" fmla="*/ 393 h 393"/>
                <a:gd name="T10" fmla="*/ 333 w 394"/>
                <a:gd name="T11" fmla="*/ 393 h 393"/>
                <a:gd name="T12" fmla="*/ 394 w 394"/>
                <a:gd name="T13" fmla="*/ 333 h 393"/>
                <a:gd name="T14" fmla="*/ 394 w 394"/>
                <a:gd name="T15" fmla="*/ 60 h 393"/>
                <a:gd name="T16" fmla="*/ 333 w 394"/>
                <a:gd name="T17" fmla="*/ 0 h 393"/>
                <a:gd name="T18" fmla="*/ 376 w 394"/>
                <a:gd name="T19" fmla="*/ 333 h 393"/>
                <a:gd name="T20" fmla="*/ 333 w 394"/>
                <a:gd name="T21" fmla="*/ 376 h 393"/>
                <a:gd name="T22" fmla="*/ 61 w 394"/>
                <a:gd name="T23" fmla="*/ 376 h 393"/>
                <a:gd name="T24" fmla="*/ 18 w 394"/>
                <a:gd name="T25" fmla="*/ 333 h 393"/>
                <a:gd name="T26" fmla="*/ 18 w 394"/>
                <a:gd name="T27" fmla="*/ 60 h 393"/>
                <a:gd name="T28" fmla="*/ 61 w 394"/>
                <a:gd name="T29" fmla="*/ 17 h 393"/>
                <a:gd name="T30" fmla="*/ 333 w 394"/>
                <a:gd name="T31" fmla="*/ 17 h 393"/>
                <a:gd name="T32" fmla="*/ 376 w 394"/>
                <a:gd name="T33" fmla="*/ 60 h 393"/>
                <a:gd name="T34" fmla="*/ 376 w 394"/>
                <a:gd name="T35" fmla="*/ 33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4" h="393">
                  <a:moveTo>
                    <a:pt x="333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28" y="0"/>
                    <a:pt x="0" y="27"/>
                    <a:pt x="0" y="6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66"/>
                    <a:pt x="28" y="393"/>
                    <a:pt x="61" y="393"/>
                  </a:cubicBezTo>
                  <a:cubicBezTo>
                    <a:pt x="333" y="393"/>
                    <a:pt x="333" y="393"/>
                    <a:pt x="333" y="393"/>
                  </a:cubicBezTo>
                  <a:cubicBezTo>
                    <a:pt x="366" y="393"/>
                    <a:pt x="394" y="366"/>
                    <a:pt x="394" y="333"/>
                  </a:cubicBezTo>
                  <a:cubicBezTo>
                    <a:pt x="394" y="60"/>
                    <a:pt x="394" y="60"/>
                    <a:pt x="394" y="60"/>
                  </a:cubicBezTo>
                  <a:cubicBezTo>
                    <a:pt x="394" y="27"/>
                    <a:pt x="366" y="0"/>
                    <a:pt x="333" y="0"/>
                  </a:cubicBezTo>
                  <a:close/>
                  <a:moveTo>
                    <a:pt x="376" y="333"/>
                  </a:moveTo>
                  <a:cubicBezTo>
                    <a:pt x="376" y="356"/>
                    <a:pt x="357" y="376"/>
                    <a:pt x="333" y="376"/>
                  </a:cubicBezTo>
                  <a:cubicBezTo>
                    <a:pt x="61" y="376"/>
                    <a:pt x="61" y="376"/>
                    <a:pt x="61" y="376"/>
                  </a:cubicBezTo>
                  <a:cubicBezTo>
                    <a:pt x="37" y="376"/>
                    <a:pt x="18" y="356"/>
                    <a:pt x="18" y="333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37"/>
                    <a:pt x="37" y="17"/>
                    <a:pt x="61" y="17"/>
                  </a:cubicBezTo>
                  <a:cubicBezTo>
                    <a:pt x="333" y="17"/>
                    <a:pt x="333" y="17"/>
                    <a:pt x="333" y="17"/>
                  </a:cubicBezTo>
                  <a:cubicBezTo>
                    <a:pt x="357" y="17"/>
                    <a:pt x="376" y="37"/>
                    <a:pt x="376" y="60"/>
                  </a:cubicBezTo>
                  <a:lnTo>
                    <a:pt x="376" y="3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4" name="Freeform 21"/>
            <p:cNvSpPr/>
            <p:nvPr/>
          </p:nvSpPr>
          <p:spPr bwMode="black">
            <a:xfrm>
              <a:off x="2867025" y="833438"/>
              <a:ext cx="30163" cy="76200"/>
            </a:xfrm>
            <a:custGeom>
              <a:avLst/>
              <a:gdLst>
                <a:gd name="T0" fmla="*/ 17 w 17"/>
                <a:gd name="T1" fmla="*/ 43 h 43"/>
                <a:gd name="T2" fmla="*/ 17 w 17"/>
                <a:gd name="T3" fmla="*/ 0 h 43"/>
                <a:gd name="T4" fmla="*/ 0 w 17"/>
                <a:gd name="T5" fmla="*/ 25 h 43"/>
                <a:gd name="T6" fmla="*/ 17 w 17"/>
                <a:gd name="T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3">
                  <a:moveTo>
                    <a:pt x="17" y="43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5" y="16"/>
                    <a:pt x="0" y="25"/>
                  </a:cubicBezTo>
                  <a:lnTo>
                    <a:pt x="17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75" name="Freeform 22"/>
            <p:cNvSpPr>
              <a:spLocks noEditPoints="1"/>
            </p:cNvSpPr>
            <p:nvPr/>
          </p:nvSpPr>
          <p:spPr bwMode="black">
            <a:xfrm>
              <a:off x="2638425" y="615950"/>
              <a:ext cx="576263" cy="574675"/>
            </a:xfrm>
            <a:custGeom>
              <a:avLst/>
              <a:gdLst>
                <a:gd name="T0" fmla="*/ 298 w 324"/>
                <a:gd name="T1" fmla="*/ 0 h 324"/>
                <a:gd name="T2" fmla="*/ 26 w 324"/>
                <a:gd name="T3" fmla="*/ 0 h 324"/>
                <a:gd name="T4" fmla="*/ 0 w 324"/>
                <a:gd name="T5" fmla="*/ 26 h 324"/>
                <a:gd name="T6" fmla="*/ 0 w 324"/>
                <a:gd name="T7" fmla="*/ 299 h 324"/>
                <a:gd name="T8" fmla="*/ 26 w 324"/>
                <a:gd name="T9" fmla="*/ 324 h 324"/>
                <a:gd name="T10" fmla="*/ 298 w 324"/>
                <a:gd name="T11" fmla="*/ 324 h 324"/>
                <a:gd name="T12" fmla="*/ 324 w 324"/>
                <a:gd name="T13" fmla="*/ 299 h 324"/>
                <a:gd name="T14" fmla="*/ 324 w 324"/>
                <a:gd name="T15" fmla="*/ 26 h 324"/>
                <a:gd name="T16" fmla="*/ 298 w 324"/>
                <a:gd name="T17" fmla="*/ 0 h 324"/>
                <a:gd name="T18" fmla="*/ 236 w 324"/>
                <a:gd name="T19" fmla="*/ 268 h 324"/>
                <a:gd name="T20" fmla="*/ 171 w 324"/>
                <a:gd name="T21" fmla="*/ 268 h 324"/>
                <a:gd name="T22" fmla="*/ 203 w 324"/>
                <a:gd name="T23" fmla="*/ 237 h 324"/>
                <a:gd name="T24" fmla="*/ 130 w 324"/>
                <a:gd name="T25" fmla="*/ 166 h 324"/>
                <a:gd name="T26" fmla="*/ 142 w 324"/>
                <a:gd name="T27" fmla="*/ 210 h 324"/>
                <a:gd name="T28" fmla="*/ 142 w 324"/>
                <a:gd name="T29" fmla="*/ 271 h 324"/>
                <a:gd name="T30" fmla="*/ 125 w 324"/>
                <a:gd name="T31" fmla="*/ 271 h 324"/>
                <a:gd name="T32" fmla="*/ 125 w 324"/>
                <a:gd name="T33" fmla="*/ 219 h 324"/>
                <a:gd name="T34" fmla="*/ 113 w 324"/>
                <a:gd name="T35" fmla="*/ 185 h 324"/>
                <a:gd name="T36" fmla="*/ 101 w 324"/>
                <a:gd name="T37" fmla="*/ 198 h 324"/>
                <a:gd name="T38" fmla="*/ 95 w 324"/>
                <a:gd name="T39" fmla="*/ 269 h 324"/>
                <a:gd name="T40" fmla="*/ 80 w 324"/>
                <a:gd name="T41" fmla="*/ 269 h 324"/>
                <a:gd name="T42" fmla="*/ 79 w 324"/>
                <a:gd name="T43" fmla="*/ 187 h 324"/>
                <a:gd name="T44" fmla="*/ 84 w 324"/>
                <a:gd name="T45" fmla="*/ 136 h 324"/>
                <a:gd name="T46" fmla="*/ 66 w 324"/>
                <a:gd name="T47" fmla="*/ 99 h 324"/>
                <a:gd name="T48" fmla="*/ 123 w 324"/>
                <a:gd name="T49" fmla="*/ 72 h 324"/>
                <a:gd name="T50" fmla="*/ 145 w 324"/>
                <a:gd name="T51" fmla="*/ 67 h 324"/>
                <a:gd name="T52" fmla="*/ 137 w 324"/>
                <a:gd name="T53" fmla="*/ 50 h 324"/>
                <a:gd name="T54" fmla="*/ 161 w 324"/>
                <a:gd name="T55" fmla="*/ 26 h 324"/>
                <a:gd name="T56" fmla="*/ 185 w 324"/>
                <a:gd name="T57" fmla="*/ 50 h 324"/>
                <a:gd name="T58" fmla="*/ 161 w 324"/>
                <a:gd name="T59" fmla="*/ 74 h 324"/>
                <a:gd name="T60" fmla="*/ 152 w 324"/>
                <a:gd name="T61" fmla="*/ 72 h 324"/>
                <a:gd name="T62" fmla="*/ 164 w 324"/>
                <a:gd name="T63" fmla="*/ 101 h 324"/>
                <a:gd name="T64" fmla="*/ 157 w 324"/>
                <a:gd name="T65" fmla="*/ 122 h 324"/>
                <a:gd name="T66" fmla="*/ 158 w 324"/>
                <a:gd name="T67" fmla="*/ 177 h 324"/>
                <a:gd name="T68" fmla="*/ 207 w 324"/>
                <a:gd name="T69" fmla="*/ 225 h 324"/>
                <a:gd name="T70" fmla="*/ 208 w 324"/>
                <a:gd name="T71" fmla="*/ 222 h 324"/>
                <a:gd name="T72" fmla="*/ 290 w 324"/>
                <a:gd name="T73" fmla="*/ 210 h 324"/>
                <a:gd name="T74" fmla="*/ 236 w 324"/>
                <a:gd name="T75" fmla="*/ 26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4" h="324">
                  <a:moveTo>
                    <a:pt x="298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13"/>
                    <a:pt x="12" y="324"/>
                    <a:pt x="26" y="324"/>
                  </a:cubicBezTo>
                  <a:cubicBezTo>
                    <a:pt x="298" y="324"/>
                    <a:pt x="298" y="324"/>
                    <a:pt x="298" y="324"/>
                  </a:cubicBezTo>
                  <a:cubicBezTo>
                    <a:pt x="312" y="324"/>
                    <a:pt x="324" y="313"/>
                    <a:pt x="324" y="299"/>
                  </a:cubicBezTo>
                  <a:cubicBezTo>
                    <a:pt x="324" y="26"/>
                    <a:pt x="324" y="26"/>
                    <a:pt x="324" y="26"/>
                  </a:cubicBezTo>
                  <a:cubicBezTo>
                    <a:pt x="324" y="12"/>
                    <a:pt x="312" y="0"/>
                    <a:pt x="298" y="0"/>
                  </a:cubicBezTo>
                  <a:close/>
                  <a:moveTo>
                    <a:pt x="236" y="268"/>
                  </a:moveTo>
                  <a:cubicBezTo>
                    <a:pt x="171" y="268"/>
                    <a:pt x="171" y="268"/>
                    <a:pt x="171" y="268"/>
                  </a:cubicBezTo>
                  <a:cubicBezTo>
                    <a:pt x="179" y="250"/>
                    <a:pt x="200" y="239"/>
                    <a:pt x="203" y="237"/>
                  </a:cubicBezTo>
                  <a:cubicBezTo>
                    <a:pt x="130" y="166"/>
                    <a:pt x="130" y="166"/>
                    <a:pt x="130" y="166"/>
                  </a:cubicBezTo>
                  <a:cubicBezTo>
                    <a:pt x="134" y="176"/>
                    <a:pt x="141" y="191"/>
                    <a:pt x="142" y="210"/>
                  </a:cubicBezTo>
                  <a:cubicBezTo>
                    <a:pt x="142" y="271"/>
                    <a:pt x="142" y="271"/>
                    <a:pt x="142" y="271"/>
                  </a:cubicBezTo>
                  <a:cubicBezTo>
                    <a:pt x="125" y="271"/>
                    <a:pt x="125" y="271"/>
                    <a:pt x="125" y="271"/>
                  </a:cubicBezTo>
                  <a:cubicBezTo>
                    <a:pt x="125" y="219"/>
                    <a:pt x="125" y="219"/>
                    <a:pt x="125" y="219"/>
                  </a:cubicBezTo>
                  <a:cubicBezTo>
                    <a:pt x="125" y="219"/>
                    <a:pt x="121" y="193"/>
                    <a:pt x="113" y="185"/>
                  </a:cubicBezTo>
                  <a:cubicBezTo>
                    <a:pt x="105" y="177"/>
                    <a:pt x="101" y="192"/>
                    <a:pt x="101" y="198"/>
                  </a:cubicBezTo>
                  <a:cubicBezTo>
                    <a:pt x="101" y="204"/>
                    <a:pt x="100" y="262"/>
                    <a:pt x="95" y="269"/>
                  </a:cubicBezTo>
                  <a:cubicBezTo>
                    <a:pt x="80" y="269"/>
                    <a:pt x="80" y="269"/>
                    <a:pt x="80" y="269"/>
                  </a:cubicBezTo>
                  <a:cubicBezTo>
                    <a:pt x="79" y="187"/>
                    <a:pt x="79" y="187"/>
                    <a:pt x="79" y="187"/>
                  </a:cubicBezTo>
                  <a:cubicBezTo>
                    <a:pt x="79" y="187"/>
                    <a:pt x="66" y="154"/>
                    <a:pt x="84" y="136"/>
                  </a:cubicBezTo>
                  <a:cubicBezTo>
                    <a:pt x="84" y="136"/>
                    <a:pt x="62" y="108"/>
                    <a:pt x="66" y="99"/>
                  </a:cubicBezTo>
                  <a:cubicBezTo>
                    <a:pt x="70" y="90"/>
                    <a:pt x="116" y="76"/>
                    <a:pt x="123" y="72"/>
                  </a:cubicBezTo>
                  <a:cubicBezTo>
                    <a:pt x="128" y="69"/>
                    <a:pt x="138" y="67"/>
                    <a:pt x="145" y="67"/>
                  </a:cubicBezTo>
                  <a:cubicBezTo>
                    <a:pt x="140" y="63"/>
                    <a:pt x="137" y="57"/>
                    <a:pt x="137" y="50"/>
                  </a:cubicBezTo>
                  <a:cubicBezTo>
                    <a:pt x="137" y="37"/>
                    <a:pt x="148" y="26"/>
                    <a:pt x="161" y="26"/>
                  </a:cubicBezTo>
                  <a:cubicBezTo>
                    <a:pt x="174" y="26"/>
                    <a:pt x="185" y="37"/>
                    <a:pt x="185" y="50"/>
                  </a:cubicBezTo>
                  <a:cubicBezTo>
                    <a:pt x="185" y="63"/>
                    <a:pt x="174" y="74"/>
                    <a:pt x="161" y="74"/>
                  </a:cubicBezTo>
                  <a:cubicBezTo>
                    <a:pt x="158" y="74"/>
                    <a:pt x="155" y="73"/>
                    <a:pt x="152" y="72"/>
                  </a:cubicBezTo>
                  <a:cubicBezTo>
                    <a:pt x="155" y="80"/>
                    <a:pt x="166" y="94"/>
                    <a:pt x="164" y="101"/>
                  </a:cubicBezTo>
                  <a:cubicBezTo>
                    <a:pt x="162" y="108"/>
                    <a:pt x="157" y="122"/>
                    <a:pt x="157" y="122"/>
                  </a:cubicBezTo>
                  <a:cubicBezTo>
                    <a:pt x="158" y="177"/>
                    <a:pt x="158" y="177"/>
                    <a:pt x="158" y="177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08" y="222"/>
                    <a:pt x="208" y="222"/>
                    <a:pt x="208" y="222"/>
                  </a:cubicBezTo>
                  <a:cubicBezTo>
                    <a:pt x="224" y="171"/>
                    <a:pt x="290" y="210"/>
                    <a:pt x="290" y="210"/>
                  </a:cubicBezTo>
                  <a:lnTo>
                    <a:pt x="236" y="2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2180"/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76" name="Picture 14" descr="cost managemen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38359" y="533499"/>
            <a:ext cx="483689" cy="766005"/>
          </a:xfrm>
          <a:prstGeom prst="rect">
            <a:avLst/>
          </a:prstGeom>
        </p:spPr>
      </p:pic>
      <p:pic>
        <p:nvPicPr>
          <p:cNvPr id="77" name="Picture 13" descr="low cost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978475" y="411510"/>
            <a:ext cx="329829" cy="864096"/>
          </a:xfrm>
          <a:prstGeom prst="rect">
            <a:avLst/>
          </a:prstGeom>
        </p:spPr>
      </p:pic>
      <p:sp>
        <p:nvSpPr>
          <p:cNvPr id="80" name="Freeform 26"/>
          <p:cNvSpPr>
            <a:spLocks noEditPoints="1"/>
          </p:cNvSpPr>
          <p:nvPr/>
        </p:nvSpPr>
        <p:spPr bwMode="auto">
          <a:xfrm>
            <a:off x="5499375" y="1794310"/>
            <a:ext cx="761656" cy="688301"/>
          </a:xfrm>
          <a:custGeom>
            <a:avLst/>
            <a:gdLst>
              <a:gd name="T0" fmla="*/ 977 w 1169"/>
              <a:gd name="T1" fmla="*/ 520 h 1057"/>
              <a:gd name="T2" fmla="*/ 785 w 1169"/>
              <a:gd name="T3" fmla="*/ 712 h 1057"/>
              <a:gd name="T4" fmla="*/ 810 w 1169"/>
              <a:gd name="T5" fmla="*/ 806 h 1057"/>
              <a:gd name="T6" fmla="*/ 653 w 1169"/>
              <a:gd name="T7" fmla="*/ 963 h 1057"/>
              <a:gd name="T8" fmla="*/ 653 w 1169"/>
              <a:gd name="T9" fmla="*/ 1036 h 1057"/>
              <a:gd name="T10" fmla="*/ 727 w 1169"/>
              <a:gd name="T11" fmla="*/ 1036 h 1057"/>
              <a:gd name="T12" fmla="*/ 883 w 1169"/>
              <a:gd name="T13" fmla="*/ 880 h 1057"/>
              <a:gd name="T14" fmla="*/ 977 w 1169"/>
              <a:gd name="T15" fmla="*/ 904 h 1057"/>
              <a:gd name="T16" fmla="*/ 1169 w 1169"/>
              <a:gd name="T17" fmla="*/ 712 h 1057"/>
              <a:gd name="T18" fmla="*/ 977 w 1169"/>
              <a:gd name="T19" fmla="*/ 520 h 1057"/>
              <a:gd name="T20" fmla="*/ 977 w 1169"/>
              <a:gd name="T21" fmla="*/ 829 h 1057"/>
              <a:gd name="T22" fmla="*/ 860 w 1169"/>
              <a:gd name="T23" fmla="*/ 712 h 1057"/>
              <a:gd name="T24" fmla="*/ 977 w 1169"/>
              <a:gd name="T25" fmla="*/ 595 h 1057"/>
              <a:gd name="T26" fmla="*/ 1094 w 1169"/>
              <a:gd name="T27" fmla="*/ 712 h 1057"/>
              <a:gd name="T28" fmla="*/ 977 w 1169"/>
              <a:gd name="T29" fmla="*/ 829 h 1057"/>
              <a:gd name="T30" fmla="*/ 713 w 1169"/>
              <a:gd name="T31" fmla="*/ 864 h 1057"/>
              <a:gd name="T32" fmla="*/ 103 w 1169"/>
              <a:gd name="T33" fmla="*/ 864 h 1057"/>
              <a:gd name="T34" fmla="*/ 47 w 1169"/>
              <a:gd name="T35" fmla="*/ 811 h 1057"/>
              <a:gd name="T36" fmla="*/ 2 w 1169"/>
              <a:gd name="T37" fmla="*/ 170 h 1057"/>
              <a:gd name="T38" fmla="*/ 50 w 1169"/>
              <a:gd name="T39" fmla="*/ 118 h 1057"/>
              <a:gd name="T40" fmla="*/ 1107 w 1169"/>
              <a:gd name="T41" fmla="*/ 118 h 1057"/>
              <a:gd name="T42" fmla="*/ 1156 w 1169"/>
              <a:gd name="T43" fmla="*/ 170 h 1057"/>
              <a:gd name="T44" fmla="*/ 1129 w 1169"/>
              <a:gd name="T45" fmla="*/ 553 h 1057"/>
              <a:gd name="T46" fmla="*/ 977 w 1169"/>
              <a:gd name="T47" fmla="*/ 492 h 1057"/>
              <a:gd name="T48" fmla="*/ 757 w 1169"/>
              <a:gd name="T49" fmla="*/ 712 h 1057"/>
              <a:gd name="T50" fmla="*/ 776 w 1169"/>
              <a:gd name="T51" fmla="*/ 801 h 1057"/>
              <a:gd name="T52" fmla="*/ 713 w 1169"/>
              <a:gd name="T53" fmla="*/ 864 h 1057"/>
              <a:gd name="T54" fmla="*/ 508 w 1169"/>
              <a:gd name="T55" fmla="*/ 92 h 1057"/>
              <a:gd name="T56" fmla="*/ 51 w 1169"/>
              <a:gd name="T57" fmla="*/ 92 h 1057"/>
              <a:gd name="T58" fmla="*/ 51 w 1169"/>
              <a:gd name="T59" fmla="*/ 53 h 1057"/>
              <a:gd name="T60" fmla="*/ 104 w 1169"/>
              <a:gd name="T61" fmla="*/ 0 h 1057"/>
              <a:gd name="T62" fmla="*/ 456 w 1169"/>
              <a:gd name="T63" fmla="*/ 0 h 1057"/>
              <a:gd name="T64" fmla="*/ 508 w 1169"/>
              <a:gd name="T65" fmla="*/ 53 h 1057"/>
              <a:gd name="T66" fmla="*/ 508 w 1169"/>
              <a:gd name="T67" fmla="*/ 92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69" h="1057">
                <a:moveTo>
                  <a:pt x="977" y="520"/>
                </a:moveTo>
                <a:cubicBezTo>
                  <a:pt x="871" y="520"/>
                  <a:pt x="785" y="606"/>
                  <a:pt x="785" y="712"/>
                </a:cubicBezTo>
                <a:cubicBezTo>
                  <a:pt x="785" y="746"/>
                  <a:pt x="794" y="778"/>
                  <a:pt x="810" y="806"/>
                </a:cubicBezTo>
                <a:cubicBezTo>
                  <a:pt x="653" y="963"/>
                  <a:pt x="653" y="963"/>
                  <a:pt x="653" y="963"/>
                </a:cubicBezTo>
                <a:cubicBezTo>
                  <a:pt x="633" y="983"/>
                  <a:pt x="633" y="1016"/>
                  <a:pt x="653" y="1036"/>
                </a:cubicBezTo>
                <a:cubicBezTo>
                  <a:pt x="674" y="1057"/>
                  <a:pt x="706" y="1057"/>
                  <a:pt x="727" y="1036"/>
                </a:cubicBezTo>
                <a:cubicBezTo>
                  <a:pt x="883" y="880"/>
                  <a:pt x="883" y="880"/>
                  <a:pt x="883" y="880"/>
                </a:cubicBezTo>
                <a:cubicBezTo>
                  <a:pt x="911" y="895"/>
                  <a:pt x="943" y="904"/>
                  <a:pt x="977" y="904"/>
                </a:cubicBezTo>
                <a:cubicBezTo>
                  <a:pt x="1083" y="904"/>
                  <a:pt x="1169" y="818"/>
                  <a:pt x="1169" y="712"/>
                </a:cubicBezTo>
                <a:cubicBezTo>
                  <a:pt x="1169" y="606"/>
                  <a:pt x="1083" y="520"/>
                  <a:pt x="977" y="520"/>
                </a:cubicBezTo>
                <a:close/>
                <a:moveTo>
                  <a:pt x="977" y="829"/>
                </a:moveTo>
                <a:cubicBezTo>
                  <a:pt x="913" y="829"/>
                  <a:pt x="860" y="777"/>
                  <a:pt x="860" y="712"/>
                </a:cubicBezTo>
                <a:cubicBezTo>
                  <a:pt x="860" y="648"/>
                  <a:pt x="913" y="595"/>
                  <a:pt x="977" y="595"/>
                </a:cubicBezTo>
                <a:cubicBezTo>
                  <a:pt x="1042" y="595"/>
                  <a:pt x="1094" y="648"/>
                  <a:pt x="1094" y="712"/>
                </a:cubicBezTo>
                <a:cubicBezTo>
                  <a:pt x="1094" y="777"/>
                  <a:pt x="1042" y="829"/>
                  <a:pt x="977" y="829"/>
                </a:cubicBezTo>
                <a:close/>
                <a:moveTo>
                  <a:pt x="713" y="864"/>
                </a:moveTo>
                <a:cubicBezTo>
                  <a:pt x="103" y="864"/>
                  <a:pt x="103" y="864"/>
                  <a:pt x="103" y="864"/>
                </a:cubicBezTo>
                <a:cubicBezTo>
                  <a:pt x="74" y="864"/>
                  <a:pt x="49" y="840"/>
                  <a:pt x="47" y="811"/>
                </a:cubicBezTo>
                <a:cubicBezTo>
                  <a:pt x="2" y="170"/>
                  <a:pt x="2" y="170"/>
                  <a:pt x="2" y="170"/>
                </a:cubicBezTo>
                <a:cubicBezTo>
                  <a:pt x="0" y="141"/>
                  <a:pt x="21" y="118"/>
                  <a:pt x="50" y="118"/>
                </a:cubicBezTo>
                <a:cubicBezTo>
                  <a:pt x="1107" y="118"/>
                  <a:pt x="1107" y="118"/>
                  <a:pt x="1107" y="118"/>
                </a:cubicBezTo>
                <a:cubicBezTo>
                  <a:pt x="1136" y="118"/>
                  <a:pt x="1158" y="141"/>
                  <a:pt x="1156" y="170"/>
                </a:cubicBezTo>
                <a:cubicBezTo>
                  <a:pt x="1129" y="553"/>
                  <a:pt x="1129" y="553"/>
                  <a:pt x="1129" y="553"/>
                </a:cubicBezTo>
                <a:cubicBezTo>
                  <a:pt x="1089" y="516"/>
                  <a:pt x="1036" y="492"/>
                  <a:pt x="977" y="492"/>
                </a:cubicBezTo>
                <a:cubicBezTo>
                  <a:pt x="856" y="492"/>
                  <a:pt x="757" y="591"/>
                  <a:pt x="757" y="712"/>
                </a:cubicBezTo>
                <a:cubicBezTo>
                  <a:pt x="757" y="743"/>
                  <a:pt x="764" y="773"/>
                  <a:pt x="776" y="801"/>
                </a:cubicBezTo>
                <a:lnTo>
                  <a:pt x="713" y="864"/>
                </a:lnTo>
                <a:close/>
                <a:moveTo>
                  <a:pt x="508" y="92"/>
                </a:moveTo>
                <a:cubicBezTo>
                  <a:pt x="51" y="92"/>
                  <a:pt x="51" y="92"/>
                  <a:pt x="51" y="92"/>
                </a:cubicBezTo>
                <a:cubicBezTo>
                  <a:pt x="51" y="53"/>
                  <a:pt x="51" y="53"/>
                  <a:pt x="51" y="53"/>
                </a:cubicBezTo>
                <a:cubicBezTo>
                  <a:pt x="51" y="24"/>
                  <a:pt x="75" y="0"/>
                  <a:pt x="104" y="0"/>
                </a:cubicBezTo>
                <a:cubicBezTo>
                  <a:pt x="456" y="0"/>
                  <a:pt x="456" y="0"/>
                  <a:pt x="456" y="0"/>
                </a:cubicBezTo>
                <a:cubicBezTo>
                  <a:pt x="485" y="0"/>
                  <a:pt x="508" y="24"/>
                  <a:pt x="508" y="53"/>
                </a:cubicBezTo>
                <a:lnTo>
                  <a:pt x="508" y="9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51" tIns="46626" rIns="93251" bIns="46626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3" name="Freeform 61"/>
          <p:cNvSpPr>
            <a:spLocks noEditPoints="1"/>
          </p:cNvSpPr>
          <p:nvPr/>
        </p:nvSpPr>
        <p:spPr bwMode="white">
          <a:xfrm>
            <a:off x="6801322" y="1652806"/>
            <a:ext cx="684133" cy="857176"/>
          </a:xfrm>
          <a:custGeom>
            <a:avLst/>
            <a:gdLst>
              <a:gd name="T0" fmla="*/ 91 w 162"/>
              <a:gd name="T1" fmla="*/ 100 h 203"/>
              <a:gd name="T2" fmla="*/ 128 w 162"/>
              <a:gd name="T3" fmla="*/ 203 h 203"/>
              <a:gd name="T4" fmla="*/ 108 w 162"/>
              <a:gd name="T5" fmla="*/ 203 h 203"/>
              <a:gd name="T6" fmla="*/ 81 w 162"/>
              <a:gd name="T7" fmla="*/ 180 h 203"/>
              <a:gd name="T8" fmla="*/ 54 w 162"/>
              <a:gd name="T9" fmla="*/ 203 h 203"/>
              <a:gd name="T10" fmla="*/ 34 w 162"/>
              <a:gd name="T11" fmla="*/ 203 h 203"/>
              <a:gd name="T12" fmla="*/ 71 w 162"/>
              <a:gd name="T13" fmla="*/ 100 h 203"/>
              <a:gd name="T14" fmla="*/ 64 w 162"/>
              <a:gd name="T15" fmla="*/ 86 h 203"/>
              <a:gd name="T16" fmla="*/ 81 w 162"/>
              <a:gd name="T17" fmla="*/ 69 h 203"/>
              <a:gd name="T18" fmla="*/ 98 w 162"/>
              <a:gd name="T19" fmla="*/ 86 h 203"/>
              <a:gd name="T20" fmla="*/ 91 w 162"/>
              <a:gd name="T21" fmla="*/ 100 h 203"/>
              <a:gd name="T22" fmla="*/ 81 w 162"/>
              <a:gd name="T23" fmla="*/ 34 h 203"/>
              <a:gd name="T24" fmla="*/ 130 w 162"/>
              <a:gd name="T25" fmla="*/ 83 h 203"/>
              <a:gd name="T26" fmla="*/ 107 w 162"/>
              <a:gd name="T27" fmla="*/ 123 h 203"/>
              <a:gd name="T28" fmla="*/ 106 w 162"/>
              <a:gd name="T29" fmla="*/ 117 h 203"/>
              <a:gd name="T30" fmla="*/ 121 w 162"/>
              <a:gd name="T31" fmla="*/ 86 h 203"/>
              <a:gd name="T32" fmla="*/ 81 w 162"/>
              <a:gd name="T33" fmla="*/ 47 h 203"/>
              <a:gd name="T34" fmla="*/ 42 w 162"/>
              <a:gd name="T35" fmla="*/ 86 h 203"/>
              <a:gd name="T36" fmla="*/ 56 w 162"/>
              <a:gd name="T37" fmla="*/ 117 h 203"/>
              <a:gd name="T38" fmla="*/ 55 w 162"/>
              <a:gd name="T39" fmla="*/ 123 h 203"/>
              <a:gd name="T40" fmla="*/ 33 w 162"/>
              <a:gd name="T41" fmla="*/ 83 h 203"/>
              <a:gd name="T42" fmla="*/ 81 w 162"/>
              <a:gd name="T43" fmla="*/ 34 h 203"/>
              <a:gd name="T44" fmla="*/ 81 w 162"/>
              <a:gd name="T45" fmla="*/ 0 h 203"/>
              <a:gd name="T46" fmla="*/ 162 w 162"/>
              <a:gd name="T47" fmla="*/ 81 h 203"/>
              <a:gd name="T48" fmla="*/ 118 w 162"/>
              <a:gd name="T49" fmla="*/ 154 h 203"/>
              <a:gd name="T50" fmla="*/ 115 w 162"/>
              <a:gd name="T51" fmla="*/ 148 h 203"/>
              <a:gd name="T52" fmla="*/ 153 w 162"/>
              <a:gd name="T53" fmla="*/ 85 h 203"/>
              <a:gd name="T54" fmla="*/ 81 w 162"/>
              <a:gd name="T55" fmla="*/ 13 h 203"/>
              <a:gd name="T56" fmla="*/ 10 w 162"/>
              <a:gd name="T57" fmla="*/ 85 h 203"/>
              <a:gd name="T58" fmla="*/ 47 w 162"/>
              <a:gd name="T59" fmla="*/ 148 h 203"/>
              <a:gd name="T60" fmla="*/ 45 w 162"/>
              <a:gd name="T61" fmla="*/ 154 h 203"/>
              <a:gd name="T62" fmla="*/ 0 w 162"/>
              <a:gd name="T63" fmla="*/ 81 h 203"/>
              <a:gd name="T64" fmla="*/ 81 w 162"/>
              <a:gd name="T65" fmla="*/ 0 h 203"/>
              <a:gd name="T66" fmla="*/ 81 w 162"/>
              <a:gd name="T67" fmla="*/ 124 h 203"/>
              <a:gd name="T68" fmla="*/ 89 w 162"/>
              <a:gd name="T69" fmla="*/ 132 h 203"/>
              <a:gd name="T70" fmla="*/ 81 w 162"/>
              <a:gd name="T71" fmla="*/ 139 h 203"/>
              <a:gd name="T72" fmla="*/ 73 w 162"/>
              <a:gd name="T73" fmla="*/ 132 h 203"/>
              <a:gd name="T74" fmla="*/ 81 w 162"/>
              <a:gd name="T75" fmla="*/ 124 h 203"/>
              <a:gd name="T76" fmla="*/ 81 w 162"/>
              <a:gd name="T77" fmla="*/ 171 h 203"/>
              <a:gd name="T78" fmla="*/ 95 w 162"/>
              <a:gd name="T79" fmla="*/ 160 h 203"/>
              <a:gd name="T80" fmla="*/ 81 w 162"/>
              <a:gd name="T81" fmla="*/ 149 h 203"/>
              <a:gd name="T82" fmla="*/ 68 w 162"/>
              <a:gd name="T83" fmla="*/ 160 h 203"/>
              <a:gd name="T84" fmla="*/ 81 w 162"/>
              <a:gd name="T85" fmla="*/ 171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2" h="203">
                <a:moveTo>
                  <a:pt x="91" y="100"/>
                </a:moveTo>
                <a:cubicBezTo>
                  <a:pt x="98" y="144"/>
                  <a:pt x="114" y="181"/>
                  <a:pt x="128" y="203"/>
                </a:cubicBezTo>
                <a:cubicBezTo>
                  <a:pt x="108" y="203"/>
                  <a:pt x="108" y="203"/>
                  <a:pt x="108" y="203"/>
                </a:cubicBezTo>
                <a:cubicBezTo>
                  <a:pt x="108" y="190"/>
                  <a:pt x="100" y="180"/>
                  <a:pt x="81" y="180"/>
                </a:cubicBezTo>
                <a:cubicBezTo>
                  <a:pt x="63" y="180"/>
                  <a:pt x="55" y="190"/>
                  <a:pt x="54" y="203"/>
                </a:cubicBezTo>
                <a:cubicBezTo>
                  <a:pt x="34" y="203"/>
                  <a:pt x="34" y="203"/>
                  <a:pt x="34" y="203"/>
                </a:cubicBezTo>
                <a:cubicBezTo>
                  <a:pt x="49" y="181"/>
                  <a:pt x="64" y="144"/>
                  <a:pt x="71" y="100"/>
                </a:cubicBezTo>
                <a:cubicBezTo>
                  <a:pt x="67" y="97"/>
                  <a:pt x="64" y="92"/>
                  <a:pt x="64" y="86"/>
                </a:cubicBezTo>
                <a:cubicBezTo>
                  <a:pt x="64" y="77"/>
                  <a:pt x="72" y="69"/>
                  <a:pt x="81" y="69"/>
                </a:cubicBezTo>
                <a:cubicBezTo>
                  <a:pt x="91" y="69"/>
                  <a:pt x="98" y="77"/>
                  <a:pt x="98" y="86"/>
                </a:cubicBezTo>
                <a:cubicBezTo>
                  <a:pt x="98" y="92"/>
                  <a:pt x="96" y="97"/>
                  <a:pt x="91" y="100"/>
                </a:cubicBezTo>
                <a:close/>
                <a:moveTo>
                  <a:pt x="81" y="34"/>
                </a:moveTo>
                <a:cubicBezTo>
                  <a:pt x="108" y="34"/>
                  <a:pt x="130" y="56"/>
                  <a:pt x="130" y="83"/>
                </a:cubicBezTo>
                <a:cubicBezTo>
                  <a:pt x="130" y="100"/>
                  <a:pt x="121" y="115"/>
                  <a:pt x="107" y="123"/>
                </a:cubicBezTo>
                <a:cubicBezTo>
                  <a:pt x="107" y="121"/>
                  <a:pt x="106" y="119"/>
                  <a:pt x="106" y="117"/>
                </a:cubicBezTo>
                <a:cubicBezTo>
                  <a:pt x="115" y="110"/>
                  <a:pt x="121" y="99"/>
                  <a:pt x="121" y="86"/>
                </a:cubicBezTo>
                <a:cubicBezTo>
                  <a:pt x="121" y="64"/>
                  <a:pt x="103" y="47"/>
                  <a:pt x="81" y="47"/>
                </a:cubicBezTo>
                <a:cubicBezTo>
                  <a:pt x="59" y="47"/>
                  <a:pt x="42" y="64"/>
                  <a:pt x="42" y="86"/>
                </a:cubicBezTo>
                <a:cubicBezTo>
                  <a:pt x="42" y="99"/>
                  <a:pt x="47" y="110"/>
                  <a:pt x="56" y="117"/>
                </a:cubicBezTo>
                <a:cubicBezTo>
                  <a:pt x="56" y="119"/>
                  <a:pt x="55" y="121"/>
                  <a:pt x="55" y="123"/>
                </a:cubicBezTo>
                <a:cubicBezTo>
                  <a:pt x="42" y="115"/>
                  <a:pt x="33" y="100"/>
                  <a:pt x="33" y="83"/>
                </a:cubicBezTo>
                <a:cubicBezTo>
                  <a:pt x="33" y="56"/>
                  <a:pt x="54" y="34"/>
                  <a:pt x="81" y="34"/>
                </a:cubicBezTo>
                <a:close/>
                <a:moveTo>
                  <a:pt x="81" y="0"/>
                </a:moveTo>
                <a:cubicBezTo>
                  <a:pt x="126" y="0"/>
                  <a:pt x="162" y="37"/>
                  <a:pt x="162" y="81"/>
                </a:cubicBezTo>
                <a:cubicBezTo>
                  <a:pt x="162" y="113"/>
                  <a:pt x="144" y="141"/>
                  <a:pt x="118" y="154"/>
                </a:cubicBezTo>
                <a:cubicBezTo>
                  <a:pt x="117" y="152"/>
                  <a:pt x="116" y="150"/>
                  <a:pt x="115" y="148"/>
                </a:cubicBezTo>
                <a:cubicBezTo>
                  <a:pt x="138" y="136"/>
                  <a:pt x="153" y="112"/>
                  <a:pt x="153" y="85"/>
                </a:cubicBezTo>
                <a:cubicBezTo>
                  <a:pt x="153" y="45"/>
                  <a:pt x="121" y="13"/>
                  <a:pt x="81" y="13"/>
                </a:cubicBezTo>
                <a:cubicBezTo>
                  <a:pt x="42" y="13"/>
                  <a:pt x="10" y="45"/>
                  <a:pt x="10" y="85"/>
                </a:cubicBezTo>
                <a:cubicBezTo>
                  <a:pt x="10" y="112"/>
                  <a:pt x="25" y="136"/>
                  <a:pt x="47" y="148"/>
                </a:cubicBezTo>
                <a:cubicBezTo>
                  <a:pt x="46" y="150"/>
                  <a:pt x="46" y="152"/>
                  <a:pt x="45" y="154"/>
                </a:cubicBezTo>
                <a:cubicBezTo>
                  <a:pt x="18" y="141"/>
                  <a:pt x="0" y="113"/>
                  <a:pt x="0" y="81"/>
                </a:cubicBezTo>
                <a:cubicBezTo>
                  <a:pt x="0" y="37"/>
                  <a:pt x="36" y="0"/>
                  <a:pt x="81" y="0"/>
                </a:cubicBezTo>
                <a:close/>
                <a:moveTo>
                  <a:pt x="81" y="124"/>
                </a:moveTo>
                <a:cubicBezTo>
                  <a:pt x="87" y="124"/>
                  <a:pt x="89" y="128"/>
                  <a:pt x="89" y="132"/>
                </a:cubicBezTo>
                <a:cubicBezTo>
                  <a:pt x="89" y="135"/>
                  <a:pt x="87" y="139"/>
                  <a:pt x="81" y="139"/>
                </a:cubicBezTo>
                <a:cubicBezTo>
                  <a:pt x="75" y="139"/>
                  <a:pt x="73" y="135"/>
                  <a:pt x="73" y="132"/>
                </a:cubicBezTo>
                <a:cubicBezTo>
                  <a:pt x="73" y="128"/>
                  <a:pt x="75" y="124"/>
                  <a:pt x="81" y="124"/>
                </a:cubicBezTo>
                <a:close/>
                <a:moveTo>
                  <a:pt x="81" y="171"/>
                </a:moveTo>
                <a:cubicBezTo>
                  <a:pt x="91" y="171"/>
                  <a:pt x="95" y="166"/>
                  <a:pt x="95" y="160"/>
                </a:cubicBezTo>
                <a:cubicBezTo>
                  <a:pt x="95" y="154"/>
                  <a:pt x="91" y="149"/>
                  <a:pt x="81" y="149"/>
                </a:cubicBezTo>
                <a:cubicBezTo>
                  <a:pt x="71" y="149"/>
                  <a:pt x="68" y="154"/>
                  <a:pt x="68" y="160"/>
                </a:cubicBezTo>
                <a:cubicBezTo>
                  <a:pt x="68" y="166"/>
                  <a:pt x="71" y="171"/>
                  <a:pt x="81" y="17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4" tIns="41973" rIns="83944" bIns="41973" numCol="1" anchor="t" anchorCtr="0" compatLnSpc="1"/>
          <a:lstStyle/>
          <a:p>
            <a:endParaRPr lang="en-US" sz="1630">
              <a:solidFill>
                <a:srgbClr val="000000"/>
              </a:solidFill>
            </a:endParaRPr>
          </a:p>
        </p:txBody>
      </p:sp>
      <p:grpSp>
        <p:nvGrpSpPr>
          <p:cNvPr id="84" name="Group 6"/>
          <p:cNvGrpSpPr/>
          <p:nvPr/>
        </p:nvGrpSpPr>
        <p:grpSpPr bwMode="white">
          <a:xfrm>
            <a:off x="4153281" y="2916708"/>
            <a:ext cx="943438" cy="629405"/>
            <a:chOff x="8672460" y="-1818199"/>
            <a:chExt cx="1811337" cy="1203325"/>
          </a:xfrm>
        </p:grpSpPr>
        <p:sp>
          <p:nvSpPr>
            <p:cNvPr id="85" name="Freeform 11"/>
            <p:cNvSpPr/>
            <p:nvPr/>
          </p:nvSpPr>
          <p:spPr bwMode="white">
            <a:xfrm>
              <a:off x="8845497" y="-1576899"/>
              <a:ext cx="1592262" cy="808038"/>
            </a:xfrm>
            <a:custGeom>
              <a:avLst/>
              <a:gdLst>
                <a:gd name="T0" fmla="*/ 363 w 422"/>
                <a:gd name="T1" fmla="*/ 1 h 213"/>
                <a:gd name="T2" fmla="*/ 346 w 422"/>
                <a:gd name="T3" fmla="*/ 0 h 213"/>
                <a:gd name="T4" fmla="*/ 346 w 422"/>
                <a:gd name="T5" fmla="*/ 0 h 213"/>
                <a:gd name="T6" fmla="*/ 346 w 422"/>
                <a:gd name="T7" fmla="*/ 0 h 213"/>
                <a:gd name="T8" fmla="*/ 346 w 422"/>
                <a:gd name="T9" fmla="*/ 0 h 213"/>
                <a:gd name="T10" fmla="*/ 185 w 422"/>
                <a:gd name="T11" fmla="*/ 98 h 213"/>
                <a:gd name="T12" fmla="*/ 164 w 422"/>
                <a:gd name="T13" fmla="*/ 105 h 213"/>
                <a:gd name="T14" fmla="*/ 141 w 422"/>
                <a:gd name="T15" fmla="*/ 96 h 213"/>
                <a:gd name="T16" fmla="*/ 14 w 422"/>
                <a:gd name="T17" fmla="*/ 2 h 213"/>
                <a:gd name="T18" fmla="*/ 14 w 422"/>
                <a:gd name="T19" fmla="*/ 2 h 213"/>
                <a:gd name="T20" fmla="*/ 0 w 422"/>
                <a:gd name="T21" fmla="*/ 1 h 213"/>
                <a:gd name="T22" fmla="*/ 1 w 422"/>
                <a:gd name="T23" fmla="*/ 100 h 213"/>
                <a:gd name="T24" fmla="*/ 40 w 422"/>
                <a:gd name="T25" fmla="*/ 98 h 213"/>
                <a:gd name="T26" fmla="*/ 181 w 422"/>
                <a:gd name="T27" fmla="*/ 149 h 213"/>
                <a:gd name="T28" fmla="*/ 335 w 422"/>
                <a:gd name="T29" fmla="*/ 211 h 213"/>
                <a:gd name="T30" fmla="*/ 362 w 422"/>
                <a:gd name="T31" fmla="*/ 213 h 213"/>
                <a:gd name="T32" fmla="*/ 362 w 422"/>
                <a:gd name="T33" fmla="*/ 169 h 213"/>
                <a:gd name="T34" fmla="*/ 421 w 422"/>
                <a:gd name="T35" fmla="*/ 114 h 213"/>
                <a:gd name="T36" fmla="*/ 420 w 422"/>
                <a:gd name="T37" fmla="*/ 111 h 213"/>
                <a:gd name="T38" fmla="*/ 418 w 422"/>
                <a:gd name="T39" fmla="*/ 115 h 213"/>
                <a:gd name="T40" fmla="*/ 362 w 422"/>
                <a:gd name="T41" fmla="*/ 155 h 213"/>
                <a:gd name="T42" fmla="*/ 363 w 422"/>
                <a:gd name="T43" fmla="*/ 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2" h="213">
                  <a:moveTo>
                    <a:pt x="363" y="1"/>
                  </a:moveTo>
                  <a:cubicBezTo>
                    <a:pt x="363" y="1"/>
                    <a:pt x="346" y="0"/>
                    <a:pt x="346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299" y="29"/>
                    <a:pt x="203" y="87"/>
                    <a:pt x="185" y="98"/>
                  </a:cubicBezTo>
                  <a:cubicBezTo>
                    <a:pt x="182" y="100"/>
                    <a:pt x="173" y="105"/>
                    <a:pt x="164" y="105"/>
                  </a:cubicBezTo>
                  <a:cubicBezTo>
                    <a:pt x="154" y="105"/>
                    <a:pt x="147" y="101"/>
                    <a:pt x="141" y="96"/>
                  </a:cubicBezTo>
                  <a:cubicBezTo>
                    <a:pt x="126" y="86"/>
                    <a:pt x="59" y="35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0" y="1"/>
                    <a:pt x="0" y="1"/>
                  </a:cubicBezTo>
                  <a:cubicBezTo>
                    <a:pt x="0" y="28"/>
                    <a:pt x="0" y="65"/>
                    <a:pt x="1" y="100"/>
                  </a:cubicBezTo>
                  <a:cubicBezTo>
                    <a:pt x="12" y="98"/>
                    <a:pt x="26" y="97"/>
                    <a:pt x="40" y="98"/>
                  </a:cubicBezTo>
                  <a:cubicBezTo>
                    <a:pt x="91" y="101"/>
                    <a:pt x="139" y="125"/>
                    <a:pt x="181" y="149"/>
                  </a:cubicBezTo>
                  <a:cubicBezTo>
                    <a:pt x="222" y="172"/>
                    <a:pt x="273" y="200"/>
                    <a:pt x="335" y="211"/>
                  </a:cubicBezTo>
                  <a:cubicBezTo>
                    <a:pt x="344" y="212"/>
                    <a:pt x="353" y="213"/>
                    <a:pt x="362" y="213"/>
                  </a:cubicBezTo>
                  <a:cubicBezTo>
                    <a:pt x="362" y="169"/>
                    <a:pt x="362" y="169"/>
                    <a:pt x="362" y="169"/>
                  </a:cubicBezTo>
                  <a:cubicBezTo>
                    <a:pt x="412" y="159"/>
                    <a:pt x="419" y="127"/>
                    <a:pt x="421" y="114"/>
                  </a:cubicBezTo>
                  <a:cubicBezTo>
                    <a:pt x="421" y="113"/>
                    <a:pt x="422" y="111"/>
                    <a:pt x="420" y="111"/>
                  </a:cubicBezTo>
                  <a:cubicBezTo>
                    <a:pt x="418" y="111"/>
                    <a:pt x="418" y="114"/>
                    <a:pt x="418" y="115"/>
                  </a:cubicBezTo>
                  <a:cubicBezTo>
                    <a:pt x="416" y="122"/>
                    <a:pt x="411" y="148"/>
                    <a:pt x="362" y="155"/>
                  </a:cubicBezTo>
                  <a:lnTo>
                    <a:pt x="3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3256" tIns="46629" rIns="93256" bIns="46629" numCol="1" rtlCol="0" anchor="ctr" anchorCtr="0" compatLnSpc="1"/>
            <a:lstStyle/>
            <a:p>
              <a:pPr defTabSz="755015"/>
              <a:endParaRPr lang="en-US" sz="1630" spc="-125">
                <a:solidFill>
                  <a:srgbClr val="000000">
                    <a:lumMod val="50000"/>
                  </a:srgbClr>
                </a:solidFill>
                <a:latin typeface="Segoe Light" pitchFamily="34" charset="0"/>
              </a:endParaRPr>
            </a:p>
          </p:txBody>
        </p:sp>
        <p:sp>
          <p:nvSpPr>
            <p:cNvPr id="86" name="Freeform 12"/>
            <p:cNvSpPr>
              <a:spLocks noEditPoints="1"/>
            </p:cNvSpPr>
            <p:nvPr/>
          </p:nvSpPr>
          <p:spPr bwMode="white">
            <a:xfrm>
              <a:off x="8672460" y="-1156212"/>
              <a:ext cx="1811337" cy="541338"/>
            </a:xfrm>
            <a:custGeom>
              <a:avLst/>
              <a:gdLst>
                <a:gd name="T0" fmla="*/ 480 w 480"/>
                <a:gd name="T1" fmla="*/ 81 h 143"/>
                <a:gd name="T2" fmla="*/ 478 w 480"/>
                <a:gd name="T3" fmla="*/ 81 h 143"/>
                <a:gd name="T4" fmla="*/ 430 w 480"/>
                <a:gd name="T5" fmla="*/ 106 h 143"/>
                <a:gd name="T6" fmla="*/ 390 w 480"/>
                <a:gd name="T7" fmla="*/ 107 h 143"/>
                <a:gd name="T8" fmla="*/ 242 w 480"/>
                <a:gd name="T9" fmla="*/ 62 h 143"/>
                <a:gd name="T10" fmla="*/ 74 w 480"/>
                <a:gd name="T11" fmla="*/ 1 h 143"/>
                <a:gd name="T12" fmla="*/ 11 w 480"/>
                <a:gd name="T13" fmla="*/ 19 h 143"/>
                <a:gd name="T14" fmla="*/ 0 w 480"/>
                <a:gd name="T15" fmla="*/ 53 h 143"/>
                <a:gd name="T16" fmla="*/ 34 w 480"/>
                <a:gd name="T17" fmla="*/ 89 h 143"/>
                <a:gd name="T18" fmla="*/ 47 w 480"/>
                <a:gd name="T19" fmla="*/ 90 h 143"/>
                <a:gd name="T20" fmla="*/ 47 w 480"/>
                <a:gd name="T21" fmla="*/ 102 h 143"/>
                <a:gd name="T22" fmla="*/ 59 w 480"/>
                <a:gd name="T23" fmla="*/ 117 h 143"/>
                <a:gd name="T24" fmla="*/ 375 w 480"/>
                <a:gd name="T25" fmla="*/ 143 h 143"/>
                <a:gd name="T26" fmla="*/ 396 w 480"/>
                <a:gd name="T27" fmla="*/ 139 h 143"/>
                <a:gd name="T28" fmla="*/ 408 w 480"/>
                <a:gd name="T29" fmla="*/ 123 h 143"/>
                <a:gd name="T30" fmla="*/ 408 w 480"/>
                <a:gd name="T31" fmla="*/ 115 h 143"/>
                <a:gd name="T32" fmla="*/ 454 w 480"/>
                <a:gd name="T33" fmla="*/ 105 h 143"/>
                <a:gd name="T34" fmla="*/ 480 w 480"/>
                <a:gd name="T35" fmla="*/ 82 h 143"/>
                <a:gd name="T36" fmla="*/ 480 w 480"/>
                <a:gd name="T37" fmla="*/ 81 h 143"/>
                <a:gd name="T38" fmla="*/ 47 w 480"/>
                <a:gd name="T39" fmla="*/ 73 h 143"/>
                <a:gd name="T40" fmla="*/ 11 w 480"/>
                <a:gd name="T41" fmla="*/ 51 h 143"/>
                <a:gd name="T42" fmla="*/ 21 w 480"/>
                <a:gd name="T43" fmla="*/ 26 h 143"/>
                <a:gd name="T44" fmla="*/ 47 w 480"/>
                <a:gd name="T45" fmla="*/ 18 h 143"/>
                <a:gd name="T46" fmla="*/ 47 w 480"/>
                <a:gd name="T47" fmla="*/ 7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0" h="143">
                  <a:moveTo>
                    <a:pt x="480" y="81"/>
                  </a:moveTo>
                  <a:cubicBezTo>
                    <a:pt x="479" y="80"/>
                    <a:pt x="478" y="81"/>
                    <a:pt x="478" y="81"/>
                  </a:cubicBezTo>
                  <a:cubicBezTo>
                    <a:pt x="463" y="97"/>
                    <a:pt x="443" y="103"/>
                    <a:pt x="430" y="106"/>
                  </a:cubicBezTo>
                  <a:cubicBezTo>
                    <a:pt x="420" y="108"/>
                    <a:pt x="408" y="108"/>
                    <a:pt x="390" y="107"/>
                  </a:cubicBezTo>
                  <a:cubicBezTo>
                    <a:pt x="350" y="103"/>
                    <a:pt x="301" y="91"/>
                    <a:pt x="242" y="62"/>
                  </a:cubicBezTo>
                  <a:cubicBezTo>
                    <a:pt x="169" y="25"/>
                    <a:pt x="119" y="3"/>
                    <a:pt x="74" y="1"/>
                  </a:cubicBezTo>
                  <a:cubicBezTo>
                    <a:pt x="54" y="0"/>
                    <a:pt x="26" y="1"/>
                    <a:pt x="11" y="19"/>
                  </a:cubicBezTo>
                  <a:cubicBezTo>
                    <a:pt x="3" y="27"/>
                    <a:pt x="0" y="40"/>
                    <a:pt x="0" y="53"/>
                  </a:cubicBezTo>
                  <a:cubicBezTo>
                    <a:pt x="1" y="80"/>
                    <a:pt x="23" y="88"/>
                    <a:pt x="34" y="89"/>
                  </a:cubicBezTo>
                  <a:cubicBezTo>
                    <a:pt x="38" y="90"/>
                    <a:pt x="43" y="91"/>
                    <a:pt x="47" y="90"/>
                  </a:cubicBezTo>
                  <a:cubicBezTo>
                    <a:pt x="47" y="97"/>
                    <a:pt x="47" y="101"/>
                    <a:pt x="47" y="102"/>
                  </a:cubicBezTo>
                  <a:cubicBezTo>
                    <a:pt x="47" y="112"/>
                    <a:pt x="50" y="116"/>
                    <a:pt x="59" y="117"/>
                  </a:cubicBezTo>
                  <a:cubicBezTo>
                    <a:pt x="68" y="117"/>
                    <a:pt x="371" y="143"/>
                    <a:pt x="375" y="143"/>
                  </a:cubicBezTo>
                  <a:cubicBezTo>
                    <a:pt x="380" y="143"/>
                    <a:pt x="391" y="142"/>
                    <a:pt x="396" y="139"/>
                  </a:cubicBezTo>
                  <a:cubicBezTo>
                    <a:pt x="401" y="136"/>
                    <a:pt x="408" y="133"/>
                    <a:pt x="408" y="123"/>
                  </a:cubicBezTo>
                  <a:cubicBezTo>
                    <a:pt x="408" y="115"/>
                    <a:pt x="408" y="115"/>
                    <a:pt x="408" y="115"/>
                  </a:cubicBezTo>
                  <a:cubicBezTo>
                    <a:pt x="425" y="115"/>
                    <a:pt x="441" y="111"/>
                    <a:pt x="454" y="105"/>
                  </a:cubicBezTo>
                  <a:cubicBezTo>
                    <a:pt x="464" y="100"/>
                    <a:pt x="473" y="92"/>
                    <a:pt x="480" y="82"/>
                  </a:cubicBezTo>
                  <a:cubicBezTo>
                    <a:pt x="480" y="82"/>
                    <a:pt x="480" y="81"/>
                    <a:pt x="480" y="81"/>
                  </a:cubicBezTo>
                  <a:close/>
                  <a:moveTo>
                    <a:pt x="47" y="73"/>
                  </a:moveTo>
                  <a:cubicBezTo>
                    <a:pt x="31" y="73"/>
                    <a:pt x="12" y="69"/>
                    <a:pt x="11" y="51"/>
                  </a:cubicBezTo>
                  <a:cubicBezTo>
                    <a:pt x="10" y="41"/>
                    <a:pt x="13" y="33"/>
                    <a:pt x="21" y="26"/>
                  </a:cubicBezTo>
                  <a:cubicBezTo>
                    <a:pt x="29" y="20"/>
                    <a:pt x="37" y="19"/>
                    <a:pt x="47" y="18"/>
                  </a:cubicBezTo>
                  <a:cubicBezTo>
                    <a:pt x="47" y="39"/>
                    <a:pt x="47" y="58"/>
                    <a:pt x="47" y="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3256" tIns="46629" rIns="93256" bIns="46629" numCol="1" rtlCol="0" anchor="ctr" anchorCtr="0" compatLnSpc="1"/>
            <a:lstStyle/>
            <a:p>
              <a:pPr defTabSz="755015"/>
              <a:endParaRPr lang="en-US" sz="1630" spc="-125">
                <a:solidFill>
                  <a:srgbClr val="000000">
                    <a:lumMod val="50000"/>
                  </a:srgbClr>
                </a:solidFill>
                <a:latin typeface="Segoe Light" pitchFamily="34" charset="0"/>
              </a:endParaRPr>
            </a:p>
          </p:txBody>
        </p:sp>
        <p:sp>
          <p:nvSpPr>
            <p:cNvPr id="87" name="Freeform 13"/>
            <p:cNvSpPr/>
            <p:nvPr/>
          </p:nvSpPr>
          <p:spPr bwMode="white">
            <a:xfrm>
              <a:off x="8845497" y="-1818199"/>
              <a:ext cx="1370012" cy="560388"/>
            </a:xfrm>
            <a:custGeom>
              <a:avLst/>
              <a:gdLst>
                <a:gd name="T0" fmla="*/ 137 w 363"/>
                <a:gd name="T1" fmla="*/ 138 h 148"/>
                <a:gd name="T2" fmla="*/ 163 w 363"/>
                <a:gd name="T3" fmla="*/ 148 h 148"/>
                <a:gd name="T4" fmla="*/ 189 w 363"/>
                <a:gd name="T5" fmla="*/ 140 h 148"/>
                <a:gd name="T6" fmla="*/ 363 w 363"/>
                <a:gd name="T7" fmla="*/ 32 h 148"/>
                <a:gd name="T8" fmla="*/ 363 w 363"/>
                <a:gd name="T9" fmla="*/ 19 h 148"/>
                <a:gd name="T10" fmla="*/ 348 w 363"/>
                <a:gd name="T11" fmla="*/ 3 h 148"/>
                <a:gd name="T12" fmla="*/ 335 w 363"/>
                <a:gd name="T13" fmla="*/ 0 h 148"/>
                <a:gd name="T14" fmla="*/ 330 w 363"/>
                <a:gd name="T15" fmla="*/ 0 h 148"/>
                <a:gd name="T16" fmla="*/ 13 w 363"/>
                <a:gd name="T17" fmla="*/ 14 h 148"/>
                <a:gd name="T18" fmla="*/ 0 w 363"/>
                <a:gd name="T19" fmla="*/ 27 h 148"/>
                <a:gd name="T20" fmla="*/ 0 w 363"/>
                <a:gd name="T21" fmla="*/ 38 h 148"/>
                <a:gd name="T22" fmla="*/ 137 w 363"/>
                <a:gd name="T23" fmla="*/ 1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3" h="148">
                  <a:moveTo>
                    <a:pt x="137" y="138"/>
                  </a:moveTo>
                  <a:cubicBezTo>
                    <a:pt x="146" y="145"/>
                    <a:pt x="154" y="148"/>
                    <a:pt x="163" y="148"/>
                  </a:cubicBezTo>
                  <a:cubicBezTo>
                    <a:pt x="172" y="148"/>
                    <a:pt x="181" y="145"/>
                    <a:pt x="189" y="140"/>
                  </a:cubicBezTo>
                  <a:cubicBezTo>
                    <a:pt x="202" y="132"/>
                    <a:pt x="312" y="64"/>
                    <a:pt x="363" y="32"/>
                  </a:cubicBezTo>
                  <a:cubicBezTo>
                    <a:pt x="363" y="19"/>
                    <a:pt x="363" y="19"/>
                    <a:pt x="363" y="19"/>
                  </a:cubicBezTo>
                  <a:cubicBezTo>
                    <a:pt x="363" y="9"/>
                    <a:pt x="355" y="5"/>
                    <a:pt x="348" y="3"/>
                  </a:cubicBezTo>
                  <a:cubicBezTo>
                    <a:pt x="344" y="1"/>
                    <a:pt x="339" y="1"/>
                    <a:pt x="335" y="0"/>
                  </a:cubicBezTo>
                  <a:cubicBezTo>
                    <a:pt x="334" y="0"/>
                    <a:pt x="332" y="0"/>
                    <a:pt x="330" y="0"/>
                  </a:cubicBezTo>
                  <a:cubicBezTo>
                    <a:pt x="328" y="0"/>
                    <a:pt x="22" y="14"/>
                    <a:pt x="13" y="14"/>
                  </a:cubicBezTo>
                  <a:cubicBezTo>
                    <a:pt x="4" y="14"/>
                    <a:pt x="0" y="18"/>
                    <a:pt x="0" y="27"/>
                  </a:cubicBezTo>
                  <a:cubicBezTo>
                    <a:pt x="0" y="28"/>
                    <a:pt x="0" y="30"/>
                    <a:pt x="0" y="38"/>
                  </a:cubicBezTo>
                  <a:cubicBezTo>
                    <a:pt x="40" y="66"/>
                    <a:pt x="126" y="130"/>
                    <a:pt x="137" y="1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3256" tIns="46629" rIns="93256" bIns="46629" numCol="1" rtlCol="0" anchor="ctr" anchorCtr="0" compatLnSpc="1"/>
            <a:lstStyle/>
            <a:p>
              <a:pPr defTabSz="755015"/>
              <a:endParaRPr lang="en-US" sz="1630" spc="-125">
                <a:solidFill>
                  <a:srgbClr val="000000">
                    <a:lumMod val="50000"/>
                  </a:srgbClr>
                </a:solidFill>
                <a:latin typeface="Segoe Light" pitchFamily="34" charset="0"/>
              </a:endParaRPr>
            </a:p>
          </p:txBody>
        </p:sp>
      </p:grpSp>
      <p:pic>
        <p:nvPicPr>
          <p:cNvPr id="88" name="Picture 5" descr="W:\Open Engagements\Productivity\MS-Unified Communications\#1601 BizProd MOD Team Core Content Work\New Iconography\Words\Draft\061312_Word_Icons\Fire_061312_white-0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0140" y="2824449"/>
            <a:ext cx="786495" cy="78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" descr="W:\Open Engagements\Productivity\MS-Unified Communications\#1601 BizProd MOD Team Core Content Work\New Iconography\Words\Draft\61512\safetyICONS061512_white-0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375" y="2751640"/>
            <a:ext cx="951658" cy="949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4" name="Freeform 62"/>
          <p:cNvSpPr>
            <a:spLocks noChangeAspect="1" noEditPoints="1"/>
          </p:cNvSpPr>
          <p:nvPr/>
        </p:nvSpPr>
        <p:spPr bwMode="black">
          <a:xfrm>
            <a:off x="498468" y="655762"/>
            <a:ext cx="586344" cy="447720"/>
          </a:xfrm>
          <a:custGeom>
            <a:avLst/>
            <a:gdLst/>
            <a:ahLst/>
            <a:cxnLst>
              <a:cxn ang="0">
                <a:pos x="340" y="182"/>
              </a:cxn>
              <a:cxn ang="0">
                <a:pos x="340" y="16"/>
              </a:cxn>
              <a:cxn ang="0">
                <a:pos x="324" y="0"/>
              </a:cxn>
              <a:cxn ang="0">
                <a:pos x="47" y="0"/>
              </a:cxn>
              <a:cxn ang="0">
                <a:pos x="31" y="16"/>
              </a:cxn>
              <a:cxn ang="0">
                <a:pos x="31" y="182"/>
              </a:cxn>
              <a:cxn ang="0">
                <a:pos x="0" y="220"/>
              </a:cxn>
              <a:cxn ang="0">
                <a:pos x="19" y="240"/>
              </a:cxn>
              <a:cxn ang="0">
                <a:pos x="352" y="240"/>
              </a:cxn>
              <a:cxn ang="0">
                <a:pos x="371" y="220"/>
              </a:cxn>
              <a:cxn ang="0">
                <a:pos x="340" y="182"/>
              </a:cxn>
              <a:cxn ang="0">
                <a:pos x="211" y="225"/>
              </a:cxn>
              <a:cxn ang="0">
                <a:pos x="154" y="225"/>
              </a:cxn>
              <a:cxn ang="0">
                <a:pos x="148" y="222"/>
              </a:cxn>
              <a:cxn ang="0">
                <a:pos x="155" y="209"/>
              </a:cxn>
              <a:cxn ang="0">
                <a:pos x="160" y="207"/>
              </a:cxn>
              <a:cxn ang="0">
                <a:pos x="205" y="207"/>
              </a:cxn>
              <a:cxn ang="0">
                <a:pos x="210" y="209"/>
              </a:cxn>
              <a:cxn ang="0">
                <a:pos x="217" y="222"/>
              </a:cxn>
              <a:cxn ang="0">
                <a:pos x="211" y="225"/>
              </a:cxn>
              <a:cxn ang="0">
                <a:pos x="315" y="178"/>
              </a:cxn>
              <a:cxn ang="0">
                <a:pos x="56" y="178"/>
              </a:cxn>
              <a:cxn ang="0">
                <a:pos x="56" y="33"/>
              </a:cxn>
              <a:cxn ang="0">
                <a:pos x="63" y="25"/>
              </a:cxn>
              <a:cxn ang="0">
                <a:pos x="308" y="25"/>
              </a:cxn>
              <a:cxn ang="0">
                <a:pos x="315" y="33"/>
              </a:cxn>
              <a:cxn ang="0">
                <a:pos x="315" y="178"/>
              </a:cxn>
            </a:cxnLst>
            <a:rect l="0" t="0" r="r" b="b"/>
            <a:pathLst>
              <a:path w="371" h="240">
                <a:moveTo>
                  <a:pt x="340" y="182"/>
                </a:moveTo>
                <a:cubicBezTo>
                  <a:pt x="340" y="16"/>
                  <a:pt x="340" y="16"/>
                  <a:pt x="340" y="16"/>
                </a:cubicBezTo>
                <a:cubicBezTo>
                  <a:pt x="340" y="8"/>
                  <a:pt x="333" y="0"/>
                  <a:pt x="324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38" y="0"/>
                  <a:pt x="31" y="8"/>
                  <a:pt x="31" y="16"/>
                </a:cubicBezTo>
                <a:cubicBezTo>
                  <a:pt x="31" y="182"/>
                  <a:pt x="31" y="182"/>
                  <a:pt x="31" y="182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31"/>
                  <a:pt x="9" y="240"/>
                  <a:pt x="19" y="240"/>
                </a:cubicBezTo>
                <a:cubicBezTo>
                  <a:pt x="352" y="240"/>
                  <a:pt x="352" y="240"/>
                  <a:pt x="352" y="240"/>
                </a:cubicBezTo>
                <a:cubicBezTo>
                  <a:pt x="362" y="240"/>
                  <a:pt x="371" y="231"/>
                  <a:pt x="371" y="220"/>
                </a:cubicBezTo>
                <a:lnTo>
                  <a:pt x="340" y="182"/>
                </a:lnTo>
                <a:close/>
                <a:moveTo>
                  <a:pt x="211" y="225"/>
                </a:moveTo>
                <a:cubicBezTo>
                  <a:pt x="154" y="225"/>
                  <a:pt x="154" y="225"/>
                  <a:pt x="154" y="225"/>
                </a:cubicBezTo>
                <a:cubicBezTo>
                  <a:pt x="151" y="225"/>
                  <a:pt x="148" y="223"/>
                  <a:pt x="148" y="222"/>
                </a:cubicBezTo>
                <a:cubicBezTo>
                  <a:pt x="155" y="209"/>
                  <a:pt x="155" y="209"/>
                  <a:pt x="155" y="209"/>
                </a:cubicBezTo>
                <a:cubicBezTo>
                  <a:pt x="155" y="208"/>
                  <a:pt x="157" y="207"/>
                  <a:pt x="160" y="207"/>
                </a:cubicBezTo>
                <a:cubicBezTo>
                  <a:pt x="205" y="207"/>
                  <a:pt x="205" y="207"/>
                  <a:pt x="205" y="207"/>
                </a:cubicBezTo>
                <a:cubicBezTo>
                  <a:pt x="208" y="207"/>
                  <a:pt x="210" y="208"/>
                  <a:pt x="210" y="209"/>
                </a:cubicBezTo>
                <a:cubicBezTo>
                  <a:pt x="217" y="222"/>
                  <a:pt x="217" y="222"/>
                  <a:pt x="217" y="222"/>
                </a:cubicBezTo>
                <a:cubicBezTo>
                  <a:pt x="217" y="223"/>
                  <a:pt x="214" y="225"/>
                  <a:pt x="211" y="225"/>
                </a:cubicBezTo>
                <a:close/>
                <a:moveTo>
                  <a:pt x="315" y="178"/>
                </a:moveTo>
                <a:cubicBezTo>
                  <a:pt x="56" y="178"/>
                  <a:pt x="56" y="178"/>
                  <a:pt x="56" y="178"/>
                </a:cubicBezTo>
                <a:cubicBezTo>
                  <a:pt x="56" y="33"/>
                  <a:pt x="56" y="33"/>
                  <a:pt x="56" y="33"/>
                </a:cubicBezTo>
                <a:cubicBezTo>
                  <a:pt x="56" y="28"/>
                  <a:pt x="59" y="25"/>
                  <a:pt x="63" y="25"/>
                </a:cubicBezTo>
                <a:cubicBezTo>
                  <a:pt x="308" y="25"/>
                  <a:pt x="308" y="25"/>
                  <a:pt x="308" y="25"/>
                </a:cubicBezTo>
                <a:cubicBezTo>
                  <a:pt x="312" y="25"/>
                  <a:pt x="315" y="28"/>
                  <a:pt x="315" y="33"/>
                </a:cubicBezTo>
                <a:lnTo>
                  <a:pt x="315" y="178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91427" tIns="45713" rIns="91427" bIns="45713" numCol="1" anchor="t" anchorCtr="0" compatLnSpc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7930">
              <a:defRPr/>
            </a:pPr>
            <a:endParaRPr lang="en-US" sz="2300" ker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44" name="Freeform 94"/>
          <p:cNvSpPr/>
          <p:nvPr/>
        </p:nvSpPr>
        <p:spPr>
          <a:xfrm>
            <a:off x="1800392" y="623002"/>
            <a:ext cx="526779" cy="513240"/>
          </a:xfrm>
          <a:custGeom>
            <a:avLst/>
            <a:gdLst>
              <a:gd name="connsiteX0" fmla="*/ 790023 w 2202104"/>
              <a:gd name="connsiteY0" fmla="*/ 1443037 h 2145506"/>
              <a:gd name="connsiteX1" fmla="*/ 685248 w 2202104"/>
              <a:gd name="connsiteY1" fmla="*/ 1526381 h 2145506"/>
              <a:gd name="connsiteX2" fmla="*/ 928135 w 2202104"/>
              <a:gd name="connsiteY2" fmla="*/ 1585912 h 2145506"/>
              <a:gd name="connsiteX3" fmla="*/ 1032910 w 2202104"/>
              <a:gd name="connsiteY3" fmla="*/ 1483518 h 2145506"/>
              <a:gd name="connsiteX4" fmla="*/ 790023 w 2202104"/>
              <a:gd name="connsiteY4" fmla="*/ 1443037 h 2145506"/>
              <a:gd name="connsiteX5" fmla="*/ 2062404 w 2202104"/>
              <a:gd name="connsiteY5" fmla="*/ 1281113 h 2145506"/>
              <a:gd name="connsiteX6" fmla="*/ 1609967 w 2202104"/>
              <a:gd name="connsiteY6" fmla="*/ 1891506 h 2145506"/>
              <a:gd name="connsiteX7" fmla="*/ 36754 w 2202104"/>
              <a:gd name="connsiteY7" fmla="*/ 1566863 h 2145506"/>
              <a:gd name="connsiteX8" fmla="*/ 1614729 w 2202104"/>
              <a:gd name="connsiteY8" fmla="*/ 1912938 h 2145506"/>
              <a:gd name="connsiteX9" fmla="*/ 2062404 w 2202104"/>
              <a:gd name="connsiteY9" fmla="*/ 1281113 h 2145506"/>
              <a:gd name="connsiteX10" fmla="*/ 768592 w 2202104"/>
              <a:gd name="connsiteY10" fmla="*/ 1178718 h 2145506"/>
              <a:gd name="connsiteX11" fmla="*/ 523323 w 2202104"/>
              <a:gd name="connsiteY11" fmla="*/ 1335881 h 2145506"/>
              <a:gd name="connsiteX12" fmla="*/ 1735379 w 2202104"/>
              <a:gd name="connsiteY12" fmla="*/ 1538287 h 2145506"/>
              <a:gd name="connsiteX13" fmla="*/ 1885398 w 2202104"/>
              <a:gd name="connsiteY13" fmla="*/ 1328737 h 2145506"/>
              <a:gd name="connsiteX14" fmla="*/ 768592 w 2202104"/>
              <a:gd name="connsiteY14" fmla="*/ 1178718 h 2145506"/>
              <a:gd name="connsiteX15" fmla="*/ 2040179 w 2202104"/>
              <a:gd name="connsiteY15" fmla="*/ 104775 h 2145506"/>
              <a:gd name="connsiteX16" fmla="*/ 899560 w 2202104"/>
              <a:gd name="connsiteY16" fmla="*/ 142875 h 2145506"/>
              <a:gd name="connsiteX17" fmla="*/ 835267 w 2202104"/>
              <a:gd name="connsiteY17" fmla="*/ 964406 h 2145506"/>
              <a:gd name="connsiteX18" fmla="*/ 1952073 w 2202104"/>
              <a:gd name="connsiteY18" fmla="*/ 1054893 h 2145506"/>
              <a:gd name="connsiteX19" fmla="*/ 2040179 w 2202104"/>
              <a:gd name="connsiteY19" fmla="*/ 104775 h 2145506"/>
              <a:gd name="connsiteX20" fmla="*/ 2202104 w 2202104"/>
              <a:gd name="connsiteY20" fmla="*/ 0 h 2145506"/>
              <a:gd name="connsiteX21" fmla="*/ 2097329 w 2202104"/>
              <a:gd name="connsiteY21" fmla="*/ 1176337 h 2145506"/>
              <a:gd name="connsiteX22" fmla="*/ 1918969 w 2202104"/>
              <a:gd name="connsiteY22" fmla="*/ 1159788 h 2145506"/>
              <a:gd name="connsiteX23" fmla="*/ 2018748 w 2202104"/>
              <a:gd name="connsiteY23" fmla="*/ 1195387 h 2145506"/>
              <a:gd name="connsiteX24" fmla="*/ 2033035 w 2202104"/>
              <a:gd name="connsiteY24" fmla="*/ 1243012 h 2145506"/>
              <a:gd name="connsiteX25" fmla="*/ 2085423 w 2202104"/>
              <a:gd name="connsiteY25" fmla="*/ 1252537 h 2145506"/>
              <a:gd name="connsiteX26" fmla="*/ 1990173 w 2202104"/>
              <a:gd name="connsiteY26" fmla="*/ 1593056 h 2145506"/>
              <a:gd name="connsiteX27" fmla="*/ 1647273 w 2202104"/>
              <a:gd name="connsiteY27" fmla="*/ 2145506 h 2145506"/>
              <a:gd name="connsiteX28" fmla="*/ 92317 w 2202104"/>
              <a:gd name="connsiteY28" fmla="*/ 1788318 h 2145506"/>
              <a:gd name="connsiteX29" fmla="*/ 23260 w 2202104"/>
              <a:gd name="connsiteY29" fmla="*/ 1554956 h 2145506"/>
              <a:gd name="connsiteX30" fmla="*/ 728110 w 2202104"/>
              <a:gd name="connsiteY30" fmla="*/ 1114425 h 2145506"/>
              <a:gd name="connsiteX31" fmla="*/ 825742 w 2202104"/>
              <a:gd name="connsiteY31" fmla="*/ 1059656 h 2145506"/>
              <a:gd name="connsiteX32" fmla="*/ 1841808 w 2202104"/>
              <a:gd name="connsiteY32" fmla="*/ 1152629 h 2145506"/>
              <a:gd name="connsiteX33" fmla="*/ 711442 w 2202104"/>
              <a:gd name="connsiteY33" fmla="*/ 1047750 h 2145506"/>
              <a:gd name="connsiteX34" fmla="*/ 778117 w 2202104"/>
              <a:gd name="connsiteY34" fmla="*/ 52387 h 2145506"/>
              <a:gd name="connsiteX35" fmla="*/ 2202104 w 2202104"/>
              <a:gd name="connsiteY35" fmla="*/ 0 h 2145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202104" h="2145506">
                <a:moveTo>
                  <a:pt x="790023" y="1443037"/>
                </a:moveTo>
                <a:lnTo>
                  <a:pt x="685248" y="1526381"/>
                </a:lnTo>
                <a:lnTo>
                  <a:pt x="928135" y="1585912"/>
                </a:lnTo>
                <a:lnTo>
                  <a:pt x="1032910" y="1483518"/>
                </a:lnTo>
                <a:lnTo>
                  <a:pt x="790023" y="1443037"/>
                </a:lnTo>
                <a:close/>
                <a:moveTo>
                  <a:pt x="2062404" y="1281113"/>
                </a:moveTo>
                <a:lnTo>
                  <a:pt x="1609967" y="1891506"/>
                </a:lnTo>
                <a:lnTo>
                  <a:pt x="36754" y="1566863"/>
                </a:lnTo>
                <a:lnTo>
                  <a:pt x="1614729" y="1912938"/>
                </a:lnTo>
                <a:lnTo>
                  <a:pt x="2062404" y="1281113"/>
                </a:lnTo>
                <a:close/>
                <a:moveTo>
                  <a:pt x="768592" y="1178718"/>
                </a:moveTo>
                <a:lnTo>
                  <a:pt x="523323" y="1335881"/>
                </a:lnTo>
                <a:lnTo>
                  <a:pt x="1735379" y="1538287"/>
                </a:lnTo>
                <a:lnTo>
                  <a:pt x="1885398" y="1328737"/>
                </a:lnTo>
                <a:lnTo>
                  <a:pt x="768592" y="1178718"/>
                </a:lnTo>
                <a:close/>
                <a:moveTo>
                  <a:pt x="2040179" y="104775"/>
                </a:moveTo>
                <a:lnTo>
                  <a:pt x="899560" y="142875"/>
                </a:lnTo>
                <a:lnTo>
                  <a:pt x="835267" y="964406"/>
                </a:lnTo>
                <a:lnTo>
                  <a:pt x="1952073" y="1054893"/>
                </a:lnTo>
                <a:lnTo>
                  <a:pt x="2040179" y="104775"/>
                </a:lnTo>
                <a:close/>
                <a:moveTo>
                  <a:pt x="2202104" y="0"/>
                </a:moveTo>
                <a:lnTo>
                  <a:pt x="2097329" y="1176337"/>
                </a:lnTo>
                <a:lnTo>
                  <a:pt x="1918969" y="1159788"/>
                </a:lnTo>
                <a:cubicBezTo>
                  <a:pt x="1951803" y="1171645"/>
                  <a:pt x="1897604" y="1185886"/>
                  <a:pt x="2018748" y="1195387"/>
                </a:cubicBezTo>
                <a:cubicBezTo>
                  <a:pt x="2035417" y="1208881"/>
                  <a:pt x="2044942" y="1222374"/>
                  <a:pt x="2033035" y="1243012"/>
                </a:cubicBezTo>
                <a:cubicBezTo>
                  <a:pt x="2040973" y="1250950"/>
                  <a:pt x="2067960" y="1249362"/>
                  <a:pt x="2085423" y="1252537"/>
                </a:cubicBezTo>
                <a:cubicBezTo>
                  <a:pt x="2103680" y="1313656"/>
                  <a:pt x="2133842" y="1455738"/>
                  <a:pt x="1990173" y="1593056"/>
                </a:cubicBezTo>
                <a:lnTo>
                  <a:pt x="1647273" y="2145506"/>
                </a:lnTo>
                <a:lnTo>
                  <a:pt x="92317" y="1788318"/>
                </a:lnTo>
                <a:cubicBezTo>
                  <a:pt x="45486" y="1755774"/>
                  <a:pt x="-41827" y="1677986"/>
                  <a:pt x="23260" y="1554956"/>
                </a:cubicBezTo>
                <a:lnTo>
                  <a:pt x="728110" y="1114425"/>
                </a:lnTo>
                <a:cubicBezTo>
                  <a:pt x="732079" y="1055688"/>
                  <a:pt x="774149" y="1063625"/>
                  <a:pt x="825742" y="1059656"/>
                </a:cubicBezTo>
                <a:lnTo>
                  <a:pt x="1841808" y="1152629"/>
                </a:lnTo>
                <a:lnTo>
                  <a:pt x="711442" y="1047750"/>
                </a:lnTo>
                <a:lnTo>
                  <a:pt x="778117" y="52387"/>
                </a:lnTo>
                <a:lnTo>
                  <a:pt x="2202104" y="0"/>
                </a:ln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grpSp>
        <p:nvGrpSpPr>
          <p:cNvPr id="56" name="Group 81"/>
          <p:cNvGrpSpPr/>
          <p:nvPr/>
        </p:nvGrpSpPr>
        <p:grpSpPr>
          <a:xfrm flipH="1">
            <a:off x="2957191" y="617388"/>
            <a:ext cx="757463" cy="524469"/>
            <a:chOff x="2447924" y="1553458"/>
            <a:chExt cx="6165879" cy="4269267"/>
          </a:xfrm>
          <a:solidFill>
            <a:srgbClr val="FFFFFF"/>
          </a:solidFill>
        </p:grpSpPr>
        <p:sp>
          <p:nvSpPr>
            <p:cNvPr id="57" name="Freeform 83"/>
            <p:cNvSpPr/>
            <p:nvPr/>
          </p:nvSpPr>
          <p:spPr>
            <a:xfrm>
              <a:off x="2447924" y="1553458"/>
              <a:ext cx="4569613" cy="3257684"/>
            </a:xfrm>
            <a:custGeom>
              <a:avLst/>
              <a:gdLst/>
              <a:ahLst/>
              <a:cxnLst/>
              <a:rect l="l" t="t" r="r" b="b"/>
              <a:pathLst>
                <a:path w="4569614" h="3257681">
                  <a:moveTo>
                    <a:pt x="3930651" y="2631191"/>
                  </a:moveTo>
                  <a:cubicBezTo>
                    <a:pt x="3883306" y="2631191"/>
                    <a:pt x="3844926" y="2665307"/>
                    <a:pt x="3844926" y="2707391"/>
                  </a:cubicBezTo>
                  <a:cubicBezTo>
                    <a:pt x="3844926" y="2749475"/>
                    <a:pt x="3883306" y="2783591"/>
                    <a:pt x="3930651" y="2783591"/>
                  </a:cubicBezTo>
                  <a:cubicBezTo>
                    <a:pt x="3977996" y="2783591"/>
                    <a:pt x="4016376" y="2749475"/>
                    <a:pt x="4016376" y="2707391"/>
                  </a:cubicBezTo>
                  <a:cubicBezTo>
                    <a:pt x="4016376" y="2665307"/>
                    <a:pt x="3977996" y="2631191"/>
                    <a:pt x="3930651" y="2631191"/>
                  </a:cubicBezTo>
                  <a:close/>
                  <a:moveTo>
                    <a:pt x="4165601" y="2599441"/>
                  </a:moveTo>
                  <a:cubicBezTo>
                    <a:pt x="4118256" y="2599441"/>
                    <a:pt x="4079876" y="2633557"/>
                    <a:pt x="4079876" y="2675641"/>
                  </a:cubicBezTo>
                  <a:cubicBezTo>
                    <a:pt x="4079876" y="2717725"/>
                    <a:pt x="4118256" y="2751841"/>
                    <a:pt x="4165601" y="2751841"/>
                  </a:cubicBezTo>
                  <a:cubicBezTo>
                    <a:pt x="4212946" y="2751841"/>
                    <a:pt x="4251326" y="2717725"/>
                    <a:pt x="4251326" y="2675641"/>
                  </a:cubicBezTo>
                  <a:cubicBezTo>
                    <a:pt x="4251326" y="2633557"/>
                    <a:pt x="4212946" y="2599441"/>
                    <a:pt x="4165601" y="2599441"/>
                  </a:cubicBezTo>
                  <a:close/>
                  <a:moveTo>
                    <a:pt x="2349501" y="192791"/>
                  </a:moveTo>
                  <a:cubicBezTo>
                    <a:pt x="2323198" y="192791"/>
                    <a:pt x="2301876" y="204163"/>
                    <a:pt x="2301876" y="218191"/>
                  </a:cubicBezTo>
                  <a:cubicBezTo>
                    <a:pt x="2301876" y="232219"/>
                    <a:pt x="2323198" y="243591"/>
                    <a:pt x="2349501" y="243591"/>
                  </a:cubicBezTo>
                  <a:cubicBezTo>
                    <a:pt x="2375804" y="243591"/>
                    <a:pt x="2397126" y="232219"/>
                    <a:pt x="2397126" y="218191"/>
                  </a:cubicBezTo>
                  <a:cubicBezTo>
                    <a:pt x="2397126" y="204163"/>
                    <a:pt x="2375804" y="192791"/>
                    <a:pt x="2349501" y="192791"/>
                  </a:cubicBezTo>
                  <a:close/>
                  <a:moveTo>
                    <a:pt x="4213295" y="170131"/>
                  </a:moveTo>
                  <a:lnTo>
                    <a:pt x="222942" y="403666"/>
                  </a:lnTo>
                  <a:lnTo>
                    <a:pt x="454640" y="2894678"/>
                  </a:lnTo>
                  <a:lnTo>
                    <a:pt x="4402082" y="2505455"/>
                  </a:lnTo>
                  <a:close/>
                  <a:moveTo>
                    <a:pt x="4364848" y="0"/>
                  </a:moveTo>
                  <a:lnTo>
                    <a:pt x="4569614" y="2792296"/>
                  </a:lnTo>
                  <a:lnTo>
                    <a:pt x="288093" y="3257681"/>
                  </a:lnTo>
                  <a:lnTo>
                    <a:pt x="287284" y="3248090"/>
                  </a:lnTo>
                  <a:lnTo>
                    <a:pt x="228600" y="3185113"/>
                  </a:lnTo>
                  <a:lnTo>
                    <a:pt x="0" y="361188"/>
                  </a:lnTo>
                  <a:lnTo>
                    <a:pt x="37382" y="286305"/>
                  </a:lnTo>
                  <a:lnTo>
                    <a:pt x="36785" y="279232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vert="horz" wrap="square" lIns="91423" tIns="45711" rIns="91423" bIns="45711" numCol="1" rtlCol="0" anchor="ctr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313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2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58" name="Freeform 93"/>
            <p:cNvSpPr/>
            <p:nvPr/>
          </p:nvSpPr>
          <p:spPr>
            <a:xfrm>
              <a:off x="2780045" y="4426720"/>
              <a:ext cx="5833758" cy="1396005"/>
            </a:xfrm>
            <a:custGeom>
              <a:avLst/>
              <a:gdLst/>
              <a:ahLst/>
              <a:cxnLst/>
              <a:rect l="l" t="t" r="r" b="b"/>
              <a:pathLst>
                <a:path w="5833760" h="1396004">
                  <a:moveTo>
                    <a:pt x="3189592" y="815203"/>
                  </a:moveTo>
                  <a:lnTo>
                    <a:pt x="2744457" y="876798"/>
                  </a:lnTo>
                  <a:lnTo>
                    <a:pt x="3049257" y="998718"/>
                  </a:lnTo>
                  <a:lnTo>
                    <a:pt x="3468357" y="952998"/>
                  </a:lnTo>
                  <a:close/>
                  <a:moveTo>
                    <a:pt x="548945" y="812029"/>
                  </a:moveTo>
                  <a:lnTo>
                    <a:pt x="558470" y="921567"/>
                  </a:lnTo>
                  <a:lnTo>
                    <a:pt x="882320" y="1073967"/>
                  </a:lnTo>
                  <a:lnTo>
                    <a:pt x="877557" y="978717"/>
                  </a:lnTo>
                  <a:close/>
                  <a:moveTo>
                    <a:pt x="3684892" y="751703"/>
                  </a:moveTo>
                  <a:lnTo>
                    <a:pt x="3239757" y="813298"/>
                  </a:lnTo>
                  <a:lnTo>
                    <a:pt x="3496932" y="947918"/>
                  </a:lnTo>
                  <a:lnTo>
                    <a:pt x="3963657" y="889498"/>
                  </a:lnTo>
                  <a:close/>
                  <a:moveTo>
                    <a:pt x="291770" y="669154"/>
                  </a:moveTo>
                  <a:cubicBezTo>
                    <a:pt x="275988" y="669154"/>
                    <a:pt x="263195" y="694741"/>
                    <a:pt x="263195" y="726304"/>
                  </a:cubicBezTo>
                  <a:cubicBezTo>
                    <a:pt x="263195" y="757867"/>
                    <a:pt x="275988" y="783454"/>
                    <a:pt x="291770" y="783454"/>
                  </a:cubicBezTo>
                  <a:cubicBezTo>
                    <a:pt x="307552" y="783454"/>
                    <a:pt x="320345" y="757867"/>
                    <a:pt x="320345" y="726304"/>
                  </a:cubicBezTo>
                  <a:cubicBezTo>
                    <a:pt x="320345" y="694741"/>
                    <a:pt x="307552" y="669154"/>
                    <a:pt x="291770" y="669154"/>
                  </a:cubicBezTo>
                  <a:close/>
                  <a:moveTo>
                    <a:pt x="1739394" y="609349"/>
                  </a:moveTo>
                  <a:lnTo>
                    <a:pt x="2037349" y="729020"/>
                  </a:lnTo>
                  <a:lnTo>
                    <a:pt x="1641508" y="780950"/>
                  </a:lnTo>
                  <a:lnTo>
                    <a:pt x="1294059" y="658167"/>
                  </a:lnTo>
                  <a:close/>
                  <a:moveTo>
                    <a:pt x="158420" y="602479"/>
                  </a:moveTo>
                  <a:cubicBezTo>
                    <a:pt x="142638" y="602479"/>
                    <a:pt x="129845" y="628066"/>
                    <a:pt x="129845" y="659629"/>
                  </a:cubicBezTo>
                  <a:cubicBezTo>
                    <a:pt x="129845" y="691192"/>
                    <a:pt x="142638" y="716779"/>
                    <a:pt x="158420" y="716779"/>
                  </a:cubicBezTo>
                  <a:cubicBezTo>
                    <a:pt x="174202" y="716779"/>
                    <a:pt x="186995" y="691192"/>
                    <a:pt x="186995" y="659629"/>
                  </a:cubicBezTo>
                  <a:cubicBezTo>
                    <a:pt x="186995" y="628066"/>
                    <a:pt x="174202" y="602479"/>
                    <a:pt x="158420" y="602479"/>
                  </a:cubicBezTo>
                  <a:close/>
                  <a:moveTo>
                    <a:pt x="4512297" y="594859"/>
                  </a:moveTo>
                  <a:lnTo>
                    <a:pt x="1548117" y="983479"/>
                  </a:lnTo>
                  <a:lnTo>
                    <a:pt x="885177" y="724399"/>
                  </a:lnTo>
                  <a:lnTo>
                    <a:pt x="1525257" y="1021579"/>
                  </a:lnTo>
                  <a:close/>
                  <a:moveTo>
                    <a:pt x="1496634" y="511847"/>
                  </a:moveTo>
                  <a:lnTo>
                    <a:pt x="1724613" y="603413"/>
                  </a:lnTo>
                  <a:lnTo>
                    <a:pt x="1288278" y="656124"/>
                  </a:lnTo>
                  <a:lnTo>
                    <a:pt x="1023235" y="562462"/>
                  </a:lnTo>
                  <a:close/>
                  <a:moveTo>
                    <a:pt x="1291895" y="397692"/>
                  </a:moveTo>
                  <a:lnTo>
                    <a:pt x="177470" y="502467"/>
                  </a:lnTo>
                  <a:lnTo>
                    <a:pt x="25070" y="473892"/>
                  </a:lnTo>
                  <a:lnTo>
                    <a:pt x="1530020" y="1202554"/>
                  </a:lnTo>
                  <a:lnTo>
                    <a:pt x="244145" y="531042"/>
                  </a:lnTo>
                  <a:close/>
                  <a:moveTo>
                    <a:pt x="4276077" y="175759"/>
                  </a:moveTo>
                  <a:lnTo>
                    <a:pt x="1481419" y="504542"/>
                  </a:lnTo>
                  <a:lnTo>
                    <a:pt x="1456677" y="495799"/>
                  </a:lnTo>
                  <a:lnTo>
                    <a:pt x="1479119" y="504813"/>
                  </a:lnTo>
                  <a:lnTo>
                    <a:pt x="1014710" y="559449"/>
                  </a:lnTo>
                  <a:lnTo>
                    <a:pt x="1007097" y="556759"/>
                  </a:lnTo>
                  <a:lnTo>
                    <a:pt x="1014003" y="559533"/>
                  </a:lnTo>
                  <a:lnTo>
                    <a:pt x="648957" y="602479"/>
                  </a:lnTo>
                  <a:lnTo>
                    <a:pt x="1021704" y="562626"/>
                  </a:lnTo>
                  <a:lnTo>
                    <a:pt x="1262307" y="659262"/>
                  </a:lnTo>
                  <a:lnTo>
                    <a:pt x="1049007" y="685029"/>
                  </a:lnTo>
                  <a:lnTo>
                    <a:pt x="1266974" y="661136"/>
                  </a:lnTo>
                  <a:lnTo>
                    <a:pt x="1584052" y="788487"/>
                  </a:lnTo>
                  <a:lnTo>
                    <a:pt x="1404607" y="812028"/>
                  </a:lnTo>
                  <a:lnTo>
                    <a:pt x="1464932" y="834253"/>
                  </a:lnTo>
                  <a:lnTo>
                    <a:pt x="1636737" y="809647"/>
                  </a:lnTo>
                  <a:lnTo>
                    <a:pt x="1936737" y="930139"/>
                  </a:lnTo>
                  <a:lnTo>
                    <a:pt x="2020557" y="914899"/>
                  </a:lnTo>
                  <a:lnTo>
                    <a:pt x="1697921" y="800885"/>
                  </a:lnTo>
                  <a:lnTo>
                    <a:pt x="2080025" y="746160"/>
                  </a:lnTo>
                  <a:lnTo>
                    <a:pt x="2386317" y="869179"/>
                  </a:lnTo>
                  <a:lnTo>
                    <a:pt x="2470137" y="853939"/>
                  </a:lnTo>
                  <a:lnTo>
                    <a:pt x="2140597" y="737485"/>
                  </a:lnTo>
                  <a:lnTo>
                    <a:pt x="3970007" y="475478"/>
                  </a:lnTo>
                  <a:lnTo>
                    <a:pt x="2095175" y="721434"/>
                  </a:lnTo>
                  <a:lnTo>
                    <a:pt x="1768859" y="606119"/>
                  </a:lnTo>
                  <a:lnTo>
                    <a:pt x="3887457" y="373879"/>
                  </a:lnTo>
                  <a:lnTo>
                    <a:pt x="4363707" y="564379"/>
                  </a:lnTo>
                  <a:lnTo>
                    <a:pt x="3887457" y="342129"/>
                  </a:lnTo>
                  <a:lnTo>
                    <a:pt x="1751879" y="600119"/>
                  </a:lnTo>
                  <a:lnTo>
                    <a:pt x="1500822" y="511399"/>
                  </a:lnTo>
                  <a:lnTo>
                    <a:pt x="4283697" y="213859"/>
                  </a:lnTo>
                  <a:lnTo>
                    <a:pt x="5213337" y="594859"/>
                  </a:lnTo>
                  <a:close/>
                  <a:moveTo>
                    <a:pt x="4287507" y="62729"/>
                  </a:moveTo>
                  <a:lnTo>
                    <a:pt x="5614657" y="665979"/>
                  </a:lnTo>
                  <a:lnTo>
                    <a:pt x="1620507" y="1250179"/>
                  </a:lnTo>
                  <a:lnTo>
                    <a:pt x="5754357" y="678679"/>
                  </a:lnTo>
                  <a:close/>
                  <a:moveTo>
                    <a:pt x="4278784" y="0"/>
                  </a:moveTo>
                  <a:lnTo>
                    <a:pt x="5803959" y="656320"/>
                  </a:lnTo>
                  <a:lnTo>
                    <a:pt x="5807697" y="655819"/>
                  </a:lnTo>
                  <a:cubicBezTo>
                    <a:pt x="5826747" y="699634"/>
                    <a:pt x="5855322" y="743449"/>
                    <a:pt x="5807697" y="815839"/>
                  </a:cubicBezTo>
                  <a:lnTo>
                    <a:pt x="1510017" y="1394959"/>
                  </a:lnTo>
                  <a:cubicBezTo>
                    <a:pt x="1483664" y="1421312"/>
                    <a:pt x="514337" y="942839"/>
                    <a:pt x="16497" y="716779"/>
                  </a:cubicBezTo>
                  <a:cubicBezTo>
                    <a:pt x="-12078" y="575809"/>
                    <a:pt x="2210" y="520564"/>
                    <a:pt x="16497" y="465319"/>
                  </a:cubicBezTo>
                  <a:lnTo>
                    <a:pt x="25043" y="469791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vert="horz" wrap="square" lIns="91423" tIns="45711" rIns="91423" bIns="45711" numCol="1" rtlCol="0" anchor="ctr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313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2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grpSp>
        <p:nvGrpSpPr>
          <p:cNvPr id="66" name="Group 11"/>
          <p:cNvGrpSpPr/>
          <p:nvPr/>
        </p:nvGrpSpPr>
        <p:grpSpPr>
          <a:xfrm>
            <a:off x="4168460" y="591407"/>
            <a:ext cx="879207" cy="576431"/>
            <a:chOff x="5702638" y="3159220"/>
            <a:chExt cx="1031198" cy="676082"/>
          </a:xfrm>
          <a:solidFill>
            <a:srgbClr val="FFFFFF"/>
          </a:solidFill>
        </p:grpSpPr>
        <p:grpSp>
          <p:nvGrpSpPr>
            <p:cNvPr id="67" name="Group 98"/>
            <p:cNvGrpSpPr/>
            <p:nvPr/>
          </p:nvGrpSpPr>
          <p:grpSpPr bwMode="black">
            <a:xfrm>
              <a:off x="5838591" y="3159220"/>
              <a:ext cx="895245" cy="539115"/>
              <a:chOff x="863600" y="2393157"/>
              <a:chExt cx="876300" cy="527844"/>
            </a:xfrm>
            <a:grpFill/>
          </p:grpSpPr>
          <p:sp>
            <p:nvSpPr>
              <p:cNvPr id="71" name="Freeform 102"/>
              <p:cNvSpPr>
                <a:spLocks noEditPoints="1"/>
              </p:cNvSpPr>
              <p:nvPr/>
            </p:nvSpPr>
            <p:spPr bwMode="black">
              <a:xfrm>
                <a:off x="1521931" y="2481334"/>
                <a:ext cx="217969" cy="439667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739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-122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 Light" panose="020B0502040204020203"/>
                  <a:sym typeface="Segoe UI Light" panose="020B0502040204020203"/>
                </a:endParaRPr>
              </a:p>
            </p:txBody>
          </p:sp>
          <p:sp>
            <p:nvSpPr>
              <p:cNvPr id="72" name="Freeform 106"/>
              <p:cNvSpPr>
                <a:spLocks noEditPoints="1"/>
              </p:cNvSpPr>
              <p:nvPr/>
            </p:nvSpPr>
            <p:spPr bwMode="black">
              <a:xfrm>
                <a:off x="863600" y="2393157"/>
                <a:ext cx="622300" cy="527844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739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-122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 Light" panose="020B0502040204020203"/>
                  <a:sym typeface="Segoe UI Light" panose="020B0502040204020203"/>
                </a:endParaRPr>
              </a:p>
            </p:txBody>
          </p:sp>
        </p:grpSp>
        <p:grpSp>
          <p:nvGrpSpPr>
            <p:cNvPr id="68" name="Group 99"/>
            <p:cNvGrpSpPr/>
            <p:nvPr/>
          </p:nvGrpSpPr>
          <p:grpSpPr>
            <a:xfrm>
              <a:off x="5702638" y="3717144"/>
              <a:ext cx="893882" cy="118158"/>
              <a:chOff x="2154279" y="4484926"/>
              <a:chExt cx="4890259" cy="646417"/>
            </a:xfrm>
            <a:grpFill/>
          </p:grpSpPr>
          <p:sp>
            <p:nvSpPr>
              <p:cNvPr id="69" name="Round Same Side Corner Rectangle 4"/>
              <p:cNvSpPr/>
              <p:nvPr/>
            </p:nvSpPr>
            <p:spPr>
              <a:xfrm flipV="1">
                <a:off x="2154280" y="5039587"/>
                <a:ext cx="4890258" cy="91756"/>
              </a:xfrm>
              <a:custGeom>
                <a:avLst/>
                <a:gdLst/>
                <a:ahLst/>
                <a:cxnLst/>
                <a:rect l="l" t="t" r="r" b="b"/>
                <a:pathLst>
                  <a:path w="4890258" h="148908">
                    <a:moveTo>
                      <a:pt x="0" y="148908"/>
                    </a:moveTo>
                    <a:lnTo>
                      <a:pt x="4890258" y="148908"/>
                    </a:lnTo>
                    <a:lnTo>
                      <a:pt x="4890258" y="24819"/>
                    </a:lnTo>
                    <a:cubicBezTo>
                      <a:pt x="4890258" y="11112"/>
                      <a:pt x="4872323" y="0"/>
                      <a:pt x="4850200" y="0"/>
                    </a:cubicBezTo>
                    <a:lnTo>
                      <a:pt x="40058" y="0"/>
                    </a:lnTo>
                    <a:cubicBezTo>
                      <a:pt x="17935" y="0"/>
                      <a:pt x="0" y="11112"/>
                      <a:pt x="0" y="24819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70" name="Rectangle 1036"/>
              <p:cNvSpPr/>
              <p:nvPr/>
            </p:nvSpPr>
            <p:spPr>
              <a:xfrm>
                <a:off x="2154279" y="4484926"/>
                <a:ext cx="4890120" cy="527688"/>
              </a:xfrm>
              <a:custGeom>
                <a:avLst/>
                <a:gdLst/>
                <a:ahLst/>
                <a:cxnLst/>
                <a:rect l="l" t="t" r="r" b="b"/>
                <a:pathLst>
                  <a:path w="4890120" h="527688">
                    <a:moveTo>
                      <a:pt x="442036" y="125175"/>
                    </a:moveTo>
                    <a:lnTo>
                      <a:pt x="117434" y="477600"/>
                    </a:lnTo>
                    <a:lnTo>
                      <a:pt x="3579771" y="477600"/>
                    </a:lnTo>
                    <a:lnTo>
                      <a:pt x="3398796" y="125175"/>
                    </a:lnTo>
                    <a:close/>
                    <a:moveTo>
                      <a:pt x="4367989" y="40478"/>
                    </a:moveTo>
                    <a:lnTo>
                      <a:pt x="3454440" y="42859"/>
                    </a:lnTo>
                    <a:cubicBezTo>
                      <a:pt x="3524148" y="188567"/>
                      <a:pt x="3603379" y="331893"/>
                      <a:pt x="3673087" y="477601"/>
                    </a:cubicBezTo>
                    <a:lnTo>
                      <a:pt x="4591914" y="477601"/>
                    </a:lnTo>
                    <a:lnTo>
                      <a:pt x="4766428" y="473629"/>
                    </a:lnTo>
                    <a:close/>
                    <a:moveTo>
                      <a:pt x="505682" y="39446"/>
                    </a:moveTo>
                    <a:lnTo>
                      <a:pt x="461063" y="89927"/>
                    </a:lnTo>
                    <a:lnTo>
                      <a:pt x="3389350" y="87547"/>
                    </a:lnTo>
                    <a:lnTo>
                      <a:pt x="3361268" y="39446"/>
                    </a:lnTo>
                    <a:close/>
                    <a:moveTo>
                      <a:pt x="487195" y="0"/>
                    </a:moveTo>
                    <a:lnTo>
                      <a:pt x="4402926" y="0"/>
                    </a:lnTo>
                    <a:lnTo>
                      <a:pt x="4890120" y="527688"/>
                    </a:lnTo>
                    <a:lnTo>
                      <a:pt x="90627" y="527688"/>
                    </a:lnTo>
                    <a:lnTo>
                      <a:pt x="0" y="527688"/>
                    </a:ln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23" tIns="45711" rIns="91423" bIns="45711" numCol="1" rtlCol="0" anchor="ctr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739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-122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Segoe UI Light" panose="020B0502040204020203"/>
                  <a:sym typeface="Segoe UI Light" panose="020B0502040204020203"/>
                </a:endParaRPr>
              </a:p>
            </p:txBody>
          </p:sp>
        </p:grpSp>
      </p:grpSp>
      <p:sp>
        <p:nvSpPr>
          <p:cNvPr id="73" name="Rounded Rectangle 6"/>
          <p:cNvSpPr/>
          <p:nvPr/>
        </p:nvSpPr>
        <p:spPr bwMode="black">
          <a:xfrm rot="16200000">
            <a:off x="5634270" y="541689"/>
            <a:ext cx="491869" cy="675867"/>
          </a:xfrm>
          <a:custGeom>
            <a:avLst/>
            <a:gdLst/>
            <a:ahLst/>
            <a:cxnLst/>
            <a:rect l="l" t="t" r="r" b="b"/>
            <a:pathLst>
              <a:path w="3286897" h="4658497">
                <a:moveTo>
                  <a:pt x="1600200" y="4382531"/>
                </a:moveTo>
                <a:cubicBezTo>
                  <a:pt x="1600200" y="4367744"/>
                  <a:pt x="1588213" y="4355757"/>
                  <a:pt x="1573426" y="4355757"/>
                </a:cubicBezTo>
                <a:lnTo>
                  <a:pt x="811428" y="4355757"/>
                </a:lnTo>
                <a:cubicBezTo>
                  <a:pt x="796641" y="4355757"/>
                  <a:pt x="784654" y="4367744"/>
                  <a:pt x="784654" y="4382531"/>
                </a:cubicBezTo>
                <a:lnTo>
                  <a:pt x="784654" y="4489621"/>
                </a:lnTo>
                <a:cubicBezTo>
                  <a:pt x="784654" y="4504408"/>
                  <a:pt x="796641" y="4516395"/>
                  <a:pt x="811428" y="4516395"/>
                </a:cubicBezTo>
                <a:lnTo>
                  <a:pt x="1573426" y="4516395"/>
                </a:lnTo>
                <a:cubicBezTo>
                  <a:pt x="1588213" y="4516395"/>
                  <a:pt x="1600200" y="4504408"/>
                  <a:pt x="1600200" y="4489621"/>
                </a:cubicBezTo>
                <a:close/>
                <a:moveTo>
                  <a:pt x="2502243" y="4382531"/>
                </a:moveTo>
                <a:cubicBezTo>
                  <a:pt x="2502243" y="4367744"/>
                  <a:pt x="2490256" y="4355757"/>
                  <a:pt x="2475469" y="4355757"/>
                </a:cubicBezTo>
                <a:lnTo>
                  <a:pt x="1713471" y="4355757"/>
                </a:lnTo>
                <a:cubicBezTo>
                  <a:pt x="1698684" y="4355757"/>
                  <a:pt x="1686697" y="4367744"/>
                  <a:pt x="1686697" y="4382531"/>
                </a:cubicBezTo>
                <a:lnTo>
                  <a:pt x="1686697" y="4489621"/>
                </a:lnTo>
                <a:cubicBezTo>
                  <a:pt x="1686697" y="4504408"/>
                  <a:pt x="1698684" y="4516395"/>
                  <a:pt x="1713471" y="4516395"/>
                </a:cubicBezTo>
                <a:lnTo>
                  <a:pt x="2475469" y="4516395"/>
                </a:lnTo>
                <a:cubicBezTo>
                  <a:pt x="2490256" y="4516395"/>
                  <a:pt x="2502243" y="4504408"/>
                  <a:pt x="2502243" y="4489621"/>
                </a:cubicBezTo>
                <a:close/>
                <a:moveTo>
                  <a:pt x="3021231" y="480896"/>
                </a:moveTo>
                <a:cubicBezTo>
                  <a:pt x="3021231" y="375524"/>
                  <a:pt x="2935811" y="290104"/>
                  <a:pt x="2830439" y="290104"/>
                </a:cubicBezTo>
                <a:lnTo>
                  <a:pt x="444108" y="290104"/>
                </a:lnTo>
                <a:cubicBezTo>
                  <a:pt x="338736" y="290104"/>
                  <a:pt x="253316" y="375524"/>
                  <a:pt x="253316" y="480896"/>
                </a:cubicBezTo>
                <a:lnTo>
                  <a:pt x="253316" y="4029043"/>
                </a:lnTo>
                <a:cubicBezTo>
                  <a:pt x="253316" y="4134415"/>
                  <a:pt x="338736" y="4219835"/>
                  <a:pt x="444108" y="4219835"/>
                </a:cubicBezTo>
                <a:lnTo>
                  <a:pt x="2830439" y="4219835"/>
                </a:lnTo>
                <a:cubicBezTo>
                  <a:pt x="2935811" y="4219835"/>
                  <a:pt x="3021231" y="4134415"/>
                  <a:pt x="3021231" y="4029043"/>
                </a:cubicBezTo>
                <a:close/>
                <a:moveTo>
                  <a:pt x="3286897" y="226566"/>
                </a:moveTo>
                <a:lnTo>
                  <a:pt x="3286897" y="4431931"/>
                </a:lnTo>
                <a:cubicBezTo>
                  <a:pt x="3286897" y="4557060"/>
                  <a:pt x="3185460" y="4658497"/>
                  <a:pt x="3060331" y="4658497"/>
                </a:cubicBezTo>
                <a:lnTo>
                  <a:pt x="226566" y="4658497"/>
                </a:lnTo>
                <a:cubicBezTo>
                  <a:pt x="101437" y="4658497"/>
                  <a:pt x="0" y="4557060"/>
                  <a:pt x="0" y="4431931"/>
                </a:cubicBezTo>
                <a:lnTo>
                  <a:pt x="0" y="226566"/>
                </a:lnTo>
                <a:cubicBezTo>
                  <a:pt x="0" y="101437"/>
                  <a:pt x="101437" y="0"/>
                  <a:pt x="226566" y="0"/>
                </a:cubicBezTo>
                <a:lnTo>
                  <a:pt x="3060331" y="0"/>
                </a:lnTo>
                <a:cubicBezTo>
                  <a:pt x="3185460" y="0"/>
                  <a:pt x="3286897" y="101437"/>
                  <a:pt x="3286897" y="226566"/>
                </a:cubicBezTo>
                <a:close/>
              </a:path>
            </a:pathLst>
          </a:cu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82290" tIns="41145" rIns="82290" bIns="41145" numCol="1" rtlCol="0" anchor="ctr" anchorCtr="0" compatLnSpc="1"/>
          <a:lstStyle/>
          <a:p>
            <a:pPr defTabSz="739775"/>
            <a:endParaRPr lang="en-US" sz="1600" spc="-122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0" name="Rectangle 36"/>
          <p:cNvSpPr/>
          <p:nvPr/>
        </p:nvSpPr>
        <p:spPr>
          <a:xfrm>
            <a:off x="5522729" y="1791246"/>
            <a:ext cx="714950" cy="481009"/>
          </a:xfrm>
          <a:custGeom>
            <a:avLst/>
            <a:gdLst/>
            <a:ahLst/>
            <a:cxnLst/>
            <a:rect l="l" t="t" r="r" b="b"/>
            <a:pathLst>
              <a:path w="3706697" h="2493818">
                <a:moveTo>
                  <a:pt x="155892" y="2268472"/>
                </a:moveTo>
                <a:cubicBezTo>
                  <a:pt x="115912" y="2268472"/>
                  <a:pt x="83502" y="2300882"/>
                  <a:pt x="83502" y="2340862"/>
                </a:cubicBezTo>
                <a:cubicBezTo>
                  <a:pt x="83502" y="2380842"/>
                  <a:pt x="115912" y="2413252"/>
                  <a:pt x="155892" y="2413252"/>
                </a:cubicBezTo>
                <a:cubicBezTo>
                  <a:pt x="195872" y="2413252"/>
                  <a:pt x="228282" y="2380842"/>
                  <a:pt x="228282" y="2340862"/>
                </a:cubicBezTo>
                <a:cubicBezTo>
                  <a:pt x="228282" y="2300882"/>
                  <a:pt x="195872" y="2268472"/>
                  <a:pt x="155892" y="2268472"/>
                </a:cubicBezTo>
                <a:close/>
                <a:moveTo>
                  <a:pt x="3356494" y="2165602"/>
                </a:moveTo>
                <a:cubicBezTo>
                  <a:pt x="3322827" y="2165602"/>
                  <a:pt x="3295534" y="2192895"/>
                  <a:pt x="3295534" y="2226562"/>
                </a:cubicBezTo>
                <a:cubicBezTo>
                  <a:pt x="3295534" y="2260229"/>
                  <a:pt x="3322827" y="2287522"/>
                  <a:pt x="3356494" y="2287522"/>
                </a:cubicBezTo>
                <a:cubicBezTo>
                  <a:pt x="3390161" y="2287522"/>
                  <a:pt x="3417454" y="2260229"/>
                  <a:pt x="3417454" y="2226562"/>
                </a:cubicBezTo>
                <a:cubicBezTo>
                  <a:pt x="3417454" y="2192895"/>
                  <a:pt x="3390161" y="2165602"/>
                  <a:pt x="3356494" y="2165602"/>
                </a:cubicBezTo>
                <a:close/>
                <a:moveTo>
                  <a:pt x="3356494" y="1839052"/>
                </a:moveTo>
                <a:cubicBezTo>
                  <a:pt x="3322827" y="1839052"/>
                  <a:pt x="3295534" y="1866345"/>
                  <a:pt x="3295534" y="1900012"/>
                </a:cubicBezTo>
                <a:cubicBezTo>
                  <a:pt x="3295534" y="1933679"/>
                  <a:pt x="3322827" y="1960972"/>
                  <a:pt x="3356494" y="1960972"/>
                </a:cubicBezTo>
                <a:cubicBezTo>
                  <a:pt x="3390161" y="1960972"/>
                  <a:pt x="3417454" y="1933679"/>
                  <a:pt x="3417454" y="1900012"/>
                </a:cubicBezTo>
                <a:cubicBezTo>
                  <a:pt x="3417454" y="1866345"/>
                  <a:pt x="3390161" y="1839052"/>
                  <a:pt x="3356494" y="1839052"/>
                </a:cubicBezTo>
                <a:close/>
                <a:moveTo>
                  <a:pt x="2278433" y="1696107"/>
                </a:moveTo>
                <a:cubicBezTo>
                  <a:pt x="2250873" y="1696107"/>
                  <a:pt x="2228533" y="1718448"/>
                  <a:pt x="2228532" y="1746008"/>
                </a:cubicBezTo>
                <a:cubicBezTo>
                  <a:pt x="2228533" y="1773567"/>
                  <a:pt x="2250873" y="1795908"/>
                  <a:pt x="2278433" y="1795908"/>
                </a:cubicBezTo>
                <a:lnTo>
                  <a:pt x="2299015" y="1795908"/>
                </a:lnTo>
                <a:cubicBezTo>
                  <a:pt x="2299015" y="1829752"/>
                  <a:pt x="2299015" y="1863595"/>
                  <a:pt x="2299015" y="1897439"/>
                </a:cubicBezTo>
                <a:cubicBezTo>
                  <a:pt x="2299015" y="1910064"/>
                  <a:pt x="2309250" y="1920299"/>
                  <a:pt x="2321875" y="1920299"/>
                </a:cubicBezTo>
                <a:lnTo>
                  <a:pt x="2321874" y="1920298"/>
                </a:lnTo>
                <a:cubicBezTo>
                  <a:pt x="2334499" y="1920298"/>
                  <a:pt x="2344734" y="1910063"/>
                  <a:pt x="2344734" y="1897438"/>
                </a:cubicBezTo>
                <a:lnTo>
                  <a:pt x="2344734" y="1795908"/>
                </a:lnTo>
                <a:lnTo>
                  <a:pt x="2562540" y="1795909"/>
                </a:lnTo>
                <a:cubicBezTo>
                  <a:pt x="2562540" y="1829752"/>
                  <a:pt x="2562540" y="1863596"/>
                  <a:pt x="2562540" y="1897439"/>
                </a:cubicBezTo>
                <a:cubicBezTo>
                  <a:pt x="2562540" y="1910064"/>
                  <a:pt x="2572775" y="1920299"/>
                  <a:pt x="2585400" y="1920299"/>
                </a:cubicBezTo>
                <a:lnTo>
                  <a:pt x="2585399" y="1920298"/>
                </a:lnTo>
                <a:cubicBezTo>
                  <a:pt x="2598024" y="1920298"/>
                  <a:pt x="2608259" y="1910063"/>
                  <a:pt x="2608259" y="1897438"/>
                </a:cubicBezTo>
                <a:lnTo>
                  <a:pt x="2608259" y="1795909"/>
                </a:lnTo>
                <a:lnTo>
                  <a:pt x="2628211" y="1795909"/>
                </a:lnTo>
                <a:cubicBezTo>
                  <a:pt x="2655771" y="1795909"/>
                  <a:pt x="2678112" y="1773568"/>
                  <a:pt x="2678112" y="1746008"/>
                </a:cubicBezTo>
                <a:lnTo>
                  <a:pt x="2678113" y="1746008"/>
                </a:lnTo>
                <a:cubicBezTo>
                  <a:pt x="2678113" y="1718448"/>
                  <a:pt x="2655772" y="1696107"/>
                  <a:pt x="2628212" y="1696107"/>
                </a:cubicBezTo>
                <a:close/>
                <a:moveTo>
                  <a:pt x="3356494" y="1512501"/>
                </a:moveTo>
                <a:cubicBezTo>
                  <a:pt x="3322827" y="1512501"/>
                  <a:pt x="3295534" y="1539794"/>
                  <a:pt x="3295534" y="1573461"/>
                </a:cubicBezTo>
                <a:cubicBezTo>
                  <a:pt x="3295534" y="1607128"/>
                  <a:pt x="3322827" y="1634421"/>
                  <a:pt x="3356494" y="1634421"/>
                </a:cubicBezTo>
                <a:cubicBezTo>
                  <a:pt x="3390161" y="1634421"/>
                  <a:pt x="3417454" y="1607128"/>
                  <a:pt x="3417454" y="1573461"/>
                </a:cubicBezTo>
                <a:cubicBezTo>
                  <a:pt x="3417454" y="1539794"/>
                  <a:pt x="3390161" y="1512501"/>
                  <a:pt x="3356494" y="1512501"/>
                </a:cubicBezTo>
                <a:close/>
                <a:moveTo>
                  <a:pt x="2278433" y="1363375"/>
                </a:moveTo>
                <a:cubicBezTo>
                  <a:pt x="2250873" y="1363375"/>
                  <a:pt x="2228533" y="1385716"/>
                  <a:pt x="2228532" y="1413276"/>
                </a:cubicBezTo>
                <a:cubicBezTo>
                  <a:pt x="2228533" y="1440835"/>
                  <a:pt x="2250873" y="1463176"/>
                  <a:pt x="2278433" y="1463176"/>
                </a:cubicBezTo>
                <a:lnTo>
                  <a:pt x="2299015" y="1463176"/>
                </a:lnTo>
                <a:cubicBezTo>
                  <a:pt x="2299015" y="1499980"/>
                  <a:pt x="2299015" y="1536785"/>
                  <a:pt x="2299015" y="1573589"/>
                </a:cubicBezTo>
                <a:cubicBezTo>
                  <a:pt x="2299015" y="1586214"/>
                  <a:pt x="2309250" y="1596449"/>
                  <a:pt x="2321875" y="1596449"/>
                </a:cubicBezTo>
                <a:lnTo>
                  <a:pt x="2321874" y="1596448"/>
                </a:lnTo>
                <a:cubicBezTo>
                  <a:pt x="2334499" y="1596448"/>
                  <a:pt x="2344734" y="1586213"/>
                  <a:pt x="2344734" y="1573588"/>
                </a:cubicBezTo>
                <a:lnTo>
                  <a:pt x="2344734" y="1463176"/>
                </a:lnTo>
                <a:lnTo>
                  <a:pt x="2562540" y="1463177"/>
                </a:lnTo>
                <a:cubicBezTo>
                  <a:pt x="2562540" y="1499981"/>
                  <a:pt x="2562540" y="1536785"/>
                  <a:pt x="2562540" y="1573589"/>
                </a:cubicBezTo>
                <a:cubicBezTo>
                  <a:pt x="2562540" y="1586214"/>
                  <a:pt x="2572775" y="1596449"/>
                  <a:pt x="2585400" y="1596449"/>
                </a:cubicBezTo>
                <a:lnTo>
                  <a:pt x="2585399" y="1596448"/>
                </a:lnTo>
                <a:cubicBezTo>
                  <a:pt x="2598024" y="1596448"/>
                  <a:pt x="2608259" y="1586213"/>
                  <a:pt x="2608259" y="1573588"/>
                </a:cubicBezTo>
                <a:lnTo>
                  <a:pt x="2608259" y="1463177"/>
                </a:lnTo>
                <a:lnTo>
                  <a:pt x="2628211" y="1463177"/>
                </a:lnTo>
                <a:cubicBezTo>
                  <a:pt x="2655771" y="1463177"/>
                  <a:pt x="2678112" y="1440836"/>
                  <a:pt x="2678112" y="1413276"/>
                </a:cubicBezTo>
                <a:lnTo>
                  <a:pt x="2678113" y="1413276"/>
                </a:lnTo>
                <a:cubicBezTo>
                  <a:pt x="2678113" y="1385716"/>
                  <a:pt x="2655772" y="1363375"/>
                  <a:pt x="2628212" y="1363375"/>
                </a:cubicBezTo>
                <a:close/>
                <a:moveTo>
                  <a:pt x="3356494" y="1185950"/>
                </a:moveTo>
                <a:cubicBezTo>
                  <a:pt x="3322827" y="1185950"/>
                  <a:pt x="3295534" y="1213243"/>
                  <a:pt x="3295534" y="1246910"/>
                </a:cubicBezTo>
                <a:cubicBezTo>
                  <a:pt x="3295534" y="1280577"/>
                  <a:pt x="3322827" y="1307870"/>
                  <a:pt x="3356494" y="1307870"/>
                </a:cubicBezTo>
                <a:cubicBezTo>
                  <a:pt x="3390161" y="1307870"/>
                  <a:pt x="3417454" y="1280577"/>
                  <a:pt x="3417454" y="1246910"/>
                </a:cubicBezTo>
                <a:cubicBezTo>
                  <a:pt x="3417454" y="1213243"/>
                  <a:pt x="3390161" y="1185950"/>
                  <a:pt x="3356494" y="1185950"/>
                </a:cubicBezTo>
                <a:close/>
                <a:moveTo>
                  <a:pt x="2278433" y="1030643"/>
                </a:moveTo>
                <a:cubicBezTo>
                  <a:pt x="2250873" y="1030643"/>
                  <a:pt x="2228533" y="1052984"/>
                  <a:pt x="2228532" y="1080544"/>
                </a:cubicBezTo>
                <a:cubicBezTo>
                  <a:pt x="2228533" y="1108103"/>
                  <a:pt x="2250873" y="1130444"/>
                  <a:pt x="2278433" y="1130444"/>
                </a:cubicBezTo>
                <a:lnTo>
                  <a:pt x="2299015" y="1130444"/>
                </a:lnTo>
                <a:cubicBezTo>
                  <a:pt x="2299015" y="1167034"/>
                  <a:pt x="2299015" y="1203624"/>
                  <a:pt x="2299015" y="1240214"/>
                </a:cubicBezTo>
                <a:cubicBezTo>
                  <a:pt x="2299015" y="1252839"/>
                  <a:pt x="2309250" y="1263074"/>
                  <a:pt x="2321875" y="1263074"/>
                </a:cubicBezTo>
                <a:lnTo>
                  <a:pt x="2321874" y="1263073"/>
                </a:lnTo>
                <a:cubicBezTo>
                  <a:pt x="2334499" y="1263073"/>
                  <a:pt x="2344734" y="1252838"/>
                  <a:pt x="2344734" y="1240213"/>
                </a:cubicBezTo>
                <a:lnTo>
                  <a:pt x="2344734" y="1130444"/>
                </a:lnTo>
                <a:lnTo>
                  <a:pt x="2562540" y="1130445"/>
                </a:lnTo>
                <a:cubicBezTo>
                  <a:pt x="2562540" y="1167035"/>
                  <a:pt x="2562540" y="1203624"/>
                  <a:pt x="2562540" y="1240214"/>
                </a:cubicBezTo>
                <a:cubicBezTo>
                  <a:pt x="2562540" y="1252839"/>
                  <a:pt x="2572775" y="1263074"/>
                  <a:pt x="2585400" y="1263074"/>
                </a:cubicBezTo>
                <a:lnTo>
                  <a:pt x="2585399" y="1263073"/>
                </a:lnTo>
                <a:cubicBezTo>
                  <a:pt x="2598024" y="1263073"/>
                  <a:pt x="2608259" y="1252838"/>
                  <a:pt x="2608259" y="1240213"/>
                </a:cubicBezTo>
                <a:lnTo>
                  <a:pt x="2608259" y="1130445"/>
                </a:lnTo>
                <a:lnTo>
                  <a:pt x="2628211" y="1130445"/>
                </a:lnTo>
                <a:cubicBezTo>
                  <a:pt x="2655771" y="1130445"/>
                  <a:pt x="2678112" y="1108104"/>
                  <a:pt x="2678112" y="1080544"/>
                </a:cubicBezTo>
                <a:lnTo>
                  <a:pt x="2678113" y="1080544"/>
                </a:lnTo>
                <a:cubicBezTo>
                  <a:pt x="2678113" y="1052984"/>
                  <a:pt x="2655772" y="1030643"/>
                  <a:pt x="2628212" y="1030643"/>
                </a:cubicBezTo>
                <a:close/>
                <a:moveTo>
                  <a:pt x="3356494" y="859399"/>
                </a:moveTo>
                <a:cubicBezTo>
                  <a:pt x="3322827" y="859399"/>
                  <a:pt x="3295534" y="886692"/>
                  <a:pt x="3295534" y="920359"/>
                </a:cubicBezTo>
                <a:cubicBezTo>
                  <a:pt x="3295534" y="954026"/>
                  <a:pt x="3322827" y="981319"/>
                  <a:pt x="3356494" y="981319"/>
                </a:cubicBezTo>
                <a:cubicBezTo>
                  <a:pt x="3390161" y="981319"/>
                  <a:pt x="3417454" y="954026"/>
                  <a:pt x="3417454" y="920359"/>
                </a:cubicBezTo>
                <a:cubicBezTo>
                  <a:pt x="3417454" y="886692"/>
                  <a:pt x="3390161" y="859399"/>
                  <a:pt x="3356494" y="859399"/>
                </a:cubicBezTo>
                <a:close/>
                <a:moveTo>
                  <a:pt x="2278433" y="697911"/>
                </a:moveTo>
                <a:cubicBezTo>
                  <a:pt x="2250873" y="697911"/>
                  <a:pt x="2228533" y="720252"/>
                  <a:pt x="2228532" y="747812"/>
                </a:cubicBezTo>
                <a:cubicBezTo>
                  <a:pt x="2228533" y="775371"/>
                  <a:pt x="2250873" y="797712"/>
                  <a:pt x="2278433" y="797712"/>
                </a:cubicBezTo>
                <a:lnTo>
                  <a:pt x="2299015" y="797712"/>
                </a:lnTo>
                <a:cubicBezTo>
                  <a:pt x="2299015" y="826680"/>
                  <a:pt x="2299015" y="855647"/>
                  <a:pt x="2299015" y="884614"/>
                </a:cubicBezTo>
                <a:cubicBezTo>
                  <a:pt x="2299015" y="897239"/>
                  <a:pt x="2309250" y="907474"/>
                  <a:pt x="2321875" y="907474"/>
                </a:cubicBezTo>
                <a:lnTo>
                  <a:pt x="2321874" y="907473"/>
                </a:lnTo>
                <a:cubicBezTo>
                  <a:pt x="2334499" y="907473"/>
                  <a:pt x="2344734" y="897238"/>
                  <a:pt x="2344734" y="884613"/>
                </a:cubicBezTo>
                <a:lnTo>
                  <a:pt x="2344734" y="797712"/>
                </a:lnTo>
                <a:lnTo>
                  <a:pt x="2562540" y="797713"/>
                </a:lnTo>
                <a:cubicBezTo>
                  <a:pt x="2562540" y="826680"/>
                  <a:pt x="2562540" y="855647"/>
                  <a:pt x="2562540" y="884614"/>
                </a:cubicBezTo>
                <a:cubicBezTo>
                  <a:pt x="2562540" y="897239"/>
                  <a:pt x="2572775" y="907474"/>
                  <a:pt x="2585400" y="907474"/>
                </a:cubicBezTo>
                <a:lnTo>
                  <a:pt x="2585399" y="907473"/>
                </a:lnTo>
                <a:cubicBezTo>
                  <a:pt x="2598024" y="907473"/>
                  <a:pt x="2608259" y="897238"/>
                  <a:pt x="2608259" y="884613"/>
                </a:cubicBezTo>
                <a:lnTo>
                  <a:pt x="2608259" y="797713"/>
                </a:lnTo>
                <a:lnTo>
                  <a:pt x="2628211" y="797713"/>
                </a:lnTo>
                <a:cubicBezTo>
                  <a:pt x="2655771" y="797713"/>
                  <a:pt x="2678112" y="775372"/>
                  <a:pt x="2678112" y="747812"/>
                </a:cubicBezTo>
                <a:lnTo>
                  <a:pt x="2678113" y="747812"/>
                </a:lnTo>
                <a:cubicBezTo>
                  <a:pt x="2678113" y="720252"/>
                  <a:pt x="2655772" y="697911"/>
                  <a:pt x="2628212" y="697911"/>
                </a:cubicBezTo>
                <a:close/>
                <a:moveTo>
                  <a:pt x="729089" y="611830"/>
                </a:moveTo>
                <a:lnTo>
                  <a:pt x="1395273" y="611830"/>
                </a:lnTo>
                <a:lnTo>
                  <a:pt x="1395273" y="1881992"/>
                </a:lnTo>
                <a:lnTo>
                  <a:pt x="729089" y="1881992"/>
                </a:lnTo>
                <a:close/>
                <a:moveTo>
                  <a:pt x="3356494" y="532848"/>
                </a:moveTo>
                <a:cubicBezTo>
                  <a:pt x="3322827" y="532848"/>
                  <a:pt x="3295534" y="560141"/>
                  <a:pt x="3295534" y="593808"/>
                </a:cubicBezTo>
                <a:cubicBezTo>
                  <a:pt x="3295534" y="627475"/>
                  <a:pt x="3322827" y="654768"/>
                  <a:pt x="3356494" y="654768"/>
                </a:cubicBezTo>
                <a:cubicBezTo>
                  <a:pt x="3390161" y="654768"/>
                  <a:pt x="3417454" y="627475"/>
                  <a:pt x="3417454" y="593808"/>
                </a:cubicBezTo>
                <a:cubicBezTo>
                  <a:pt x="3417454" y="560141"/>
                  <a:pt x="3390161" y="532848"/>
                  <a:pt x="3356494" y="532848"/>
                </a:cubicBezTo>
                <a:close/>
                <a:moveTo>
                  <a:pt x="622932" y="474615"/>
                </a:moveTo>
                <a:lnTo>
                  <a:pt x="622932" y="629835"/>
                </a:lnTo>
                <a:lnTo>
                  <a:pt x="441095" y="629835"/>
                </a:lnTo>
                <a:cubicBezTo>
                  <a:pt x="433791" y="612515"/>
                  <a:pt x="416305" y="602309"/>
                  <a:pt x="396439" y="602309"/>
                </a:cubicBezTo>
                <a:cubicBezTo>
                  <a:pt x="365084" y="602309"/>
                  <a:pt x="339666" y="627730"/>
                  <a:pt x="339666" y="659089"/>
                </a:cubicBezTo>
                <a:cubicBezTo>
                  <a:pt x="339666" y="690445"/>
                  <a:pt x="365084" y="715862"/>
                  <a:pt x="396439" y="715862"/>
                </a:cubicBezTo>
                <a:cubicBezTo>
                  <a:pt x="416312" y="715862"/>
                  <a:pt x="433798" y="705660"/>
                  <a:pt x="441102" y="688340"/>
                </a:cubicBezTo>
                <a:lnTo>
                  <a:pt x="622932" y="688340"/>
                </a:lnTo>
                <a:lnTo>
                  <a:pt x="622932" y="826501"/>
                </a:lnTo>
                <a:lnTo>
                  <a:pt x="441095" y="826501"/>
                </a:lnTo>
                <a:cubicBezTo>
                  <a:pt x="433791" y="809181"/>
                  <a:pt x="416305" y="798975"/>
                  <a:pt x="396439" y="798975"/>
                </a:cubicBezTo>
                <a:cubicBezTo>
                  <a:pt x="365084" y="798975"/>
                  <a:pt x="339666" y="824393"/>
                  <a:pt x="339666" y="855748"/>
                </a:cubicBezTo>
                <a:cubicBezTo>
                  <a:pt x="339666" y="887107"/>
                  <a:pt x="365084" y="912528"/>
                  <a:pt x="396439" y="912528"/>
                </a:cubicBezTo>
                <a:cubicBezTo>
                  <a:pt x="416312" y="912528"/>
                  <a:pt x="433798" y="902319"/>
                  <a:pt x="441102" y="884996"/>
                </a:cubicBezTo>
                <a:lnTo>
                  <a:pt x="622932" y="884996"/>
                </a:lnTo>
                <a:lnTo>
                  <a:pt x="622932" y="1023163"/>
                </a:lnTo>
                <a:lnTo>
                  <a:pt x="441095" y="1023163"/>
                </a:lnTo>
                <a:cubicBezTo>
                  <a:pt x="433791" y="1005843"/>
                  <a:pt x="416305" y="995641"/>
                  <a:pt x="396439" y="995641"/>
                </a:cubicBezTo>
                <a:cubicBezTo>
                  <a:pt x="365084" y="995641"/>
                  <a:pt x="339666" y="1021058"/>
                  <a:pt x="339666" y="1052414"/>
                </a:cubicBezTo>
                <a:cubicBezTo>
                  <a:pt x="339666" y="1083767"/>
                  <a:pt x="365084" y="1109191"/>
                  <a:pt x="396439" y="1109191"/>
                </a:cubicBezTo>
                <a:cubicBezTo>
                  <a:pt x="416312" y="1109191"/>
                  <a:pt x="433798" y="1098982"/>
                  <a:pt x="441102" y="1081662"/>
                </a:cubicBezTo>
                <a:lnTo>
                  <a:pt x="622932" y="1081662"/>
                </a:lnTo>
                <a:lnTo>
                  <a:pt x="622932" y="1219822"/>
                </a:lnTo>
                <a:lnTo>
                  <a:pt x="441095" y="1219822"/>
                </a:lnTo>
                <a:cubicBezTo>
                  <a:pt x="433791" y="1202509"/>
                  <a:pt x="416305" y="1192303"/>
                  <a:pt x="396439" y="1192303"/>
                </a:cubicBezTo>
                <a:cubicBezTo>
                  <a:pt x="365084" y="1192303"/>
                  <a:pt x="339666" y="1217724"/>
                  <a:pt x="339666" y="1249077"/>
                </a:cubicBezTo>
                <a:cubicBezTo>
                  <a:pt x="339666" y="1280433"/>
                  <a:pt x="365084" y="1305850"/>
                  <a:pt x="396439" y="1305850"/>
                </a:cubicBezTo>
                <a:cubicBezTo>
                  <a:pt x="416312" y="1305850"/>
                  <a:pt x="433798" y="1295648"/>
                  <a:pt x="441102" y="1278328"/>
                </a:cubicBezTo>
                <a:lnTo>
                  <a:pt x="622932" y="1278328"/>
                </a:lnTo>
                <a:lnTo>
                  <a:pt x="622932" y="1416488"/>
                </a:lnTo>
                <a:lnTo>
                  <a:pt x="441095" y="1416488"/>
                </a:lnTo>
                <a:cubicBezTo>
                  <a:pt x="433791" y="1399172"/>
                  <a:pt x="416305" y="1388963"/>
                  <a:pt x="396439" y="1388963"/>
                </a:cubicBezTo>
                <a:cubicBezTo>
                  <a:pt x="365084" y="1388963"/>
                  <a:pt x="339666" y="1414387"/>
                  <a:pt x="339666" y="1445743"/>
                </a:cubicBezTo>
                <a:cubicBezTo>
                  <a:pt x="339666" y="1477095"/>
                  <a:pt x="365084" y="1502516"/>
                  <a:pt x="396439" y="1502516"/>
                </a:cubicBezTo>
                <a:cubicBezTo>
                  <a:pt x="416312" y="1502516"/>
                  <a:pt x="433798" y="1492310"/>
                  <a:pt x="441102" y="1474990"/>
                </a:cubicBezTo>
                <a:lnTo>
                  <a:pt x="622932" y="1474990"/>
                </a:lnTo>
                <a:lnTo>
                  <a:pt x="622932" y="1613151"/>
                </a:lnTo>
                <a:lnTo>
                  <a:pt x="441095" y="1613151"/>
                </a:lnTo>
                <a:cubicBezTo>
                  <a:pt x="433791" y="1595831"/>
                  <a:pt x="416305" y="1585629"/>
                  <a:pt x="396439" y="1585629"/>
                </a:cubicBezTo>
                <a:cubicBezTo>
                  <a:pt x="365084" y="1585629"/>
                  <a:pt x="339666" y="1611053"/>
                  <a:pt x="339666" y="1642405"/>
                </a:cubicBezTo>
                <a:cubicBezTo>
                  <a:pt x="339666" y="1673761"/>
                  <a:pt x="365084" y="1699178"/>
                  <a:pt x="396439" y="1699178"/>
                </a:cubicBezTo>
                <a:cubicBezTo>
                  <a:pt x="416312" y="1699178"/>
                  <a:pt x="433798" y="1688976"/>
                  <a:pt x="441102" y="1671656"/>
                </a:cubicBezTo>
                <a:lnTo>
                  <a:pt x="622932" y="1671656"/>
                </a:lnTo>
                <a:lnTo>
                  <a:pt x="622932" y="1809817"/>
                </a:lnTo>
                <a:lnTo>
                  <a:pt x="441095" y="1809817"/>
                </a:lnTo>
                <a:cubicBezTo>
                  <a:pt x="433791" y="1792497"/>
                  <a:pt x="416305" y="1782291"/>
                  <a:pt x="396439" y="1782291"/>
                </a:cubicBezTo>
                <a:cubicBezTo>
                  <a:pt x="365084" y="1782291"/>
                  <a:pt x="339666" y="1807712"/>
                  <a:pt x="339666" y="1839071"/>
                </a:cubicBezTo>
                <a:cubicBezTo>
                  <a:pt x="339666" y="1870423"/>
                  <a:pt x="365084" y="1895844"/>
                  <a:pt x="396439" y="1895844"/>
                </a:cubicBezTo>
                <a:cubicBezTo>
                  <a:pt x="416312" y="1895844"/>
                  <a:pt x="433798" y="1885639"/>
                  <a:pt x="441102" y="1868319"/>
                </a:cubicBezTo>
                <a:lnTo>
                  <a:pt x="622932" y="1868319"/>
                </a:lnTo>
                <a:lnTo>
                  <a:pt x="622932" y="2019203"/>
                </a:lnTo>
                <a:lnTo>
                  <a:pt x="1501420" y="2019203"/>
                </a:lnTo>
                <a:lnTo>
                  <a:pt x="1501420" y="1868319"/>
                </a:lnTo>
                <a:lnTo>
                  <a:pt x="1658463" y="1868319"/>
                </a:lnTo>
                <a:cubicBezTo>
                  <a:pt x="1665774" y="1885639"/>
                  <a:pt x="1683257" y="1895844"/>
                  <a:pt x="1703129" y="1895844"/>
                </a:cubicBezTo>
                <a:cubicBezTo>
                  <a:pt x="1734481" y="1895844"/>
                  <a:pt x="1759902" y="1870423"/>
                  <a:pt x="1759902" y="1839071"/>
                </a:cubicBezTo>
                <a:cubicBezTo>
                  <a:pt x="1759902" y="1807712"/>
                  <a:pt x="1734481" y="1782291"/>
                  <a:pt x="1703129" y="1782291"/>
                </a:cubicBezTo>
                <a:cubicBezTo>
                  <a:pt x="1683260" y="1782291"/>
                  <a:pt x="1665774" y="1792497"/>
                  <a:pt x="1658470" y="1809817"/>
                </a:cubicBezTo>
                <a:lnTo>
                  <a:pt x="1501420" y="1809817"/>
                </a:lnTo>
                <a:lnTo>
                  <a:pt x="1501420" y="1671656"/>
                </a:lnTo>
                <a:lnTo>
                  <a:pt x="1658463" y="1671656"/>
                </a:lnTo>
                <a:cubicBezTo>
                  <a:pt x="1665774" y="1688976"/>
                  <a:pt x="1683257" y="1699178"/>
                  <a:pt x="1703129" y="1699178"/>
                </a:cubicBezTo>
                <a:cubicBezTo>
                  <a:pt x="1734481" y="1699178"/>
                  <a:pt x="1759902" y="1673761"/>
                  <a:pt x="1759902" y="1642405"/>
                </a:cubicBezTo>
                <a:cubicBezTo>
                  <a:pt x="1759902" y="1611053"/>
                  <a:pt x="1734481" y="1585629"/>
                  <a:pt x="1703129" y="1585629"/>
                </a:cubicBezTo>
                <a:cubicBezTo>
                  <a:pt x="1683260" y="1585629"/>
                  <a:pt x="1665774" y="1595831"/>
                  <a:pt x="1658470" y="1613151"/>
                </a:cubicBezTo>
                <a:lnTo>
                  <a:pt x="1501420" y="1613151"/>
                </a:lnTo>
                <a:lnTo>
                  <a:pt x="1501420" y="1474990"/>
                </a:lnTo>
                <a:lnTo>
                  <a:pt x="1658463" y="1474990"/>
                </a:lnTo>
                <a:cubicBezTo>
                  <a:pt x="1665774" y="1492310"/>
                  <a:pt x="1683257" y="1502516"/>
                  <a:pt x="1703129" y="1502516"/>
                </a:cubicBezTo>
                <a:cubicBezTo>
                  <a:pt x="1734481" y="1502516"/>
                  <a:pt x="1759902" y="1477095"/>
                  <a:pt x="1759902" y="1445743"/>
                </a:cubicBezTo>
                <a:cubicBezTo>
                  <a:pt x="1759902" y="1414387"/>
                  <a:pt x="1734481" y="1388963"/>
                  <a:pt x="1703129" y="1388963"/>
                </a:cubicBezTo>
                <a:cubicBezTo>
                  <a:pt x="1683260" y="1388963"/>
                  <a:pt x="1665774" y="1399172"/>
                  <a:pt x="1658470" y="1416488"/>
                </a:cubicBezTo>
                <a:lnTo>
                  <a:pt x="1501420" y="1416488"/>
                </a:lnTo>
                <a:lnTo>
                  <a:pt x="1501420" y="1278328"/>
                </a:lnTo>
                <a:lnTo>
                  <a:pt x="1658463" y="1278328"/>
                </a:lnTo>
                <a:cubicBezTo>
                  <a:pt x="1665774" y="1295648"/>
                  <a:pt x="1683257" y="1305850"/>
                  <a:pt x="1703129" y="1305850"/>
                </a:cubicBezTo>
                <a:cubicBezTo>
                  <a:pt x="1734481" y="1305850"/>
                  <a:pt x="1759902" y="1280433"/>
                  <a:pt x="1759902" y="1249077"/>
                </a:cubicBezTo>
                <a:cubicBezTo>
                  <a:pt x="1759902" y="1217724"/>
                  <a:pt x="1734481" y="1192303"/>
                  <a:pt x="1703129" y="1192303"/>
                </a:cubicBezTo>
                <a:cubicBezTo>
                  <a:pt x="1683260" y="1192303"/>
                  <a:pt x="1665774" y="1202509"/>
                  <a:pt x="1658470" y="1219822"/>
                </a:cubicBezTo>
                <a:lnTo>
                  <a:pt x="1501420" y="1219822"/>
                </a:lnTo>
                <a:lnTo>
                  <a:pt x="1501420" y="1081662"/>
                </a:lnTo>
                <a:lnTo>
                  <a:pt x="1658463" y="1081662"/>
                </a:lnTo>
                <a:cubicBezTo>
                  <a:pt x="1665774" y="1098982"/>
                  <a:pt x="1683257" y="1109191"/>
                  <a:pt x="1703129" y="1109191"/>
                </a:cubicBezTo>
                <a:cubicBezTo>
                  <a:pt x="1734481" y="1109191"/>
                  <a:pt x="1759902" y="1083767"/>
                  <a:pt x="1759902" y="1052414"/>
                </a:cubicBezTo>
                <a:cubicBezTo>
                  <a:pt x="1759902" y="1021058"/>
                  <a:pt x="1734481" y="995641"/>
                  <a:pt x="1703129" y="995641"/>
                </a:cubicBezTo>
                <a:cubicBezTo>
                  <a:pt x="1683260" y="995641"/>
                  <a:pt x="1665774" y="1005843"/>
                  <a:pt x="1658470" y="1023163"/>
                </a:cubicBezTo>
                <a:lnTo>
                  <a:pt x="1501420" y="1023163"/>
                </a:lnTo>
                <a:lnTo>
                  <a:pt x="1501420" y="884996"/>
                </a:lnTo>
                <a:lnTo>
                  <a:pt x="1658463" y="884996"/>
                </a:lnTo>
                <a:cubicBezTo>
                  <a:pt x="1665774" y="902319"/>
                  <a:pt x="1683257" y="912528"/>
                  <a:pt x="1703129" y="912528"/>
                </a:cubicBezTo>
                <a:cubicBezTo>
                  <a:pt x="1734481" y="912528"/>
                  <a:pt x="1759902" y="887107"/>
                  <a:pt x="1759902" y="855748"/>
                </a:cubicBezTo>
                <a:cubicBezTo>
                  <a:pt x="1759902" y="824393"/>
                  <a:pt x="1734481" y="798975"/>
                  <a:pt x="1703129" y="798975"/>
                </a:cubicBezTo>
                <a:cubicBezTo>
                  <a:pt x="1683260" y="798975"/>
                  <a:pt x="1665774" y="809181"/>
                  <a:pt x="1658470" y="826501"/>
                </a:cubicBezTo>
                <a:lnTo>
                  <a:pt x="1501420" y="826501"/>
                </a:lnTo>
                <a:lnTo>
                  <a:pt x="1501420" y="688340"/>
                </a:lnTo>
                <a:lnTo>
                  <a:pt x="1658463" y="688340"/>
                </a:lnTo>
                <a:cubicBezTo>
                  <a:pt x="1665774" y="705660"/>
                  <a:pt x="1683257" y="715862"/>
                  <a:pt x="1703129" y="715862"/>
                </a:cubicBezTo>
                <a:cubicBezTo>
                  <a:pt x="1733220" y="715862"/>
                  <a:pt x="1757845" y="692448"/>
                  <a:pt x="1758384" y="662753"/>
                </a:cubicBezTo>
                <a:lnTo>
                  <a:pt x="1755496" y="648456"/>
                </a:lnTo>
                <a:cubicBezTo>
                  <a:pt x="1753540" y="621846"/>
                  <a:pt x="1730614" y="602309"/>
                  <a:pt x="1703129" y="602309"/>
                </a:cubicBezTo>
                <a:cubicBezTo>
                  <a:pt x="1683260" y="602309"/>
                  <a:pt x="1665774" y="612515"/>
                  <a:pt x="1658470" y="629835"/>
                </a:cubicBezTo>
                <a:lnTo>
                  <a:pt x="1501420" y="629835"/>
                </a:lnTo>
                <a:lnTo>
                  <a:pt x="1501420" y="474615"/>
                </a:lnTo>
                <a:close/>
                <a:moveTo>
                  <a:pt x="3356494" y="206297"/>
                </a:moveTo>
                <a:cubicBezTo>
                  <a:pt x="3322827" y="206297"/>
                  <a:pt x="3295534" y="233590"/>
                  <a:pt x="3295534" y="267257"/>
                </a:cubicBezTo>
                <a:cubicBezTo>
                  <a:pt x="3295534" y="300924"/>
                  <a:pt x="3322827" y="328217"/>
                  <a:pt x="3356494" y="328217"/>
                </a:cubicBezTo>
                <a:cubicBezTo>
                  <a:pt x="3390161" y="328217"/>
                  <a:pt x="3417454" y="300924"/>
                  <a:pt x="3417454" y="267257"/>
                </a:cubicBezTo>
                <a:cubicBezTo>
                  <a:pt x="3417454" y="233590"/>
                  <a:pt x="3390161" y="206297"/>
                  <a:pt x="3356494" y="206297"/>
                </a:cubicBezTo>
                <a:close/>
                <a:moveTo>
                  <a:pt x="155892" y="80567"/>
                </a:moveTo>
                <a:cubicBezTo>
                  <a:pt x="115912" y="80567"/>
                  <a:pt x="83502" y="112977"/>
                  <a:pt x="83502" y="152957"/>
                </a:cubicBezTo>
                <a:cubicBezTo>
                  <a:pt x="83502" y="192937"/>
                  <a:pt x="115912" y="225347"/>
                  <a:pt x="155892" y="225347"/>
                </a:cubicBezTo>
                <a:cubicBezTo>
                  <a:pt x="195872" y="225347"/>
                  <a:pt x="228282" y="192937"/>
                  <a:pt x="228282" y="152957"/>
                </a:cubicBezTo>
                <a:cubicBezTo>
                  <a:pt x="228282" y="112977"/>
                  <a:pt x="195872" y="80567"/>
                  <a:pt x="155892" y="80567"/>
                </a:cubicBezTo>
                <a:close/>
                <a:moveTo>
                  <a:pt x="0" y="0"/>
                </a:moveTo>
                <a:lnTo>
                  <a:pt x="3706697" y="0"/>
                </a:lnTo>
                <a:lnTo>
                  <a:pt x="3706697" y="2493818"/>
                </a:lnTo>
                <a:lnTo>
                  <a:pt x="0" y="2493818"/>
                </a:ln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noAutofit/>
          </a:bodyPr>
          <a:lstStyle/>
          <a:p>
            <a:pPr marL="0" marR="0" lvl="0" indent="0" algn="ctr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grpSp>
        <p:nvGrpSpPr>
          <p:cNvPr id="146" name="Group 42"/>
          <p:cNvGrpSpPr/>
          <p:nvPr/>
        </p:nvGrpSpPr>
        <p:grpSpPr>
          <a:xfrm>
            <a:off x="8062049" y="517273"/>
            <a:ext cx="724879" cy="724698"/>
            <a:chOff x="1589251" y="3965601"/>
            <a:chExt cx="1397902" cy="1438462"/>
          </a:xfrm>
          <a:solidFill>
            <a:srgbClr val="FFFFFF"/>
          </a:solidFill>
        </p:grpSpPr>
        <p:sp>
          <p:nvSpPr>
            <p:cNvPr id="147" name="Freeform 43"/>
            <p:cNvSpPr/>
            <p:nvPr/>
          </p:nvSpPr>
          <p:spPr bwMode="auto">
            <a:xfrm>
              <a:off x="1589251" y="4048125"/>
              <a:ext cx="582451" cy="1355938"/>
            </a:xfrm>
            <a:custGeom>
              <a:avLst/>
              <a:gdLst/>
              <a:ahLst/>
              <a:cxnLst/>
              <a:rect l="l" t="t" r="r" b="b"/>
              <a:pathLst>
                <a:path w="582451" h="1355938">
                  <a:moveTo>
                    <a:pt x="576679" y="683979"/>
                  </a:moveTo>
                  <a:lnTo>
                    <a:pt x="582451" y="684242"/>
                  </a:lnTo>
                  <a:lnTo>
                    <a:pt x="582451" y="697706"/>
                  </a:lnTo>
                  <a:cubicBezTo>
                    <a:pt x="580793" y="693546"/>
                    <a:pt x="578854" y="689055"/>
                    <a:pt x="576679" y="683979"/>
                  </a:cubicBezTo>
                  <a:close/>
                  <a:moveTo>
                    <a:pt x="303960" y="305613"/>
                  </a:moveTo>
                  <a:lnTo>
                    <a:pt x="38552" y="323712"/>
                  </a:lnTo>
                  <a:lnTo>
                    <a:pt x="39872" y="343064"/>
                  </a:lnTo>
                  <a:lnTo>
                    <a:pt x="305280" y="324965"/>
                  </a:lnTo>
                  <a:close/>
                  <a:moveTo>
                    <a:pt x="582451" y="260496"/>
                  </a:moveTo>
                  <a:lnTo>
                    <a:pt x="582451" y="281121"/>
                  </a:lnTo>
                  <a:lnTo>
                    <a:pt x="578079" y="281419"/>
                  </a:lnTo>
                  <a:lnTo>
                    <a:pt x="576680" y="260889"/>
                  </a:lnTo>
                  <a:close/>
                  <a:moveTo>
                    <a:pt x="300592" y="254674"/>
                  </a:moveTo>
                  <a:lnTo>
                    <a:pt x="35184" y="272773"/>
                  </a:lnTo>
                  <a:lnTo>
                    <a:pt x="36504" y="292124"/>
                  </a:lnTo>
                  <a:lnTo>
                    <a:pt x="301913" y="274026"/>
                  </a:lnTo>
                  <a:close/>
                  <a:moveTo>
                    <a:pt x="582451" y="206213"/>
                  </a:moveTo>
                  <a:lnTo>
                    <a:pt x="582451" y="226838"/>
                  </a:lnTo>
                  <a:lnTo>
                    <a:pt x="574506" y="227380"/>
                  </a:lnTo>
                  <a:lnTo>
                    <a:pt x="573107" y="206850"/>
                  </a:lnTo>
                  <a:close/>
                  <a:moveTo>
                    <a:pt x="300592" y="203753"/>
                  </a:moveTo>
                  <a:lnTo>
                    <a:pt x="35184" y="221851"/>
                  </a:lnTo>
                  <a:lnTo>
                    <a:pt x="36504" y="241203"/>
                  </a:lnTo>
                  <a:lnTo>
                    <a:pt x="301913" y="223104"/>
                  </a:lnTo>
                  <a:close/>
                  <a:moveTo>
                    <a:pt x="582451" y="152192"/>
                  </a:moveTo>
                  <a:lnTo>
                    <a:pt x="582451" y="172817"/>
                  </a:lnTo>
                  <a:lnTo>
                    <a:pt x="574506" y="173359"/>
                  </a:lnTo>
                  <a:lnTo>
                    <a:pt x="573107" y="152829"/>
                  </a:lnTo>
                  <a:close/>
                  <a:moveTo>
                    <a:pt x="360390" y="12"/>
                  </a:moveTo>
                  <a:cubicBezTo>
                    <a:pt x="368078" y="-21"/>
                    <a:pt x="375636" y="0"/>
                    <a:pt x="383030" y="279"/>
                  </a:cubicBezTo>
                  <a:lnTo>
                    <a:pt x="381491" y="877"/>
                  </a:lnTo>
                  <a:cubicBezTo>
                    <a:pt x="372606" y="16914"/>
                    <a:pt x="357660" y="11935"/>
                    <a:pt x="354837" y="60599"/>
                  </a:cubicBezTo>
                  <a:cubicBezTo>
                    <a:pt x="356022" y="172303"/>
                    <a:pt x="351876" y="288984"/>
                    <a:pt x="353061" y="400688"/>
                  </a:cubicBezTo>
                  <a:cubicBezTo>
                    <a:pt x="354245" y="488061"/>
                    <a:pt x="355430" y="575433"/>
                    <a:pt x="356615" y="662806"/>
                  </a:cubicBezTo>
                  <a:lnTo>
                    <a:pt x="328186" y="719211"/>
                  </a:lnTo>
                  <a:lnTo>
                    <a:pt x="111405" y="725846"/>
                  </a:lnTo>
                  <a:lnTo>
                    <a:pt x="38551" y="722529"/>
                  </a:lnTo>
                  <a:cubicBezTo>
                    <a:pt x="52766" y="755708"/>
                    <a:pt x="56320" y="762344"/>
                    <a:pt x="59874" y="812113"/>
                  </a:cubicBezTo>
                  <a:cubicBezTo>
                    <a:pt x="82381" y="796076"/>
                    <a:pt x="120414" y="766843"/>
                    <a:pt x="142920" y="762418"/>
                  </a:cubicBezTo>
                  <a:cubicBezTo>
                    <a:pt x="190178" y="744169"/>
                    <a:pt x="254741" y="750732"/>
                    <a:pt x="317523" y="759026"/>
                  </a:cubicBezTo>
                  <a:cubicBezTo>
                    <a:pt x="313378" y="771746"/>
                    <a:pt x="304057" y="779487"/>
                    <a:pt x="305085" y="797183"/>
                  </a:cubicBezTo>
                  <a:cubicBezTo>
                    <a:pt x="303308" y="953126"/>
                    <a:pt x="303308" y="1110728"/>
                    <a:pt x="305085" y="1268331"/>
                  </a:cubicBezTo>
                  <a:cubicBezTo>
                    <a:pt x="306270" y="1282708"/>
                    <a:pt x="302123" y="1300404"/>
                    <a:pt x="310416" y="1316440"/>
                  </a:cubicBezTo>
                  <a:cubicBezTo>
                    <a:pt x="315747" y="1328606"/>
                    <a:pt x="326407" y="1337454"/>
                    <a:pt x="342401" y="1342984"/>
                  </a:cubicBezTo>
                  <a:lnTo>
                    <a:pt x="456120" y="1341325"/>
                  </a:lnTo>
                  <a:cubicBezTo>
                    <a:pt x="454935" y="1156626"/>
                    <a:pt x="453752" y="970268"/>
                    <a:pt x="449013" y="785569"/>
                  </a:cubicBezTo>
                  <a:cubicBezTo>
                    <a:pt x="437604" y="750731"/>
                    <a:pt x="415844" y="719211"/>
                    <a:pt x="399260" y="686032"/>
                  </a:cubicBezTo>
                  <a:lnTo>
                    <a:pt x="385045" y="649534"/>
                  </a:lnTo>
                  <a:cubicBezTo>
                    <a:pt x="382676" y="546679"/>
                    <a:pt x="376752" y="174515"/>
                    <a:pt x="385045" y="68894"/>
                  </a:cubicBezTo>
                  <a:cubicBezTo>
                    <a:pt x="388991" y="34171"/>
                    <a:pt x="402359" y="16944"/>
                    <a:pt x="419442" y="9972"/>
                  </a:cubicBezTo>
                  <a:cubicBezTo>
                    <a:pt x="448526" y="31714"/>
                    <a:pt x="493907" y="66904"/>
                    <a:pt x="542062" y="104765"/>
                  </a:cubicBezTo>
                  <a:cubicBezTo>
                    <a:pt x="540817" y="287537"/>
                    <a:pt x="535943" y="468094"/>
                    <a:pt x="535781" y="652186"/>
                  </a:cubicBezTo>
                  <a:cubicBezTo>
                    <a:pt x="535780" y="674414"/>
                    <a:pt x="553047" y="700215"/>
                    <a:pt x="561978" y="720656"/>
                  </a:cubicBezTo>
                  <a:cubicBezTo>
                    <a:pt x="561382" y="920708"/>
                    <a:pt x="556024" y="1113614"/>
                    <a:pt x="555428" y="1313666"/>
                  </a:cubicBezTo>
                  <a:cubicBezTo>
                    <a:pt x="563367" y="1332916"/>
                    <a:pt x="569520" y="1339665"/>
                    <a:pt x="579244" y="1344626"/>
                  </a:cubicBezTo>
                  <a:lnTo>
                    <a:pt x="582451" y="1344714"/>
                  </a:lnTo>
                  <a:lnTo>
                    <a:pt x="582451" y="1347148"/>
                  </a:lnTo>
                  <a:lnTo>
                    <a:pt x="431589" y="1355938"/>
                  </a:lnTo>
                  <a:lnTo>
                    <a:pt x="40970" y="1345275"/>
                  </a:lnTo>
                  <a:cubicBezTo>
                    <a:pt x="31803" y="1340598"/>
                    <a:pt x="26003" y="1334237"/>
                    <a:pt x="18520" y="1316091"/>
                  </a:cubicBezTo>
                  <a:cubicBezTo>
                    <a:pt x="19082" y="1127516"/>
                    <a:pt x="24132" y="945677"/>
                    <a:pt x="24694" y="757102"/>
                  </a:cubicBezTo>
                  <a:cubicBezTo>
                    <a:pt x="16275" y="737833"/>
                    <a:pt x="-1" y="713513"/>
                    <a:pt x="0" y="692560"/>
                  </a:cubicBezTo>
                  <a:cubicBezTo>
                    <a:pt x="187" y="478917"/>
                    <a:pt x="7108" y="270326"/>
                    <a:pt x="7296" y="56683"/>
                  </a:cubicBezTo>
                  <a:cubicBezTo>
                    <a:pt x="19082" y="32925"/>
                    <a:pt x="27500" y="27685"/>
                    <a:pt x="47704" y="20764"/>
                  </a:cubicBezTo>
                  <a:cubicBezTo>
                    <a:pt x="105979" y="12580"/>
                    <a:pt x="247140" y="498"/>
                    <a:pt x="360390" y="12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45713" bIns="91427" numCol="1" spcCol="0" rtlCol="0" fromWordArt="0" anchor="b" anchorCtr="0" forceAA="0" compatLnSpc="1">
              <a:noAutofit/>
            </a:bodyPr>
            <a:lstStyle/>
            <a:p>
              <a:pPr algn="ctr" defTabSz="913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Freeform 44"/>
            <p:cNvSpPr/>
            <p:nvPr/>
          </p:nvSpPr>
          <p:spPr bwMode="auto">
            <a:xfrm>
              <a:off x="2151225" y="3965601"/>
              <a:ext cx="835928" cy="1438462"/>
            </a:xfrm>
            <a:custGeom>
              <a:avLst/>
              <a:gdLst/>
              <a:ahLst/>
              <a:cxnLst/>
              <a:rect l="l" t="t" r="r" b="b"/>
              <a:pathLst>
                <a:path w="1114424" h="1917697">
                  <a:moveTo>
                    <a:pt x="429889" y="432227"/>
                  </a:moveTo>
                  <a:lnTo>
                    <a:pt x="54524" y="457824"/>
                  </a:lnTo>
                  <a:lnTo>
                    <a:pt x="56390" y="485193"/>
                  </a:lnTo>
                  <a:lnTo>
                    <a:pt x="431756" y="459596"/>
                  </a:lnTo>
                  <a:close/>
                  <a:moveTo>
                    <a:pt x="425126" y="360184"/>
                  </a:moveTo>
                  <a:lnTo>
                    <a:pt x="49761" y="385781"/>
                  </a:lnTo>
                  <a:lnTo>
                    <a:pt x="51627" y="413150"/>
                  </a:lnTo>
                  <a:lnTo>
                    <a:pt x="426993" y="387553"/>
                  </a:lnTo>
                  <a:close/>
                  <a:moveTo>
                    <a:pt x="425126" y="288166"/>
                  </a:moveTo>
                  <a:lnTo>
                    <a:pt x="49761" y="313763"/>
                  </a:lnTo>
                  <a:lnTo>
                    <a:pt x="51627" y="341132"/>
                  </a:lnTo>
                  <a:lnTo>
                    <a:pt x="426993" y="315535"/>
                  </a:lnTo>
                  <a:close/>
                  <a:moveTo>
                    <a:pt x="509697" y="17"/>
                  </a:moveTo>
                  <a:cubicBezTo>
                    <a:pt x="520570" y="-30"/>
                    <a:pt x="531260" y="0"/>
                    <a:pt x="541717" y="394"/>
                  </a:cubicBezTo>
                  <a:lnTo>
                    <a:pt x="539541" y="1240"/>
                  </a:lnTo>
                  <a:cubicBezTo>
                    <a:pt x="526975" y="23921"/>
                    <a:pt x="505836" y="16879"/>
                    <a:pt x="501844" y="85705"/>
                  </a:cubicBezTo>
                  <a:cubicBezTo>
                    <a:pt x="503520" y="243687"/>
                    <a:pt x="497656" y="408709"/>
                    <a:pt x="499332" y="566691"/>
                  </a:cubicBezTo>
                  <a:cubicBezTo>
                    <a:pt x="501007" y="690262"/>
                    <a:pt x="502683" y="813832"/>
                    <a:pt x="504358" y="937403"/>
                  </a:cubicBezTo>
                  <a:lnTo>
                    <a:pt x="464151" y="1017177"/>
                  </a:lnTo>
                  <a:lnTo>
                    <a:pt x="157559" y="1026561"/>
                  </a:lnTo>
                  <a:lnTo>
                    <a:pt x="54523" y="1021869"/>
                  </a:lnTo>
                  <a:cubicBezTo>
                    <a:pt x="74627" y="1068794"/>
                    <a:pt x="79653" y="1078180"/>
                    <a:pt x="84680" y="1148567"/>
                  </a:cubicBezTo>
                  <a:cubicBezTo>
                    <a:pt x="116511" y="1125887"/>
                    <a:pt x="170300" y="1084542"/>
                    <a:pt x="202131" y="1078284"/>
                  </a:cubicBezTo>
                  <a:cubicBezTo>
                    <a:pt x="268967" y="1052474"/>
                    <a:pt x="360278" y="1061756"/>
                    <a:pt x="449071" y="1073487"/>
                  </a:cubicBezTo>
                  <a:cubicBezTo>
                    <a:pt x="443208" y="1091476"/>
                    <a:pt x="430026" y="1102424"/>
                    <a:pt x="431480" y="1127452"/>
                  </a:cubicBezTo>
                  <a:cubicBezTo>
                    <a:pt x="428966" y="1348002"/>
                    <a:pt x="428967" y="1570898"/>
                    <a:pt x="431480" y="1793794"/>
                  </a:cubicBezTo>
                  <a:cubicBezTo>
                    <a:pt x="433156" y="1814128"/>
                    <a:pt x="427291" y="1839155"/>
                    <a:pt x="439019" y="1861835"/>
                  </a:cubicBezTo>
                  <a:cubicBezTo>
                    <a:pt x="446559" y="1879041"/>
                    <a:pt x="461636" y="1891555"/>
                    <a:pt x="484255" y="1899376"/>
                  </a:cubicBezTo>
                  <a:lnTo>
                    <a:pt x="645088" y="1897029"/>
                  </a:lnTo>
                  <a:cubicBezTo>
                    <a:pt x="643412" y="1635810"/>
                    <a:pt x="641739" y="1372246"/>
                    <a:pt x="635036" y="1111027"/>
                  </a:cubicBezTo>
                  <a:cubicBezTo>
                    <a:pt x="618900" y="1061755"/>
                    <a:pt x="588126" y="1017176"/>
                    <a:pt x="564671" y="970251"/>
                  </a:cubicBezTo>
                  <a:lnTo>
                    <a:pt x="544567" y="918633"/>
                  </a:lnTo>
                  <a:cubicBezTo>
                    <a:pt x="541216" y="773165"/>
                    <a:pt x="532838" y="246816"/>
                    <a:pt x="544567" y="97436"/>
                  </a:cubicBezTo>
                  <a:cubicBezTo>
                    <a:pt x="550148" y="48328"/>
                    <a:pt x="569054" y="23963"/>
                    <a:pt x="593214" y="14103"/>
                  </a:cubicBezTo>
                  <a:cubicBezTo>
                    <a:pt x="702557" y="95845"/>
                    <a:pt x="974761" y="311975"/>
                    <a:pt x="1052221" y="374181"/>
                  </a:cubicBezTo>
                  <a:cubicBezTo>
                    <a:pt x="1070562" y="388910"/>
                    <a:pt x="1081954" y="397999"/>
                    <a:pt x="1088702" y="403335"/>
                  </a:cubicBezTo>
                  <a:lnTo>
                    <a:pt x="1087146" y="402756"/>
                  </a:lnTo>
                  <a:cubicBezTo>
                    <a:pt x="1104608" y="419689"/>
                    <a:pt x="1112788" y="432646"/>
                    <a:pt x="1112043" y="442116"/>
                  </a:cubicBezTo>
                  <a:cubicBezTo>
                    <a:pt x="1112837" y="929478"/>
                    <a:pt x="1113630" y="1400966"/>
                    <a:pt x="1114424" y="1888328"/>
                  </a:cubicBezTo>
                  <a:lnTo>
                    <a:pt x="610393" y="1917697"/>
                  </a:lnTo>
                  <a:lnTo>
                    <a:pt x="57943" y="1902616"/>
                  </a:lnTo>
                  <a:cubicBezTo>
                    <a:pt x="44979" y="1896002"/>
                    <a:pt x="36776" y="1887005"/>
                    <a:pt x="26193" y="1861341"/>
                  </a:cubicBezTo>
                  <a:cubicBezTo>
                    <a:pt x="26987" y="1594641"/>
                    <a:pt x="34130" y="1337466"/>
                    <a:pt x="34924" y="1070766"/>
                  </a:cubicBezTo>
                  <a:cubicBezTo>
                    <a:pt x="23018" y="1043514"/>
                    <a:pt x="-1" y="1009118"/>
                    <a:pt x="0" y="979484"/>
                  </a:cubicBezTo>
                  <a:cubicBezTo>
                    <a:pt x="265" y="677330"/>
                    <a:pt x="10053" y="382320"/>
                    <a:pt x="10318" y="80166"/>
                  </a:cubicBezTo>
                  <a:cubicBezTo>
                    <a:pt x="26987" y="46565"/>
                    <a:pt x="38893" y="39155"/>
                    <a:pt x="67468" y="29366"/>
                  </a:cubicBezTo>
                  <a:cubicBezTo>
                    <a:pt x="149886" y="17791"/>
                    <a:pt x="349528" y="704"/>
                    <a:pt x="509697" y="17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45713" bIns="91427" numCol="1" spcCol="0" rtlCol="0" fromWordArt="0" anchor="b" anchorCtr="0" forceAA="0" compatLnSpc="1">
              <a:noAutofit/>
            </a:bodyPr>
            <a:lstStyle/>
            <a:p>
              <a:pPr algn="ctr" defTabSz="913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49" name="Oval 20"/>
          <p:cNvSpPr/>
          <p:nvPr>
            <p:custDataLst>
              <p:tags r:id="rId1"/>
            </p:custDataLst>
          </p:nvPr>
        </p:nvSpPr>
        <p:spPr bwMode="auto">
          <a:xfrm>
            <a:off x="6911223" y="610853"/>
            <a:ext cx="482245" cy="537538"/>
          </a:xfrm>
          <a:custGeom>
            <a:avLst/>
            <a:gdLst/>
            <a:ahLst/>
            <a:cxnLst/>
            <a:rect l="l" t="t" r="r" b="b"/>
            <a:pathLst>
              <a:path w="1371600" h="1528869">
                <a:moveTo>
                  <a:pt x="176321" y="61931"/>
                </a:moveTo>
                <a:cubicBezTo>
                  <a:pt x="138207" y="345243"/>
                  <a:pt x="100093" y="625381"/>
                  <a:pt x="61979" y="908693"/>
                </a:cubicBezTo>
                <a:lnTo>
                  <a:pt x="1154853" y="1120942"/>
                </a:lnTo>
                <a:cubicBezTo>
                  <a:pt x="1191909" y="816463"/>
                  <a:pt x="1228964" y="502460"/>
                  <a:pt x="1266020" y="197981"/>
                </a:cubicBezTo>
                <a:close/>
                <a:moveTo>
                  <a:pt x="123825" y="0"/>
                </a:moveTo>
                <a:lnTo>
                  <a:pt x="1327150" y="152400"/>
                </a:lnTo>
                <a:lnTo>
                  <a:pt x="1371600" y="203200"/>
                </a:lnTo>
                <a:lnTo>
                  <a:pt x="1266825" y="1133475"/>
                </a:lnTo>
                <a:lnTo>
                  <a:pt x="1203325" y="1206500"/>
                </a:lnTo>
                <a:lnTo>
                  <a:pt x="1104540" y="1186430"/>
                </a:lnTo>
                <a:cubicBezTo>
                  <a:pt x="1143520" y="1218893"/>
                  <a:pt x="1165226" y="1257868"/>
                  <a:pt x="1165226" y="1299422"/>
                </a:cubicBezTo>
                <a:cubicBezTo>
                  <a:pt x="1165226" y="1426142"/>
                  <a:pt x="963374" y="1528869"/>
                  <a:pt x="714376" y="1528869"/>
                </a:cubicBezTo>
                <a:cubicBezTo>
                  <a:pt x="465378" y="1528869"/>
                  <a:pt x="263526" y="1426142"/>
                  <a:pt x="263526" y="1299422"/>
                </a:cubicBezTo>
                <a:cubicBezTo>
                  <a:pt x="263526" y="1195700"/>
                  <a:pt x="398762" y="1108052"/>
                  <a:pt x="584567" y="1080790"/>
                </a:cubicBezTo>
                <a:lnTo>
                  <a:pt x="0" y="962025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70" tIns="34285" rIns="34285" bIns="68570" numCol="1" spcCol="0" rtlCol="0" fromWordArt="0" anchor="b" anchorCtr="0" forceAA="0" compatLnSpc="1">
            <a:noAutofit/>
          </a:bodyPr>
          <a:lstStyle/>
          <a:p>
            <a:pPr marL="0" marR="0" lvl="0" indent="0" algn="ctr" defTabSz="6851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300" b="0" i="0" u="none" strike="noStrike" kern="0" cap="none" spc="-38" normalizeH="0" baseline="0" noProof="0" dirty="0" err="1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4" name="Group 59"/>
          <p:cNvGrpSpPr/>
          <p:nvPr/>
        </p:nvGrpSpPr>
        <p:grpSpPr bwMode="black">
          <a:xfrm>
            <a:off x="539830" y="1733680"/>
            <a:ext cx="510135" cy="653309"/>
            <a:chOff x="5187950" y="4273550"/>
            <a:chExt cx="960438" cy="1230313"/>
          </a:xfrm>
          <a:solidFill>
            <a:srgbClr val="FFFFFF"/>
          </a:solidFill>
        </p:grpSpPr>
        <p:sp>
          <p:nvSpPr>
            <p:cNvPr id="155" name="Freeform 238"/>
            <p:cNvSpPr/>
            <p:nvPr/>
          </p:nvSpPr>
          <p:spPr bwMode="black">
            <a:xfrm>
              <a:off x="5321300" y="5256213"/>
              <a:ext cx="700088" cy="139700"/>
            </a:xfrm>
            <a:custGeom>
              <a:avLst/>
              <a:gdLst>
                <a:gd name="T0" fmla="*/ 83 w 110"/>
                <a:gd name="T1" fmla="*/ 0 h 22"/>
                <a:gd name="T2" fmla="*/ 55 w 110"/>
                <a:gd name="T3" fmla="*/ 6 h 22"/>
                <a:gd name="T4" fmla="*/ 27 w 110"/>
                <a:gd name="T5" fmla="*/ 0 h 22"/>
                <a:gd name="T6" fmla="*/ 0 w 110"/>
                <a:gd name="T7" fmla="*/ 22 h 22"/>
                <a:gd name="T8" fmla="*/ 110 w 110"/>
                <a:gd name="T9" fmla="*/ 22 h 22"/>
                <a:gd name="T10" fmla="*/ 83 w 110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22">
                  <a:moveTo>
                    <a:pt x="83" y="0"/>
                  </a:moveTo>
                  <a:cubicBezTo>
                    <a:pt x="74" y="4"/>
                    <a:pt x="65" y="6"/>
                    <a:pt x="55" y="6"/>
                  </a:cubicBezTo>
                  <a:cubicBezTo>
                    <a:pt x="45" y="6"/>
                    <a:pt x="35" y="4"/>
                    <a:pt x="27" y="0"/>
                  </a:cubicBezTo>
                  <a:cubicBezTo>
                    <a:pt x="21" y="9"/>
                    <a:pt x="12" y="16"/>
                    <a:pt x="0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98" y="16"/>
                    <a:pt x="89" y="9"/>
                    <a:pt x="8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  <p:sp>
          <p:nvSpPr>
            <p:cNvPr id="156" name="Freeform 239"/>
            <p:cNvSpPr/>
            <p:nvPr/>
          </p:nvSpPr>
          <p:spPr bwMode="black">
            <a:xfrm>
              <a:off x="5473700" y="4273550"/>
              <a:ext cx="395288" cy="127000"/>
            </a:xfrm>
            <a:custGeom>
              <a:avLst/>
              <a:gdLst>
                <a:gd name="T0" fmla="*/ 62 w 62"/>
                <a:gd name="T1" fmla="*/ 20 h 20"/>
                <a:gd name="T2" fmla="*/ 59 w 62"/>
                <a:gd name="T3" fmla="*/ 10 h 20"/>
                <a:gd name="T4" fmla="*/ 58 w 62"/>
                <a:gd name="T5" fmla="*/ 8 h 20"/>
                <a:gd name="T6" fmla="*/ 31 w 62"/>
                <a:gd name="T7" fmla="*/ 0 h 20"/>
                <a:gd name="T8" fmla="*/ 4 w 62"/>
                <a:gd name="T9" fmla="*/ 8 h 20"/>
                <a:gd name="T10" fmla="*/ 3 w 62"/>
                <a:gd name="T11" fmla="*/ 10 h 20"/>
                <a:gd name="T12" fmla="*/ 0 w 62"/>
                <a:gd name="T13" fmla="*/ 20 h 20"/>
                <a:gd name="T14" fmla="*/ 31 w 62"/>
                <a:gd name="T15" fmla="*/ 13 h 20"/>
                <a:gd name="T16" fmla="*/ 62 w 62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20">
                  <a:moveTo>
                    <a:pt x="62" y="20"/>
                  </a:move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8" y="9"/>
                    <a:pt x="58" y="8"/>
                  </a:cubicBezTo>
                  <a:cubicBezTo>
                    <a:pt x="57" y="8"/>
                    <a:pt x="47" y="0"/>
                    <a:pt x="31" y="0"/>
                  </a:cubicBezTo>
                  <a:cubicBezTo>
                    <a:pt x="15" y="0"/>
                    <a:pt x="5" y="8"/>
                    <a:pt x="4" y="8"/>
                  </a:cubicBezTo>
                  <a:cubicBezTo>
                    <a:pt x="3" y="9"/>
                    <a:pt x="3" y="10"/>
                    <a:pt x="3" y="1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9" y="15"/>
                    <a:pt x="20" y="13"/>
                    <a:pt x="31" y="13"/>
                  </a:cubicBezTo>
                  <a:cubicBezTo>
                    <a:pt x="42" y="13"/>
                    <a:pt x="52" y="15"/>
                    <a:pt x="6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  <p:sp>
          <p:nvSpPr>
            <p:cNvPr id="157" name="Freeform 240"/>
            <p:cNvSpPr>
              <a:spLocks noEditPoints="1"/>
            </p:cNvSpPr>
            <p:nvPr/>
          </p:nvSpPr>
          <p:spPr bwMode="black">
            <a:xfrm>
              <a:off x="5251450" y="4406900"/>
              <a:ext cx="833438" cy="835025"/>
            </a:xfrm>
            <a:custGeom>
              <a:avLst/>
              <a:gdLst>
                <a:gd name="T0" fmla="*/ 66 w 131"/>
                <a:gd name="T1" fmla="*/ 131 h 131"/>
                <a:gd name="T2" fmla="*/ 131 w 131"/>
                <a:gd name="T3" fmla="*/ 65 h 131"/>
                <a:gd name="T4" fmla="*/ 66 w 131"/>
                <a:gd name="T5" fmla="*/ 0 h 131"/>
                <a:gd name="T6" fmla="*/ 0 w 131"/>
                <a:gd name="T7" fmla="*/ 65 h 131"/>
                <a:gd name="T8" fmla="*/ 66 w 131"/>
                <a:gd name="T9" fmla="*/ 131 h 131"/>
                <a:gd name="T10" fmla="*/ 66 w 131"/>
                <a:gd name="T11" fmla="*/ 28 h 131"/>
                <a:gd name="T12" fmla="*/ 104 w 131"/>
                <a:gd name="T13" fmla="*/ 65 h 131"/>
                <a:gd name="T14" fmla="*/ 66 w 131"/>
                <a:gd name="T15" fmla="*/ 103 h 131"/>
                <a:gd name="T16" fmla="*/ 28 w 131"/>
                <a:gd name="T17" fmla="*/ 65 h 131"/>
                <a:gd name="T18" fmla="*/ 66 w 131"/>
                <a:gd name="T19" fmla="*/ 28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131">
                  <a:moveTo>
                    <a:pt x="66" y="131"/>
                  </a:moveTo>
                  <a:cubicBezTo>
                    <a:pt x="102" y="131"/>
                    <a:pt x="131" y="102"/>
                    <a:pt x="131" y="65"/>
                  </a:cubicBezTo>
                  <a:cubicBezTo>
                    <a:pt x="131" y="29"/>
                    <a:pt x="102" y="0"/>
                    <a:pt x="66" y="0"/>
                  </a:cubicBezTo>
                  <a:cubicBezTo>
                    <a:pt x="30" y="0"/>
                    <a:pt x="0" y="29"/>
                    <a:pt x="0" y="65"/>
                  </a:cubicBezTo>
                  <a:cubicBezTo>
                    <a:pt x="0" y="102"/>
                    <a:pt x="30" y="131"/>
                    <a:pt x="66" y="131"/>
                  </a:cubicBezTo>
                  <a:close/>
                  <a:moveTo>
                    <a:pt x="66" y="28"/>
                  </a:moveTo>
                  <a:cubicBezTo>
                    <a:pt x="87" y="28"/>
                    <a:pt x="104" y="45"/>
                    <a:pt x="104" y="65"/>
                  </a:cubicBezTo>
                  <a:cubicBezTo>
                    <a:pt x="104" y="86"/>
                    <a:pt x="87" y="103"/>
                    <a:pt x="66" y="103"/>
                  </a:cubicBezTo>
                  <a:cubicBezTo>
                    <a:pt x="45" y="103"/>
                    <a:pt x="28" y="86"/>
                    <a:pt x="28" y="65"/>
                  </a:cubicBezTo>
                  <a:cubicBezTo>
                    <a:pt x="28" y="45"/>
                    <a:pt x="45" y="28"/>
                    <a:pt x="6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  <p:sp>
          <p:nvSpPr>
            <p:cNvPr id="158" name="Freeform 241"/>
            <p:cNvSpPr/>
            <p:nvPr/>
          </p:nvSpPr>
          <p:spPr bwMode="black">
            <a:xfrm>
              <a:off x="5499100" y="4656138"/>
              <a:ext cx="344488" cy="338138"/>
            </a:xfrm>
            <a:custGeom>
              <a:avLst/>
              <a:gdLst>
                <a:gd name="T0" fmla="*/ 27 w 54"/>
                <a:gd name="T1" fmla="*/ 53 h 53"/>
                <a:gd name="T2" fmla="*/ 54 w 54"/>
                <a:gd name="T3" fmla="*/ 26 h 53"/>
                <a:gd name="T4" fmla="*/ 27 w 54"/>
                <a:gd name="T5" fmla="*/ 0 h 53"/>
                <a:gd name="T6" fmla="*/ 25 w 54"/>
                <a:gd name="T7" fmla="*/ 0 h 53"/>
                <a:gd name="T8" fmla="*/ 34 w 54"/>
                <a:gd name="T9" fmla="*/ 13 h 53"/>
                <a:gd name="T10" fmla="*/ 19 w 54"/>
                <a:gd name="T11" fmla="*/ 28 h 53"/>
                <a:gd name="T12" fmla="*/ 4 w 54"/>
                <a:gd name="T13" fmla="*/ 13 h 53"/>
                <a:gd name="T14" fmla="*/ 4 w 54"/>
                <a:gd name="T15" fmla="*/ 12 h 53"/>
                <a:gd name="T16" fmla="*/ 0 w 54"/>
                <a:gd name="T17" fmla="*/ 26 h 53"/>
                <a:gd name="T18" fmla="*/ 27 w 54"/>
                <a:gd name="T1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42" y="53"/>
                    <a:pt x="54" y="41"/>
                    <a:pt x="54" y="26"/>
                  </a:cubicBezTo>
                  <a:cubicBezTo>
                    <a:pt x="54" y="12"/>
                    <a:pt x="42" y="0"/>
                    <a:pt x="27" y="0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30" y="2"/>
                    <a:pt x="34" y="7"/>
                    <a:pt x="34" y="13"/>
                  </a:cubicBezTo>
                  <a:cubicBezTo>
                    <a:pt x="34" y="22"/>
                    <a:pt x="27" y="28"/>
                    <a:pt x="19" y="28"/>
                  </a:cubicBezTo>
                  <a:cubicBezTo>
                    <a:pt x="11" y="28"/>
                    <a:pt x="4" y="22"/>
                    <a:pt x="4" y="13"/>
                  </a:cubicBezTo>
                  <a:cubicBezTo>
                    <a:pt x="4" y="13"/>
                    <a:pt x="4" y="12"/>
                    <a:pt x="4" y="12"/>
                  </a:cubicBezTo>
                  <a:cubicBezTo>
                    <a:pt x="2" y="16"/>
                    <a:pt x="0" y="21"/>
                    <a:pt x="0" y="26"/>
                  </a:cubicBezTo>
                  <a:cubicBezTo>
                    <a:pt x="0" y="41"/>
                    <a:pt x="12" y="53"/>
                    <a:pt x="27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  <p:sp>
          <p:nvSpPr>
            <p:cNvPr id="159" name="Freeform 242"/>
            <p:cNvSpPr/>
            <p:nvPr/>
          </p:nvSpPr>
          <p:spPr bwMode="black">
            <a:xfrm>
              <a:off x="5187950" y="5414963"/>
              <a:ext cx="960438" cy="88900"/>
            </a:xfrm>
            <a:custGeom>
              <a:avLst/>
              <a:gdLst>
                <a:gd name="T0" fmla="*/ 149 w 151"/>
                <a:gd name="T1" fmla="*/ 0 h 14"/>
                <a:gd name="T2" fmla="*/ 3 w 151"/>
                <a:gd name="T3" fmla="*/ 0 h 14"/>
                <a:gd name="T4" fmla="*/ 0 w 151"/>
                <a:gd name="T5" fmla="*/ 3 h 14"/>
                <a:gd name="T6" fmla="*/ 0 w 151"/>
                <a:gd name="T7" fmla="*/ 12 h 14"/>
                <a:gd name="T8" fmla="*/ 3 w 151"/>
                <a:gd name="T9" fmla="*/ 14 h 14"/>
                <a:gd name="T10" fmla="*/ 149 w 151"/>
                <a:gd name="T11" fmla="*/ 14 h 14"/>
                <a:gd name="T12" fmla="*/ 151 w 151"/>
                <a:gd name="T13" fmla="*/ 12 h 14"/>
                <a:gd name="T14" fmla="*/ 151 w 151"/>
                <a:gd name="T15" fmla="*/ 3 h 14"/>
                <a:gd name="T16" fmla="*/ 149 w 151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14">
                  <a:moveTo>
                    <a:pt x="14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3" y="14"/>
                  </a:cubicBezTo>
                  <a:cubicBezTo>
                    <a:pt x="149" y="14"/>
                    <a:pt x="149" y="14"/>
                    <a:pt x="149" y="14"/>
                  </a:cubicBezTo>
                  <a:cubicBezTo>
                    <a:pt x="150" y="14"/>
                    <a:pt x="151" y="13"/>
                    <a:pt x="151" y="12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1" y="1"/>
                    <a:pt x="150" y="0"/>
                    <a:pt x="14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</p:grpSp>
      <p:sp>
        <p:nvSpPr>
          <p:cNvPr id="160" name="Freeform 78"/>
          <p:cNvSpPr>
            <a:spLocks noEditPoints="1"/>
          </p:cNvSpPr>
          <p:nvPr/>
        </p:nvSpPr>
        <p:spPr bwMode="black">
          <a:xfrm>
            <a:off x="4231694" y="1671559"/>
            <a:ext cx="752739" cy="720382"/>
          </a:xfrm>
          <a:custGeom>
            <a:avLst/>
            <a:gdLst>
              <a:gd name="T0" fmla="*/ 1448 w 2291"/>
              <a:gd name="T1" fmla="*/ 923 h 2197"/>
              <a:gd name="T2" fmla="*/ 1464 w 2291"/>
              <a:gd name="T3" fmla="*/ 1048 h 2197"/>
              <a:gd name="T4" fmla="*/ 1622 w 2291"/>
              <a:gd name="T5" fmla="*/ 1225 h 2197"/>
              <a:gd name="T6" fmla="*/ 1522 w 2291"/>
              <a:gd name="T7" fmla="*/ 1149 h 2197"/>
              <a:gd name="T8" fmla="*/ 1622 w 2291"/>
              <a:gd name="T9" fmla="*/ 1225 h 2197"/>
              <a:gd name="T10" fmla="*/ 769 w 2291"/>
              <a:gd name="T11" fmla="*/ 1149 h 2197"/>
              <a:gd name="T12" fmla="*/ 669 w 2291"/>
              <a:gd name="T13" fmla="*/ 1225 h 2197"/>
              <a:gd name="T14" fmla="*/ 828 w 2291"/>
              <a:gd name="T15" fmla="*/ 1048 h 2197"/>
              <a:gd name="T16" fmla="*/ 844 w 2291"/>
              <a:gd name="T17" fmla="*/ 923 h 2197"/>
              <a:gd name="T18" fmla="*/ 828 w 2291"/>
              <a:gd name="T19" fmla="*/ 1048 h 2197"/>
              <a:gd name="T20" fmla="*/ 1390 w 2291"/>
              <a:gd name="T21" fmla="*/ 540 h 2197"/>
              <a:gd name="T22" fmla="*/ 1493 w 2291"/>
              <a:gd name="T23" fmla="*/ 103 h 2197"/>
              <a:gd name="T24" fmla="*/ 902 w 2291"/>
              <a:gd name="T25" fmla="*/ 0 h 2197"/>
              <a:gd name="T26" fmla="*/ 799 w 2291"/>
              <a:gd name="T27" fmla="*/ 437 h 2197"/>
              <a:gd name="T28" fmla="*/ 859 w 2291"/>
              <a:gd name="T29" fmla="*/ 103 h 2197"/>
              <a:gd name="T30" fmla="*/ 1390 w 2291"/>
              <a:gd name="T31" fmla="*/ 60 h 2197"/>
              <a:gd name="T32" fmla="*/ 1433 w 2291"/>
              <a:gd name="T33" fmla="*/ 437 h 2197"/>
              <a:gd name="T34" fmla="*/ 902 w 2291"/>
              <a:gd name="T35" fmla="*/ 480 h 2197"/>
              <a:gd name="T36" fmla="*/ 859 w 2291"/>
              <a:gd name="T37" fmla="*/ 103 h 2197"/>
              <a:gd name="T38" fmla="*/ 1614 w 2291"/>
              <a:gd name="T39" fmla="*/ 824 h 2197"/>
              <a:gd name="T40" fmla="*/ 1640 w 2291"/>
              <a:gd name="T41" fmla="*/ 786 h 2197"/>
              <a:gd name="T42" fmla="*/ 1499 w 2291"/>
              <a:gd name="T43" fmla="*/ 596 h 2197"/>
              <a:gd name="T44" fmla="*/ 835 w 2291"/>
              <a:gd name="T45" fmla="*/ 576 h 2197"/>
              <a:gd name="T46" fmla="*/ 669 w 2291"/>
              <a:gd name="T47" fmla="*/ 741 h 2197"/>
              <a:gd name="T48" fmla="*/ 652 w 2291"/>
              <a:gd name="T49" fmla="*/ 798 h 2197"/>
              <a:gd name="T50" fmla="*/ 1450 w 2291"/>
              <a:gd name="T51" fmla="*/ 1476 h 2197"/>
              <a:gd name="T52" fmla="*/ 1554 w 2291"/>
              <a:gd name="T53" fmla="*/ 1913 h 2197"/>
              <a:gd name="T54" fmla="*/ 2144 w 2291"/>
              <a:gd name="T55" fmla="*/ 1810 h 2197"/>
              <a:gd name="T56" fmla="*/ 2041 w 2291"/>
              <a:gd name="T57" fmla="*/ 1373 h 2197"/>
              <a:gd name="T58" fmla="*/ 1450 w 2291"/>
              <a:gd name="T59" fmla="*/ 1476 h 2197"/>
              <a:gd name="T60" fmla="*/ 2084 w 2291"/>
              <a:gd name="T61" fmla="*/ 1810 h 2197"/>
              <a:gd name="T62" fmla="*/ 1554 w 2291"/>
              <a:gd name="T63" fmla="*/ 1853 h 2197"/>
              <a:gd name="T64" fmla="*/ 1511 w 2291"/>
              <a:gd name="T65" fmla="*/ 1476 h 2197"/>
              <a:gd name="T66" fmla="*/ 2041 w 2291"/>
              <a:gd name="T67" fmla="*/ 1433 h 2197"/>
              <a:gd name="T68" fmla="*/ 2275 w 2291"/>
              <a:gd name="T69" fmla="*/ 2114 h 2197"/>
              <a:gd name="T70" fmla="*/ 2108 w 2291"/>
              <a:gd name="T71" fmla="*/ 1949 h 2197"/>
              <a:gd name="T72" fmla="*/ 1444 w 2291"/>
              <a:gd name="T73" fmla="*/ 1969 h 2197"/>
              <a:gd name="T74" fmla="*/ 1304 w 2291"/>
              <a:gd name="T75" fmla="*/ 2159 h 2197"/>
              <a:gd name="T76" fmla="*/ 1329 w 2291"/>
              <a:gd name="T77" fmla="*/ 2197 h 2197"/>
              <a:gd name="T78" fmla="*/ 2291 w 2291"/>
              <a:gd name="T79" fmla="*/ 2171 h 2197"/>
              <a:gd name="T80" fmla="*/ 2275 w 2291"/>
              <a:gd name="T81" fmla="*/ 2114 h 2197"/>
              <a:gd name="T82" fmla="*/ 738 w 2291"/>
              <a:gd name="T83" fmla="*/ 1913 h 2197"/>
              <a:gd name="T84" fmla="*/ 841 w 2291"/>
              <a:gd name="T85" fmla="*/ 1476 h 2197"/>
              <a:gd name="T86" fmla="*/ 250 w 2291"/>
              <a:gd name="T87" fmla="*/ 1373 h 2197"/>
              <a:gd name="T88" fmla="*/ 147 w 2291"/>
              <a:gd name="T89" fmla="*/ 1810 h 2197"/>
              <a:gd name="T90" fmla="*/ 207 w 2291"/>
              <a:gd name="T91" fmla="*/ 1476 h 2197"/>
              <a:gd name="T92" fmla="*/ 738 w 2291"/>
              <a:gd name="T93" fmla="*/ 1433 h 2197"/>
              <a:gd name="T94" fmla="*/ 781 w 2291"/>
              <a:gd name="T95" fmla="*/ 1810 h 2197"/>
              <a:gd name="T96" fmla="*/ 250 w 2291"/>
              <a:gd name="T97" fmla="*/ 1853 h 2197"/>
              <a:gd name="T98" fmla="*/ 207 w 2291"/>
              <a:gd name="T99" fmla="*/ 1476 h 2197"/>
              <a:gd name="T100" fmla="*/ 805 w 2291"/>
              <a:gd name="T101" fmla="*/ 1949 h 2197"/>
              <a:gd name="T102" fmla="*/ 141 w 2291"/>
              <a:gd name="T103" fmla="*/ 1969 h 2197"/>
              <a:gd name="T104" fmla="*/ 0 w 2291"/>
              <a:gd name="T105" fmla="*/ 2159 h 2197"/>
              <a:gd name="T106" fmla="*/ 26 w 2291"/>
              <a:gd name="T107" fmla="*/ 2197 h 2197"/>
              <a:gd name="T108" fmla="*/ 988 w 2291"/>
              <a:gd name="T109" fmla="*/ 2171 h 2197"/>
              <a:gd name="T110" fmla="*/ 971 w 2291"/>
              <a:gd name="T111" fmla="*/ 2114 h 2197"/>
              <a:gd name="T112" fmla="*/ 971 w 2291"/>
              <a:gd name="T113" fmla="*/ 1659 h 2197"/>
              <a:gd name="T114" fmla="*/ 1088 w 2291"/>
              <a:gd name="T115" fmla="*/ 1610 h 2197"/>
              <a:gd name="T116" fmla="*/ 971 w 2291"/>
              <a:gd name="T117" fmla="*/ 1659 h 2197"/>
              <a:gd name="T118" fmla="*/ 1204 w 2291"/>
              <a:gd name="T119" fmla="*/ 1610 h 2197"/>
              <a:gd name="T120" fmla="*/ 1320 w 2291"/>
              <a:gd name="T121" fmla="*/ 1659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91" h="2197">
                <a:moveTo>
                  <a:pt x="1506" y="1023"/>
                </a:moveTo>
                <a:cubicBezTo>
                  <a:pt x="1448" y="923"/>
                  <a:pt x="1448" y="923"/>
                  <a:pt x="1448" y="923"/>
                </a:cubicBezTo>
                <a:cubicBezTo>
                  <a:pt x="1406" y="947"/>
                  <a:pt x="1406" y="947"/>
                  <a:pt x="1406" y="947"/>
                </a:cubicBezTo>
                <a:cubicBezTo>
                  <a:pt x="1464" y="1048"/>
                  <a:pt x="1464" y="1048"/>
                  <a:pt x="1464" y="1048"/>
                </a:cubicBezTo>
                <a:lnTo>
                  <a:pt x="1506" y="1023"/>
                </a:lnTo>
                <a:close/>
                <a:moveTo>
                  <a:pt x="1622" y="1225"/>
                </a:moveTo>
                <a:cubicBezTo>
                  <a:pt x="1564" y="1124"/>
                  <a:pt x="1564" y="1124"/>
                  <a:pt x="1564" y="1124"/>
                </a:cubicBezTo>
                <a:cubicBezTo>
                  <a:pt x="1522" y="1149"/>
                  <a:pt x="1522" y="1149"/>
                  <a:pt x="1522" y="1149"/>
                </a:cubicBezTo>
                <a:cubicBezTo>
                  <a:pt x="1580" y="1249"/>
                  <a:pt x="1580" y="1249"/>
                  <a:pt x="1580" y="1249"/>
                </a:cubicBezTo>
                <a:lnTo>
                  <a:pt x="1622" y="1225"/>
                </a:lnTo>
                <a:close/>
                <a:moveTo>
                  <a:pt x="711" y="1249"/>
                </a:moveTo>
                <a:cubicBezTo>
                  <a:pt x="769" y="1149"/>
                  <a:pt x="769" y="1149"/>
                  <a:pt x="769" y="1149"/>
                </a:cubicBezTo>
                <a:cubicBezTo>
                  <a:pt x="727" y="1124"/>
                  <a:pt x="727" y="1124"/>
                  <a:pt x="727" y="1124"/>
                </a:cubicBezTo>
                <a:cubicBezTo>
                  <a:pt x="669" y="1225"/>
                  <a:pt x="669" y="1225"/>
                  <a:pt x="669" y="1225"/>
                </a:cubicBezTo>
                <a:lnTo>
                  <a:pt x="711" y="1249"/>
                </a:lnTo>
                <a:close/>
                <a:moveTo>
                  <a:pt x="828" y="1048"/>
                </a:moveTo>
                <a:cubicBezTo>
                  <a:pt x="886" y="947"/>
                  <a:pt x="886" y="947"/>
                  <a:pt x="886" y="947"/>
                </a:cubicBezTo>
                <a:cubicBezTo>
                  <a:pt x="844" y="923"/>
                  <a:pt x="844" y="923"/>
                  <a:pt x="844" y="923"/>
                </a:cubicBezTo>
                <a:cubicBezTo>
                  <a:pt x="786" y="1023"/>
                  <a:pt x="786" y="1023"/>
                  <a:pt x="786" y="1023"/>
                </a:cubicBezTo>
                <a:lnTo>
                  <a:pt x="828" y="1048"/>
                </a:lnTo>
                <a:close/>
                <a:moveTo>
                  <a:pt x="902" y="540"/>
                </a:moveTo>
                <a:cubicBezTo>
                  <a:pt x="1390" y="540"/>
                  <a:pt x="1390" y="540"/>
                  <a:pt x="1390" y="540"/>
                </a:cubicBezTo>
                <a:cubicBezTo>
                  <a:pt x="1447" y="540"/>
                  <a:pt x="1493" y="494"/>
                  <a:pt x="1493" y="437"/>
                </a:cubicBezTo>
                <a:cubicBezTo>
                  <a:pt x="1493" y="103"/>
                  <a:pt x="1493" y="103"/>
                  <a:pt x="1493" y="103"/>
                </a:cubicBezTo>
                <a:cubicBezTo>
                  <a:pt x="1493" y="46"/>
                  <a:pt x="1447" y="0"/>
                  <a:pt x="1390" y="0"/>
                </a:cubicBezTo>
                <a:cubicBezTo>
                  <a:pt x="902" y="0"/>
                  <a:pt x="902" y="0"/>
                  <a:pt x="902" y="0"/>
                </a:cubicBezTo>
                <a:cubicBezTo>
                  <a:pt x="845" y="0"/>
                  <a:pt x="799" y="46"/>
                  <a:pt x="799" y="103"/>
                </a:cubicBezTo>
                <a:cubicBezTo>
                  <a:pt x="799" y="437"/>
                  <a:pt x="799" y="437"/>
                  <a:pt x="799" y="437"/>
                </a:cubicBezTo>
                <a:cubicBezTo>
                  <a:pt x="799" y="494"/>
                  <a:pt x="845" y="540"/>
                  <a:pt x="902" y="540"/>
                </a:cubicBezTo>
                <a:close/>
                <a:moveTo>
                  <a:pt x="859" y="103"/>
                </a:moveTo>
                <a:cubicBezTo>
                  <a:pt x="859" y="79"/>
                  <a:pt x="878" y="60"/>
                  <a:pt x="902" y="60"/>
                </a:cubicBezTo>
                <a:cubicBezTo>
                  <a:pt x="1390" y="60"/>
                  <a:pt x="1390" y="60"/>
                  <a:pt x="1390" y="60"/>
                </a:cubicBezTo>
                <a:cubicBezTo>
                  <a:pt x="1413" y="60"/>
                  <a:pt x="1433" y="79"/>
                  <a:pt x="1433" y="103"/>
                </a:cubicBezTo>
                <a:cubicBezTo>
                  <a:pt x="1433" y="437"/>
                  <a:pt x="1433" y="437"/>
                  <a:pt x="1433" y="437"/>
                </a:cubicBezTo>
                <a:cubicBezTo>
                  <a:pt x="1433" y="461"/>
                  <a:pt x="1413" y="480"/>
                  <a:pt x="1390" y="480"/>
                </a:cubicBezTo>
                <a:cubicBezTo>
                  <a:pt x="902" y="480"/>
                  <a:pt x="902" y="480"/>
                  <a:pt x="902" y="480"/>
                </a:cubicBezTo>
                <a:cubicBezTo>
                  <a:pt x="878" y="480"/>
                  <a:pt x="859" y="461"/>
                  <a:pt x="859" y="437"/>
                </a:cubicBezTo>
                <a:lnTo>
                  <a:pt x="859" y="103"/>
                </a:lnTo>
                <a:close/>
                <a:moveTo>
                  <a:pt x="678" y="824"/>
                </a:moveTo>
                <a:cubicBezTo>
                  <a:pt x="1614" y="824"/>
                  <a:pt x="1614" y="824"/>
                  <a:pt x="1614" y="824"/>
                </a:cubicBezTo>
                <a:cubicBezTo>
                  <a:pt x="1628" y="824"/>
                  <a:pt x="1640" y="812"/>
                  <a:pt x="1640" y="798"/>
                </a:cubicBezTo>
                <a:cubicBezTo>
                  <a:pt x="1640" y="786"/>
                  <a:pt x="1640" y="786"/>
                  <a:pt x="1640" y="786"/>
                </a:cubicBezTo>
                <a:cubicBezTo>
                  <a:pt x="1640" y="772"/>
                  <a:pt x="1632" y="752"/>
                  <a:pt x="1623" y="741"/>
                </a:cubicBezTo>
                <a:cubicBezTo>
                  <a:pt x="1499" y="596"/>
                  <a:pt x="1499" y="596"/>
                  <a:pt x="1499" y="596"/>
                </a:cubicBezTo>
                <a:cubicBezTo>
                  <a:pt x="1490" y="585"/>
                  <a:pt x="1471" y="576"/>
                  <a:pt x="1457" y="576"/>
                </a:cubicBezTo>
                <a:cubicBezTo>
                  <a:pt x="835" y="576"/>
                  <a:pt x="835" y="576"/>
                  <a:pt x="835" y="576"/>
                </a:cubicBezTo>
                <a:cubicBezTo>
                  <a:pt x="821" y="576"/>
                  <a:pt x="802" y="585"/>
                  <a:pt x="792" y="596"/>
                </a:cubicBezTo>
                <a:cubicBezTo>
                  <a:pt x="669" y="741"/>
                  <a:pt x="669" y="741"/>
                  <a:pt x="669" y="741"/>
                </a:cubicBezTo>
                <a:cubicBezTo>
                  <a:pt x="659" y="752"/>
                  <a:pt x="652" y="772"/>
                  <a:pt x="652" y="786"/>
                </a:cubicBezTo>
                <a:cubicBezTo>
                  <a:pt x="652" y="798"/>
                  <a:pt x="652" y="798"/>
                  <a:pt x="652" y="798"/>
                </a:cubicBezTo>
                <a:cubicBezTo>
                  <a:pt x="652" y="812"/>
                  <a:pt x="664" y="824"/>
                  <a:pt x="678" y="824"/>
                </a:cubicBezTo>
                <a:close/>
                <a:moveTo>
                  <a:pt x="1450" y="1476"/>
                </a:moveTo>
                <a:cubicBezTo>
                  <a:pt x="1450" y="1810"/>
                  <a:pt x="1450" y="1810"/>
                  <a:pt x="1450" y="1810"/>
                </a:cubicBezTo>
                <a:cubicBezTo>
                  <a:pt x="1450" y="1867"/>
                  <a:pt x="1497" y="1913"/>
                  <a:pt x="1554" y="1913"/>
                </a:cubicBezTo>
                <a:cubicBezTo>
                  <a:pt x="2041" y="1913"/>
                  <a:pt x="2041" y="1913"/>
                  <a:pt x="2041" y="1913"/>
                </a:cubicBezTo>
                <a:cubicBezTo>
                  <a:pt x="2098" y="1913"/>
                  <a:pt x="2144" y="1867"/>
                  <a:pt x="2144" y="1810"/>
                </a:cubicBezTo>
                <a:cubicBezTo>
                  <a:pt x="2144" y="1476"/>
                  <a:pt x="2144" y="1476"/>
                  <a:pt x="2144" y="1476"/>
                </a:cubicBezTo>
                <a:cubicBezTo>
                  <a:pt x="2144" y="1419"/>
                  <a:pt x="2098" y="1373"/>
                  <a:pt x="2041" y="1373"/>
                </a:cubicBezTo>
                <a:cubicBezTo>
                  <a:pt x="1554" y="1373"/>
                  <a:pt x="1554" y="1373"/>
                  <a:pt x="1554" y="1373"/>
                </a:cubicBezTo>
                <a:cubicBezTo>
                  <a:pt x="1497" y="1373"/>
                  <a:pt x="1450" y="1419"/>
                  <a:pt x="1450" y="1476"/>
                </a:cubicBezTo>
                <a:close/>
                <a:moveTo>
                  <a:pt x="2084" y="1476"/>
                </a:moveTo>
                <a:cubicBezTo>
                  <a:pt x="2084" y="1810"/>
                  <a:pt x="2084" y="1810"/>
                  <a:pt x="2084" y="1810"/>
                </a:cubicBezTo>
                <a:cubicBezTo>
                  <a:pt x="2084" y="1834"/>
                  <a:pt x="2065" y="1853"/>
                  <a:pt x="2041" y="1853"/>
                </a:cubicBezTo>
                <a:cubicBezTo>
                  <a:pt x="1554" y="1853"/>
                  <a:pt x="1554" y="1853"/>
                  <a:pt x="1554" y="1853"/>
                </a:cubicBezTo>
                <a:cubicBezTo>
                  <a:pt x="1530" y="1853"/>
                  <a:pt x="1511" y="1834"/>
                  <a:pt x="1511" y="1810"/>
                </a:cubicBezTo>
                <a:cubicBezTo>
                  <a:pt x="1511" y="1476"/>
                  <a:pt x="1511" y="1476"/>
                  <a:pt x="1511" y="1476"/>
                </a:cubicBezTo>
                <a:cubicBezTo>
                  <a:pt x="1511" y="1452"/>
                  <a:pt x="1530" y="1433"/>
                  <a:pt x="1554" y="1433"/>
                </a:cubicBezTo>
                <a:cubicBezTo>
                  <a:pt x="2041" y="1433"/>
                  <a:pt x="2041" y="1433"/>
                  <a:pt x="2041" y="1433"/>
                </a:cubicBezTo>
                <a:cubicBezTo>
                  <a:pt x="2065" y="1433"/>
                  <a:pt x="2084" y="1452"/>
                  <a:pt x="2084" y="1476"/>
                </a:cubicBezTo>
                <a:close/>
                <a:moveTo>
                  <a:pt x="2275" y="2114"/>
                </a:moveTo>
                <a:cubicBezTo>
                  <a:pt x="2151" y="1969"/>
                  <a:pt x="2151" y="1969"/>
                  <a:pt x="2151" y="1969"/>
                </a:cubicBezTo>
                <a:cubicBezTo>
                  <a:pt x="2142" y="1958"/>
                  <a:pt x="2123" y="1949"/>
                  <a:pt x="2108" y="1949"/>
                </a:cubicBezTo>
                <a:cubicBezTo>
                  <a:pt x="1486" y="1949"/>
                  <a:pt x="1486" y="1949"/>
                  <a:pt x="1486" y="1949"/>
                </a:cubicBezTo>
                <a:cubicBezTo>
                  <a:pt x="1472" y="1949"/>
                  <a:pt x="1453" y="1958"/>
                  <a:pt x="1444" y="1969"/>
                </a:cubicBezTo>
                <a:cubicBezTo>
                  <a:pt x="1320" y="2114"/>
                  <a:pt x="1320" y="2114"/>
                  <a:pt x="1320" y="2114"/>
                </a:cubicBezTo>
                <a:cubicBezTo>
                  <a:pt x="1311" y="2125"/>
                  <a:pt x="1304" y="2145"/>
                  <a:pt x="1304" y="2159"/>
                </a:cubicBezTo>
                <a:cubicBezTo>
                  <a:pt x="1304" y="2171"/>
                  <a:pt x="1304" y="2171"/>
                  <a:pt x="1304" y="2171"/>
                </a:cubicBezTo>
                <a:cubicBezTo>
                  <a:pt x="1304" y="2185"/>
                  <a:pt x="1315" y="2197"/>
                  <a:pt x="1329" y="2197"/>
                </a:cubicBezTo>
                <a:cubicBezTo>
                  <a:pt x="2265" y="2197"/>
                  <a:pt x="2265" y="2197"/>
                  <a:pt x="2265" y="2197"/>
                </a:cubicBezTo>
                <a:cubicBezTo>
                  <a:pt x="2280" y="2197"/>
                  <a:pt x="2291" y="2185"/>
                  <a:pt x="2291" y="2171"/>
                </a:cubicBezTo>
                <a:cubicBezTo>
                  <a:pt x="2291" y="2159"/>
                  <a:pt x="2291" y="2159"/>
                  <a:pt x="2291" y="2159"/>
                </a:cubicBezTo>
                <a:cubicBezTo>
                  <a:pt x="2291" y="2145"/>
                  <a:pt x="2284" y="2125"/>
                  <a:pt x="2275" y="2114"/>
                </a:cubicBezTo>
                <a:close/>
                <a:moveTo>
                  <a:pt x="250" y="1913"/>
                </a:moveTo>
                <a:cubicBezTo>
                  <a:pt x="738" y="1913"/>
                  <a:pt x="738" y="1913"/>
                  <a:pt x="738" y="1913"/>
                </a:cubicBezTo>
                <a:cubicBezTo>
                  <a:pt x="795" y="1913"/>
                  <a:pt x="841" y="1867"/>
                  <a:pt x="841" y="1810"/>
                </a:cubicBezTo>
                <a:cubicBezTo>
                  <a:pt x="841" y="1476"/>
                  <a:pt x="841" y="1476"/>
                  <a:pt x="841" y="1476"/>
                </a:cubicBezTo>
                <a:cubicBezTo>
                  <a:pt x="841" y="1419"/>
                  <a:pt x="795" y="1373"/>
                  <a:pt x="738" y="1373"/>
                </a:cubicBezTo>
                <a:cubicBezTo>
                  <a:pt x="250" y="1373"/>
                  <a:pt x="250" y="1373"/>
                  <a:pt x="250" y="1373"/>
                </a:cubicBezTo>
                <a:cubicBezTo>
                  <a:pt x="193" y="1373"/>
                  <a:pt x="147" y="1419"/>
                  <a:pt x="147" y="1476"/>
                </a:cubicBezTo>
                <a:cubicBezTo>
                  <a:pt x="147" y="1810"/>
                  <a:pt x="147" y="1810"/>
                  <a:pt x="147" y="1810"/>
                </a:cubicBezTo>
                <a:cubicBezTo>
                  <a:pt x="147" y="1867"/>
                  <a:pt x="193" y="1913"/>
                  <a:pt x="250" y="1913"/>
                </a:cubicBezTo>
                <a:close/>
                <a:moveTo>
                  <a:pt x="207" y="1476"/>
                </a:moveTo>
                <a:cubicBezTo>
                  <a:pt x="207" y="1452"/>
                  <a:pt x="227" y="1433"/>
                  <a:pt x="250" y="1433"/>
                </a:cubicBezTo>
                <a:cubicBezTo>
                  <a:pt x="738" y="1433"/>
                  <a:pt x="738" y="1433"/>
                  <a:pt x="738" y="1433"/>
                </a:cubicBezTo>
                <a:cubicBezTo>
                  <a:pt x="762" y="1433"/>
                  <a:pt x="781" y="1452"/>
                  <a:pt x="781" y="1476"/>
                </a:cubicBezTo>
                <a:cubicBezTo>
                  <a:pt x="781" y="1810"/>
                  <a:pt x="781" y="1810"/>
                  <a:pt x="781" y="1810"/>
                </a:cubicBezTo>
                <a:cubicBezTo>
                  <a:pt x="781" y="1834"/>
                  <a:pt x="762" y="1853"/>
                  <a:pt x="738" y="1853"/>
                </a:cubicBezTo>
                <a:cubicBezTo>
                  <a:pt x="250" y="1853"/>
                  <a:pt x="250" y="1853"/>
                  <a:pt x="250" y="1853"/>
                </a:cubicBezTo>
                <a:cubicBezTo>
                  <a:pt x="227" y="1853"/>
                  <a:pt x="207" y="1834"/>
                  <a:pt x="207" y="1810"/>
                </a:cubicBezTo>
                <a:lnTo>
                  <a:pt x="207" y="1476"/>
                </a:lnTo>
                <a:close/>
                <a:moveTo>
                  <a:pt x="848" y="1969"/>
                </a:moveTo>
                <a:cubicBezTo>
                  <a:pt x="838" y="1958"/>
                  <a:pt x="819" y="1949"/>
                  <a:pt x="805" y="1949"/>
                </a:cubicBezTo>
                <a:cubicBezTo>
                  <a:pt x="183" y="1949"/>
                  <a:pt x="183" y="1949"/>
                  <a:pt x="183" y="1949"/>
                </a:cubicBezTo>
                <a:cubicBezTo>
                  <a:pt x="169" y="1949"/>
                  <a:pt x="150" y="1958"/>
                  <a:pt x="141" y="1969"/>
                </a:cubicBezTo>
                <a:cubicBezTo>
                  <a:pt x="17" y="2114"/>
                  <a:pt x="17" y="2114"/>
                  <a:pt x="17" y="2114"/>
                </a:cubicBezTo>
                <a:cubicBezTo>
                  <a:pt x="8" y="2125"/>
                  <a:pt x="0" y="2145"/>
                  <a:pt x="0" y="2159"/>
                </a:cubicBezTo>
                <a:cubicBezTo>
                  <a:pt x="0" y="2171"/>
                  <a:pt x="0" y="2171"/>
                  <a:pt x="0" y="2171"/>
                </a:cubicBezTo>
                <a:cubicBezTo>
                  <a:pt x="0" y="2185"/>
                  <a:pt x="12" y="2197"/>
                  <a:pt x="26" y="2197"/>
                </a:cubicBezTo>
                <a:cubicBezTo>
                  <a:pt x="962" y="2197"/>
                  <a:pt x="962" y="2197"/>
                  <a:pt x="962" y="2197"/>
                </a:cubicBezTo>
                <a:cubicBezTo>
                  <a:pt x="977" y="2197"/>
                  <a:pt x="988" y="2185"/>
                  <a:pt x="988" y="2171"/>
                </a:cubicBezTo>
                <a:cubicBezTo>
                  <a:pt x="988" y="2159"/>
                  <a:pt x="988" y="2159"/>
                  <a:pt x="988" y="2159"/>
                </a:cubicBezTo>
                <a:cubicBezTo>
                  <a:pt x="988" y="2145"/>
                  <a:pt x="981" y="2125"/>
                  <a:pt x="971" y="2114"/>
                </a:cubicBezTo>
                <a:lnTo>
                  <a:pt x="848" y="1969"/>
                </a:lnTo>
                <a:close/>
                <a:moveTo>
                  <a:pt x="971" y="1659"/>
                </a:moveTo>
                <a:cubicBezTo>
                  <a:pt x="1088" y="1659"/>
                  <a:pt x="1088" y="1659"/>
                  <a:pt x="1088" y="1659"/>
                </a:cubicBezTo>
                <a:cubicBezTo>
                  <a:pt x="1088" y="1610"/>
                  <a:pt x="1088" y="1610"/>
                  <a:pt x="1088" y="1610"/>
                </a:cubicBezTo>
                <a:cubicBezTo>
                  <a:pt x="971" y="1610"/>
                  <a:pt x="971" y="1610"/>
                  <a:pt x="971" y="1610"/>
                </a:cubicBezTo>
                <a:lnTo>
                  <a:pt x="971" y="1659"/>
                </a:lnTo>
                <a:close/>
                <a:moveTo>
                  <a:pt x="1320" y="1610"/>
                </a:moveTo>
                <a:cubicBezTo>
                  <a:pt x="1204" y="1610"/>
                  <a:pt x="1204" y="1610"/>
                  <a:pt x="1204" y="1610"/>
                </a:cubicBezTo>
                <a:cubicBezTo>
                  <a:pt x="1204" y="1659"/>
                  <a:pt x="1204" y="1659"/>
                  <a:pt x="1204" y="1659"/>
                </a:cubicBezTo>
                <a:cubicBezTo>
                  <a:pt x="1320" y="1659"/>
                  <a:pt x="1320" y="1659"/>
                  <a:pt x="1320" y="1659"/>
                </a:cubicBezTo>
                <a:lnTo>
                  <a:pt x="1320" y="161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</a:endParaRPr>
          </a:p>
        </p:txBody>
      </p:sp>
      <p:sp>
        <p:nvSpPr>
          <p:cNvPr id="162" name="Freeform 83"/>
          <p:cNvSpPr>
            <a:spLocks noEditPoints="1"/>
          </p:cNvSpPr>
          <p:nvPr/>
        </p:nvSpPr>
        <p:spPr bwMode="black">
          <a:xfrm>
            <a:off x="2992417" y="1669138"/>
            <a:ext cx="687010" cy="725225"/>
          </a:xfrm>
          <a:custGeom>
            <a:avLst/>
            <a:gdLst>
              <a:gd name="T0" fmla="*/ 502 w 2107"/>
              <a:gd name="T1" fmla="*/ 1162 h 2221"/>
              <a:gd name="T2" fmla="*/ 239 w 2107"/>
              <a:gd name="T3" fmla="*/ 2072 h 2221"/>
              <a:gd name="T4" fmla="*/ 1587 w 2107"/>
              <a:gd name="T5" fmla="*/ 1800 h 2221"/>
              <a:gd name="T6" fmla="*/ 1487 w 2107"/>
              <a:gd name="T7" fmla="*/ 1835 h 2221"/>
              <a:gd name="T8" fmla="*/ 1579 w 2107"/>
              <a:gd name="T9" fmla="*/ 1870 h 2221"/>
              <a:gd name="T10" fmla="*/ 1470 w 2107"/>
              <a:gd name="T11" fmla="*/ 1847 h 2221"/>
              <a:gd name="T12" fmla="*/ 983 w 2107"/>
              <a:gd name="T13" fmla="*/ 1837 h 2221"/>
              <a:gd name="T14" fmla="*/ 1062 w 2107"/>
              <a:gd name="T15" fmla="*/ 1872 h 2221"/>
              <a:gd name="T16" fmla="*/ 956 w 2107"/>
              <a:gd name="T17" fmla="*/ 1951 h 2221"/>
              <a:gd name="T18" fmla="*/ 1046 w 2107"/>
              <a:gd name="T19" fmla="*/ 1970 h 2221"/>
              <a:gd name="T20" fmla="*/ 820 w 2107"/>
              <a:gd name="T21" fmla="*/ 1872 h 2221"/>
              <a:gd name="T22" fmla="*/ 899 w 2107"/>
              <a:gd name="T23" fmla="*/ 1836 h 2221"/>
              <a:gd name="T24" fmla="*/ 841 w 2107"/>
              <a:gd name="T25" fmla="*/ 1886 h 2221"/>
              <a:gd name="T26" fmla="*/ 905 w 2107"/>
              <a:gd name="T27" fmla="*/ 1920 h 2221"/>
              <a:gd name="T28" fmla="*/ 882 w 2107"/>
              <a:gd name="T29" fmla="*/ 1971 h 2221"/>
              <a:gd name="T30" fmla="*/ 687 w 2107"/>
              <a:gd name="T31" fmla="*/ 1847 h 2221"/>
              <a:gd name="T32" fmla="*/ 780 w 2107"/>
              <a:gd name="T33" fmla="*/ 1844 h 2221"/>
              <a:gd name="T34" fmla="*/ 760 w 2107"/>
              <a:gd name="T35" fmla="*/ 1882 h 2221"/>
              <a:gd name="T36" fmla="*/ 703 w 2107"/>
              <a:gd name="T37" fmla="*/ 1912 h 2221"/>
              <a:gd name="T38" fmla="*/ 682 w 2107"/>
              <a:gd name="T39" fmla="*/ 1972 h 2221"/>
              <a:gd name="T40" fmla="*/ 647 w 2107"/>
              <a:gd name="T41" fmla="*/ 1928 h 2221"/>
              <a:gd name="T42" fmla="*/ 631 w 2107"/>
              <a:gd name="T43" fmla="*/ 1862 h 2221"/>
              <a:gd name="T44" fmla="*/ 545 w 2107"/>
              <a:gd name="T45" fmla="*/ 2017 h 2221"/>
              <a:gd name="T46" fmla="*/ 416 w 2107"/>
              <a:gd name="T47" fmla="*/ 2078 h 2221"/>
              <a:gd name="T48" fmla="*/ 435 w 2107"/>
              <a:gd name="T49" fmla="*/ 2014 h 2221"/>
              <a:gd name="T50" fmla="*/ 538 w 2107"/>
              <a:gd name="T51" fmla="*/ 2006 h 2221"/>
              <a:gd name="T52" fmla="*/ 520 w 2107"/>
              <a:gd name="T53" fmla="*/ 1973 h 2221"/>
              <a:gd name="T54" fmla="*/ 490 w 2107"/>
              <a:gd name="T55" fmla="*/ 1930 h 2221"/>
              <a:gd name="T56" fmla="*/ 587 w 2107"/>
              <a:gd name="T57" fmla="*/ 1913 h 2221"/>
              <a:gd name="T58" fmla="*/ 1055 w 2107"/>
              <a:gd name="T59" fmla="*/ 2071 h 2221"/>
              <a:gd name="T60" fmla="*/ 605 w 2107"/>
              <a:gd name="T61" fmla="*/ 2078 h 2221"/>
              <a:gd name="T62" fmla="*/ 613 w 2107"/>
              <a:gd name="T63" fmla="*/ 2010 h 2221"/>
              <a:gd name="T64" fmla="*/ 1046 w 2107"/>
              <a:gd name="T65" fmla="*/ 2003 h 2221"/>
              <a:gd name="T66" fmla="*/ 1113 w 2107"/>
              <a:gd name="T67" fmla="*/ 1877 h 2221"/>
              <a:gd name="T68" fmla="*/ 1176 w 2107"/>
              <a:gd name="T69" fmla="*/ 1835 h 2221"/>
              <a:gd name="T70" fmla="*/ 1137 w 2107"/>
              <a:gd name="T71" fmla="*/ 1885 h 2221"/>
              <a:gd name="T72" fmla="*/ 1115 w 2107"/>
              <a:gd name="T73" fmla="*/ 1926 h 2221"/>
              <a:gd name="T74" fmla="*/ 1215 w 2107"/>
              <a:gd name="T75" fmla="*/ 1968 h 2221"/>
              <a:gd name="T76" fmla="*/ 1135 w 2107"/>
              <a:gd name="T77" fmla="*/ 1970 h 2221"/>
              <a:gd name="T78" fmla="*/ 1146 w 2107"/>
              <a:gd name="T79" fmla="*/ 2075 h 2221"/>
              <a:gd name="T80" fmla="*/ 1122 w 2107"/>
              <a:gd name="T81" fmla="*/ 2019 h 2221"/>
              <a:gd name="T82" fmla="*/ 1139 w 2107"/>
              <a:gd name="T83" fmla="*/ 2003 h 2221"/>
              <a:gd name="T84" fmla="*/ 1217 w 2107"/>
              <a:gd name="T85" fmla="*/ 2003 h 2221"/>
              <a:gd name="T86" fmla="*/ 1337 w 2107"/>
              <a:gd name="T87" fmla="*/ 1868 h 2221"/>
              <a:gd name="T88" fmla="*/ 1411 w 2107"/>
              <a:gd name="T89" fmla="*/ 1838 h 2221"/>
              <a:gd name="T90" fmla="*/ 1425 w 2107"/>
              <a:gd name="T91" fmla="*/ 1883 h 2221"/>
              <a:gd name="T92" fmla="*/ 1359 w 2107"/>
              <a:gd name="T93" fmla="*/ 1927 h 2221"/>
              <a:gd name="T94" fmla="*/ 1476 w 2107"/>
              <a:gd name="T95" fmla="*/ 1956 h 2221"/>
              <a:gd name="T96" fmla="*/ 1461 w 2107"/>
              <a:gd name="T97" fmla="*/ 1970 h 2221"/>
              <a:gd name="T98" fmla="*/ 1511 w 2107"/>
              <a:gd name="T99" fmla="*/ 2075 h 2221"/>
              <a:gd name="T100" fmla="*/ 1393 w 2107"/>
              <a:gd name="T101" fmla="*/ 2019 h 2221"/>
              <a:gd name="T102" fmla="*/ 1475 w 2107"/>
              <a:gd name="T103" fmla="*/ 2001 h 2221"/>
              <a:gd name="T104" fmla="*/ 1681 w 2107"/>
              <a:gd name="T105" fmla="*/ 2018 h 2221"/>
              <a:gd name="T106" fmla="*/ 1623 w 2107"/>
              <a:gd name="T107" fmla="*/ 2075 h 2221"/>
              <a:gd name="T108" fmla="*/ 1639 w 2107"/>
              <a:gd name="T109" fmla="*/ 2000 h 2221"/>
              <a:gd name="T110" fmla="*/ 1630 w 2107"/>
              <a:gd name="T111" fmla="*/ 1969 h 2221"/>
              <a:gd name="T112" fmla="*/ 1532 w 2107"/>
              <a:gd name="T113" fmla="*/ 1910 h 2221"/>
              <a:gd name="T114" fmla="*/ 933 w 2107"/>
              <a:gd name="T115" fmla="*/ 1308 h 2221"/>
              <a:gd name="T116" fmla="*/ 9 w 2107"/>
              <a:gd name="T117" fmla="*/ 909 h 2221"/>
              <a:gd name="T118" fmla="*/ 413 w 2107"/>
              <a:gd name="T119" fmla="*/ 386 h 2221"/>
              <a:gd name="T120" fmla="*/ 1700 w 2107"/>
              <a:gd name="T121" fmla="*/ 556 h 2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07" h="2221">
                <a:moveTo>
                  <a:pt x="2107" y="809"/>
                </a:moveTo>
                <a:cubicBezTo>
                  <a:pt x="2106" y="786"/>
                  <a:pt x="2103" y="764"/>
                  <a:pt x="2098" y="742"/>
                </a:cubicBezTo>
                <a:cubicBezTo>
                  <a:pt x="2098" y="745"/>
                  <a:pt x="2098" y="747"/>
                  <a:pt x="2098" y="749"/>
                </a:cubicBezTo>
                <a:cubicBezTo>
                  <a:pt x="2096" y="810"/>
                  <a:pt x="2076" y="869"/>
                  <a:pt x="2040" y="926"/>
                </a:cubicBezTo>
                <a:cubicBezTo>
                  <a:pt x="2018" y="961"/>
                  <a:pt x="1988" y="995"/>
                  <a:pt x="1953" y="1027"/>
                </a:cubicBezTo>
                <a:cubicBezTo>
                  <a:pt x="1918" y="1064"/>
                  <a:pt x="1873" y="1098"/>
                  <a:pt x="1819" y="1131"/>
                </a:cubicBezTo>
                <a:cubicBezTo>
                  <a:pt x="1777" y="1156"/>
                  <a:pt x="1731" y="1178"/>
                  <a:pt x="1682" y="1198"/>
                </a:cubicBezTo>
                <a:cubicBezTo>
                  <a:pt x="1682" y="1061"/>
                  <a:pt x="1682" y="1061"/>
                  <a:pt x="1682" y="1061"/>
                </a:cubicBezTo>
                <a:cubicBezTo>
                  <a:pt x="1682" y="1059"/>
                  <a:pt x="1682" y="1058"/>
                  <a:pt x="1682" y="1056"/>
                </a:cubicBezTo>
                <a:cubicBezTo>
                  <a:pt x="1680" y="988"/>
                  <a:pt x="1624" y="933"/>
                  <a:pt x="1554" y="933"/>
                </a:cubicBezTo>
                <a:cubicBezTo>
                  <a:pt x="555" y="933"/>
                  <a:pt x="555" y="933"/>
                  <a:pt x="555" y="933"/>
                </a:cubicBezTo>
                <a:cubicBezTo>
                  <a:pt x="484" y="933"/>
                  <a:pt x="426" y="990"/>
                  <a:pt x="426" y="1061"/>
                </a:cubicBezTo>
                <a:cubicBezTo>
                  <a:pt x="426" y="1141"/>
                  <a:pt x="426" y="1141"/>
                  <a:pt x="426" y="1141"/>
                </a:cubicBezTo>
                <a:cubicBezTo>
                  <a:pt x="430" y="1142"/>
                  <a:pt x="430" y="1142"/>
                  <a:pt x="430" y="1142"/>
                </a:cubicBezTo>
                <a:cubicBezTo>
                  <a:pt x="430" y="1143"/>
                  <a:pt x="459" y="1152"/>
                  <a:pt x="502" y="1162"/>
                </a:cubicBezTo>
                <a:cubicBezTo>
                  <a:pt x="502" y="1069"/>
                  <a:pt x="502" y="1069"/>
                  <a:pt x="502" y="1069"/>
                </a:cubicBezTo>
                <a:cubicBezTo>
                  <a:pt x="502" y="1032"/>
                  <a:pt x="531" y="1003"/>
                  <a:pt x="568" y="1003"/>
                </a:cubicBezTo>
                <a:cubicBezTo>
                  <a:pt x="1541" y="1003"/>
                  <a:pt x="1541" y="1003"/>
                  <a:pt x="1541" y="1003"/>
                </a:cubicBezTo>
                <a:cubicBezTo>
                  <a:pt x="1577" y="1003"/>
                  <a:pt x="1607" y="1032"/>
                  <a:pt x="1607" y="1069"/>
                </a:cubicBezTo>
                <a:cubicBezTo>
                  <a:pt x="1607" y="1668"/>
                  <a:pt x="1607" y="1668"/>
                  <a:pt x="1607" y="1668"/>
                </a:cubicBezTo>
                <a:cubicBezTo>
                  <a:pt x="1607" y="1704"/>
                  <a:pt x="1577" y="1734"/>
                  <a:pt x="1541" y="1734"/>
                </a:cubicBezTo>
                <a:cubicBezTo>
                  <a:pt x="568" y="1734"/>
                  <a:pt x="568" y="1734"/>
                  <a:pt x="568" y="1734"/>
                </a:cubicBezTo>
                <a:cubicBezTo>
                  <a:pt x="531" y="1734"/>
                  <a:pt x="502" y="1704"/>
                  <a:pt x="502" y="1668"/>
                </a:cubicBezTo>
                <a:cubicBezTo>
                  <a:pt x="502" y="1541"/>
                  <a:pt x="502" y="1541"/>
                  <a:pt x="502" y="1541"/>
                </a:cubicBezTo>
                <a:cubicBezTo>
                  <a:pt x="476" y="1535"/>
                  <a:pt x="451" y="1528"/>
                  <a:pt x="426" y="1520"/>
                </a:cubicBezTo>
                <a:cubicBezTo>
                  <a:pt x="426" y="1676"/>
                  <a:pt x="426" y="1676"/>
                  <a:pt x="426" y="1676"/>
                </a:cubicBezTo>
                <a:cubicBezTo>
                  <a:pt x="426" y="1736"/>
                  <a:pt x="467" y="1786"/>
                  <a:pt x="523" y="1800"/>
                </a:cubicBezTo>
                <a:cubicBezTo>
                  <a:pt x="491" y="1802"/>
                  <a:pt x="456" y="1813"/>
                  <a:pt x="435" y="1837"/>
                </a:cubicBezTo>
                <a:cubicBezTo>
                  <a:pt x="419" y="1857"/>
                  <a:pt x="403" y="1876"/>
                  <a:pt x="387" y="1895"/>
                </a:cubicBezTo>
                <a:cubicBezTo>
                  <a:pt x="337" y="1954"/>
                  <a:pt x="288" y="2013"/>
                  <a:pt x="239" y="2072"/>
                </a:cubicBezTo>
                <a:cubicBezTo>
                  <a:pt x="227" y="2086"/>
                  <a:pt x="203" y="2107"/>
                  <a:pt x="203" y="2127"/>
                </a:cubicBezTo>
                <a:cubicBezTo>
                  <a:pt x="203" y="2183"/>
                  <a:pt x="203" y="2183"/>
                  <a:pt x="203" y="2183"/>
                </a:cubicBezTo>
                <a:cubicBezTo>
                  <a:pt x="204" y="2190"/>
                  <a:pt x="206" y="2197"/>
                  <a:pt x="209" y="2202"/>
                </a:cubicBezTo>
                <a:cubicBezTo>
                  <a:pt x="222" y="2220"/>
                  <a:pt x="247" y="2221"/>
                  <a:pt x="267" y="2221"/>
                </a:cubicBezTo>
                <a:cubicBezTo>
                  <a:pt x="295" y="2221"/>
                  <a:pt x="1759" y="2221"/>
                  <a:pt x="1804" y="2221"/>
                </a:cubicBezTo>
                <a:cubicBezTo>
                  <a:pt x="1826" y="2221"/>
                  <a:pt x="1850" y="2219"/>
                  <a:pt x="1871" y="2214"/>
                </a:cubicBezTo>
                <a:cubicBezTo>
                  <a:pt x="1886" y="2211"/>
                  <a:pt x="1903" y="2203"/>
                  <a:pt x="1905" y="2186"/>
                </a:cubicBezTo>
                <a:cubicBezTo>
                  <a:pt x="1905" y="2126"/>
                  <a:pt x="1905" y="2126"/>
                  <a:pt x="1905" y="2126"/>
                </a:cubicBezTo>
                <a:cubicBezTo>
                  <a:pt x="1907" y="2113"/>
                  <a:pt x="1899" y="2100"/>
                  <a:pt x="1891" y="2091"/>
                </a:cubicBezTo>
                <a:cubicBezTo>
                  <a:pt x="1887" y="2086"/>
                  <a:pt x="1883" y="2081"/>
                  <a:pt x="1879" y="2077"/>
                </a:cubicBezTo>
                <a:cubicBezTo>
                  <a:pt x="1858" y="2052"/>
                  <a:pt x="1837" y="2027"/>
                  <a:pt x="1816" y="2003"/>
                </a:cubicBezTo>
                <a:cubicBezTo>
                  <a:pt x="1770" y="1948"/>
                  <a:pt x="1724" y="1894"/>
                  <a:pt x="1678" y="1840"/>
                </a:cubicBezTo>
                <a:cubicBezTo>
                  <a:pt x="1676" y="1837"/>
                  <a:pt x="1674" y="1834"/>
                  <a:pt x="1671" y="1832"/>
                </a:cubicBezTo>
                <a:cubicBezTo>
                  <a:pt x="1662" y="1820"/>
                  <a:pt x="1647" y="1813"/>
                  <a:pt x="1633" y="1809"/>
                </a:cubicBezTo>
                <a:cubicBezTo>
                  <a:pt x="1618" y="1804"/>
                  <a:pt x="1603" y="1801"/>
                  <a:pt x="1587" y="1800"/>
                </a:cubicBezTo>
                <a:cubicBezTo>
                  <a:pt x="1642" y="1785"/>
                  <a:pt x="1682" y="1735"/>
                  <a:pt x="1682" y="1676"/>
                </a:cubicBezTo>
                <a:cubicBezTo>
                  <a:pt x="1682" y="1462"/>
                  <a:pt x="1682" y="1462"/>
                  <a:pt x="1682" y="1462"/>
                </a:cubicBezTo>
                <a:cubicBezTo>
                  <a:pt x="1698" y="1455"/>
                  <a:pt x="1714" y="1448"/>
                  <a:pt x="1730" y="1441"/>
                </a:cubicBezTo>
                <a:cubicBezTo>
                  <a:pt x="1801" y="1408"/>
                  <a:pt x="1863" y="1368"/>
                  <a:pt x="1916" y="1325"/>
                </a:cubicBezTo>
                <a:cubicBezTo>
                  <a:pt x="1946" y="1300"/>
                  <a:pt x="1972" y="1273"/>
                  <a:pt x="1995" y="1246"/>
                </a:cubicBezTo>
                <a:cubicBezTo>
                  <a:pt x="2018" y="1218"/>
                  <a:pt x="2037" y="1187"/>
                  <a:pt x="2054" y="1154"/>
                </a:cubicBezTo>
                <a:cubicBezTo>
                  <a:pt x="2068" y="1124"/>
                  <a:pt x="2079" y="1090"/>
                  <a:pt x="2084" y="1054"/>
                </a:cubicBezTo>
                <a:cubicBezTo>
                  <a:pt x="2086" y="1040"/>
                  <a:pt x="2087" y="1026"/>
                  <a:pt x="2089" y="1013"/>
                </a:cubicBezTo>
                <a:cubicBezTo>
                  <a:pt x="2089" y="1008"/>
                  <a:pt x="2090" y="1003"/>
                  <a:pt x="2090" y="998"/>
                </a:cubicBezTo>
                <a:cubicBezTo>
                  <a:pt x="2102" y="877"/>
                  <a:pt x="2102" y="877"/>
                  <a:pt x="2102" y="877"/>
                </a:cubicBezTo>
                <a:cubicBezTo>
                  <a:pt x="2103" y="874"/>
                  <a:pt x="2103" y="870"/>
                  <a:pt x="2103" y="867"/>
                </a:cubicBezTo>
                <a:cubicBezTo>
                  <a:pt x="2105" y="848"/>
                  <a:pt x="2107" y="829"/>
                  <a:pt x="2107" y="809"/>
                </a:cubicBezTo>
                <a:close/>
                <a:moveTo>
                  <a:pt x="1474" y="1837"/>
                </a:moveTo>
                <a:cubicBezTo>
                  <a:pt x="1475" y="1836"/>
                  <a:pt x="1476" y="1836"/>
                  <a:pt x="1478" y="1836"/>
                </a:cubicBezTo>
                <a:cubicBezTo>
                  <a:pt x="1481" y="1835"/>
                  <a:pt x="1483" y="1835"/>
                  <a:pt x="1487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492" y="1835"/>
                  <a:pt x="1492" y="1835"/>
                  <a:pt x="1492" y="1835"/>
                </a:cubicBezTo>
                <a:cubicBezTo>
                  <a:pt x="1502" y="1835"/>
                  <a:pt x="1511" y="1835"/>
                  <a:pt x="1521" y="1835"/>
                </a:cubicBezTo>
                <a:cubicBezTo>
                  <a:pt x="1521" y="1835"/>
                  <a:pt x="1521" y="1835"/>
                  <a:pt x="1521" y="1835"/>
                </a:cubicBezTo>
                <a:cubicBezTo>
                  <a:pt x="1531" y="1835"/>
                  <a:pt x="1531" y="1835"/>
                  <a:pt x="1531" y="1835"/>
                </a:cubicBezTo>
                <a:cubicBezTo>
                  <a:pt x="1534" y="1834"/>
                  <a:pt x="1538" y="1835"/>
                  <a:pt x="1541" y="1835"/>
                </a:cubicBezTo>
                <a:cubicBezTo>
                  <a:pt x="1543" y="1836"/>
                  <a:pt x="1546" y="1836"/>
                  <a:pt x="1548" y="1837"/>
                </a:cubicBezTo>
                <a:cubicBezTo>
                  <a:pt x="1548" y="1837"/>
                  <a:pt x="1548" y="1837"/>
                  <a:pt x="1548" y="1837"/>
                </a:cubicBezTo>
                <a:cubicBezTo>
                  <a:pt x="1549" y="1837"/>
                  <a:pt x="1549" y="1838"/>
                  <a:pt x="1549" y="1838"/>
                </a:cubicBezTo>
                <a:cubicBezTo>
                  <a:pt x="1550" y="1838"/>
                  <a:pt x="1550" y="1838"/>
                  <a:pt x="1550" y="1838"/>
                </a:cubicBezTo>
                <a:cubicBezTo>
                  <a:pt x="1553" y="1839"/>
                  <a:pt x="1556" y="1840"/>
                  <a:pt x="1558" y="1842"/>
                </a:cubicBezTo>
                <a:cubicBezTo>
                  <a:pt x="1560" y="1843"/>
                  <a:pt x="1562" y="1845"/>
                  <a:pt x="1563" y="1847"/>
                </a:cubicBezTo>
                <a:cubicBezTo>
                  <a:pt x="1571" y="1858"/>
                  <a:pt x="1571" y="1858"/>
                  <a:pt x="1571" y="1858"/>
                </a:cubicBezTo>
                <a:cubicBezTo>
                  <a:pt x="1573" y="1861"/>
                  <a:pt x="1577" y="1865"/>
                  <a:pt x="1579" y="1870"/>
                </a:cubicBezTo>
                <a:cubicBezTo>
                  <a:pt x="1579" y="1870"/>
                  <a:pt x="1579" y="1870"/>
                  <a:pt x="1579" y="1870"/>
                </a:cubicBezTo>
                <a:cubicBezTo>
                  <a:pt x="1581" y="1872"/>
                  <a:pt x="1581" y="1874"/>
                  <a:pt x="1581" y="1876"/>
                </a:cubicBezTo>
                <a:cubicBezTo>
                  <a:pt x="1581" y="1877"/>
                  <a:pt x="1580" y="1878"/>
                  <a:pt x="1579" y="1879"/>
                </a:cubicBezTo>
                <a:cubicBezTo>
                  <a:pt x="1579" y="1879"/>
                  <a:pt x="1579" y="1880"/>
                  <a:pt x="1579" y="1880"/>
                </a:cubicBezTo>
                <a:cubicBezTo>
                  <a:pt x="1579" y="1880"/>
                  <a:pt x="1579" y="1880"/>
                  <a:pt x="1579" y="1880"/>
                </a:cubicBezTo>
                <a:cubicBezTo>
                  <a:pt x="1578" y="1880"/>
                  <a:pt x="1578" y="1880"/>
                  <a:pt x="1578" y="1880"/>
                </a:cubicBezTo>
                <a:cubicBezTo>
                  <a:pt x="1578" y="1880"/>
                  <a:pt x="1578" y="1881"/>
                  <a:pt x="1577" y="1881"/>
                </a:cubicBezTo>
                <a:cubicBezTo>
                  <a:pt x="1577" y="1881"/>
                  <a:pt x="1577" y="1881"/>
                  <a:pt x="1576" y="1881"/>
                </a:cubicBezTo>
                <a:cubicBezTo>
                  <a:pt x="1576" y="1881"/>
                  <a:pt x="1576" y="1882"/>
                  <a:pt x="1575" y="1882"/>
                </a:cubicBezTo>
                <a:cubicBezTo>
                  <a:pt x="1569" y="1885"/>
                  <a:pt x="1560" y="1884"/>
                  <a:pt x="1553" y="1884"/>
                </a:cubicBezTo>
                <a:cubicBezTo>
                  <a:pt x="1516" y="1884"/>
                  <a:pt x="1516" y="1884"/>
                  <a:pt x="1516" y="1884"/>
                </a:cubicBezTo>
                <a:cubicBezTo>
                  <a:pt x="1509" y="1884"/>
                  <a:pt x="1501" y="1883"/>
                  <a:pt x="1494" y="1879"/>
                </a:cubicBezTo>
                <a:cubicBezTo>
                  <a:pt x="1492" y="1878"/>
                  <a:pt x="1490" y="1877"/>
                  <a:pt x="1488" y="1876"/>
                </a:cubicBezTo>
                <a:cubicBezTo>
                  <a:pt x="1486" y="1874"/>
                  <a:pt x="1484" y="1872"/>
                  <a:pt x="1483" y="1871"/>
                </a:cubicBezTo>
                <a:cubicBezTo>
                  <a:pt x="1481" y="1868"/>
                  <a:pt x="1481" y="1868"/>
                  <a:pt x="1481" y="1868"/>
                </a:cubicBezTo>
                <a:cubicBezTo>
                  <a:pt x="1478" y="1861"/>
                  <a:pt x="1473" y="1854"/>
                  <a:pt x="1470" y="1847"/>
                </a:cubicBezTo>
                <a:cubicBezTo>
                  <a:pt x="1467" y="1842"/>
                  <a:pt x="1469" y="1839"/>
                  <a:pt x="1474" y="1837"/>
                </a:cubicBezTo>
                <a:close/>
                <a:moveTo>
                  <a:pt x="965" y="1871"/>
                </a:moveTo>
                <a:cubicBezTo>
                  <a:pt x="966" y="1869"/>
                  <a:pt x="966" y="1868"/>
                  <a:pt x="966" y="1866"/>
                </a:cubicBezTo>
                <a:cubicBezTo>
                  <a:pt x="966" y="1866"/>
                  <a:pt x="966" y="1866"/>
                  <a:pt x="966" y="1866"/>
                </a:cubicBezTo>
                <a:cubicBezTo>
                  <a:pt x="967" y="1861"/>
                  <a:pt x="966" y="1855"/>
                  <a:pt x="968" y="1850"/>
                </a:cubicBezTo>
                <a:cubicBezTo>
                  <a:pt x="968" y="1848"/>
                  <a:pt x="968" y="1848"/>
                  <a:pt x="968" y="1848"/>
                </a:cubicBezTo>
                <a:cubicBezTo>
                  <a:pt x="968" y="1846"/>
                  <a:pt x="969" y="1845"/>
                  <a:pt x="970" y="1843"/>
                </a:cubicBezTo>
                <a:cubicBezTo>
                  <a:pt x="971" y="1842"/>
                  <a:pt x="973" y="1841"/>
                  <a:pt x="974" y="1841"/>
                </a:cubicBezTo>
                <a:cubicBezTo>
                  <a:pt x="974" y="1840"/>
                  <a:pt x="974" y="1840"/>
                  <a:pt x="974" y="1840"/>
                </a:cubicBezTo>
                <a:cubicBezTo>
                  <a:pt x="975" y="1840"/>
                  <a:pt x="975" y="1840"/>
                  <a:pt x="975" y="1840"/>
                </a:cubicBezTo>
                <a:cubicBezTo>
                  <a:pt x="976" y="1840"/>
                  <a:pt x="976" y="1839"/>
                  <a:pt x="976" y="1839"/>
                </a:cubicBezTo>
                <a:cubicBezTo>
                  <a:pt x="976" y="1839"/>
                  <a:pt x="977" y="1839"/>
                  <a:pt x="977" y="1839"/>
                </a:cubicBezTo>
                <a:cubicBezTo>
                  <a:pt x="978" y="1839"/>
                  <a:pt x="978" y="1838"/>
                  <a:pt x="979" y="1838"/>
                </a:cubicBezTo>
                <a:cubicBezTo>
                  <a:pt x="980" y="1838"/>
                  <a:pt x="980" y="1838"/>
                  <a:pt x="980" y="1838"/>
                </a:cubicBezTo>
                <a:cubicBezTo>
                  <a:pt x="981" y="1837"/>
                  <a:pt x="982" y="1837"/>
                  <a:pt x="983" y="1837"/>
                </a:cubicBezTo>
                <a:cubicBezTo>
                  <a:pt x="983" y="1837"/>
                  <a:pt x="984" y="1837"/>
                  <a:pt x="984" y="1837"/>
                </a:cubicBezTo>
                <a:cubicBezTo>
                  <a:pt x="984" y="1837"/>
                  <a:pt x="984" y="1837"/>
                  <a:pt x="985" y="1837"/>
                </a:cubicBezTo>
                <a:cubicBezTo>
                  <a:pt x="985" y="1837"/>
                  <a:pt x="985" y="1837"/>
                  <a:pt x="986" y="1836"/>
                </a:cubicBezTo>
                <a:cubicBezTo>
                  <a:pt x="988" y="1836"/>
                  <a:pt x="991" y="1836"/>
                  <a:pt x="993" y="1836"/>
                </a:cubicBezTo>
                <a:cubicBezTo>
                  <a:pt x="995" y="1836"/>
                  <a:pt x="995" y="1836"/>
                  <a:pt x="995" y="1836"/>
                </a:cubicBezTo>
                <a:cubicBezTo>
                  <a:pt x="998" y="1836"/>
                  <a:pt x="1000" y="1836"/>
                  <a:pt x="1003" y="1836"/>
                </a:cubicBezTo>
                <a:cubicBezTo>
                  <a:pt x="1038" y="1836"/>
                  <a:pt x="1038" y="1836"/>
                  <a:pt x="1038" y="1836"/>
                </a:cubicBezTo>
                <a:cubicBezTo>
                  <a:pt x="1038" y="1836"/>
                  <a:pt x="1039" y="1836"/>
                  <a:pt x="1040" y="1836"/>
                </a:cubicBezTo>
                <a:cubicBezTo>
                  <a:pt x="1040" y="1836"/>
                  <a:pt x="1040" y="1836"/>
                  <a:pt x="1041" y="1836"/>
                </a:cubicBezTo>
                <a:cubicBezTo>
                  <a:pt x="1042" y="1836"/>
                  <a:pt x="1042" y="1836"/>
                  <a:pt x="1043" y="1836"/>
                </a:cubicBezTo>
                <a:cubicBezTo>
                  <a:pt x="1050" y="1837"/>
                  <a:pt x="1058" y="1839"/>
                  <a:pt x="1061" y="1844"/>
                </a:cubicBezTo>
                <a:cubicBezTo>
                  <a:pt x="1061" y="1845"/>
                  <a:pt x="1061" y="1845"/>
                  <a:pt x="1061" y="1846"/>
                </a:cubicBezTo>
                <a:cubicBezTo>
                  <a:pt x="1061" y="1846"/>
                  <a:pt x="1061" y="1846"/>
                  <a:pt x="1061" y="1846"/>
                </a:cubicBezTo>
                <a:cubicBezTo>
                  <a:pt x="1063" y="1853"/>
                  <a:pt x="1062" y="1863"/>
                  <a:pt x="1062" y="1870"/>
                </a:cubicBezTo>
                <a:cubicBezTo>
                  <a:pt x="1062" y="1872"/>
                  <a:pt x="1062" y="1872"/>
                  <a:pt x="1062" y="1872"/>
                </a:cubicBezTo>
                <a:cubicBezTo>
                  <a:pt x="1062" y="1873"/>
                  <a:pt x="1062" y="1874"/>
                  <a:pt x="1061" y="1876"/>
                </a:cubicBezTo>
                <a:cubicBezTo>
                  <a:pt x="1054" y="1889"/>
                  <a:pt x="1022" y="1885"/>
                  <a:pt x="1010" y="1885"/>
                </a:cubicBezTo>
                <a:cubicBezTo>
                  <a:pt x="1003" y="1885"/>
                  <a:pt x="996" y="1885"/>
                  <a:pt x="989" y="1885"/>
                </a:cubicBezTo>
                <a:cubicBezTo>
                  <a:pt x="983" y="1885"/>
                  <a:pt x="974" y="1884"/>
                  <a:pt x="969" y="1879"/>
                </a:cubicBezTo>
                <a:cubicBezTo>
                  <a:pt x="969" y="1879"/>
                  <a:pt x="969" y="1879"/>
                  <a:pt x="968" y="1879"/>
                </a:cubicBezTo>
                <a:cubicBezTo>
                  <a:pt x="968" y="1879"/>
                  <a:pt x="968" y="1878"/>
                  <a:pt x="968" y="1878"/>
                </a:cubicBezTo>
                <a:cubicBezTo>
                  <a:pt x="967" y="1878"/>
                  <a:pt x="967" y="1878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7" y="1877"/>
                  <a:pt x="967" y="1877"/>
                  <a:pt x="967" y="1877"/>
                </a:cubicBezTo>
                <a:cubicBezTo>
                  <a:pt x="966" y="1876"/>
                  <a:pt x="966" y="1876"/>
                  <a:pt x="966" y="1875"/>
                </a:cubicBezTo>
                <a:cubicBezTo>
                  <a:pt x="965" y="1874"/>
                  <a:pt x="965" y="1873"/>
                  <a:pt x="965" y="1872"/>
                </a:cubicBezTo>
                <a:lnTo>
                  <a:pt x="965" y="1871"/>
                </a:lnTo>
                <a:close/>
                <a:moveTo>
                  <a:pt x="956" y="1955"/>
                </a:moveTo>
                <a:cubicBezTo>
                  <a:pt x="956" y="1952"/>
                  <a:pt x="956" y="1952"/>
                  <a:pt x="956" y="1952"/>
                </a:cubicBezTo>
                <a:cubicBezTo>
                  <a:pt x="956" y="1952"/>
                  <a:pt x="956" y="1951"/>
                  <a:pt x="956" y="1951"/>
                </a:cubicBezTo>
                <a:cubicBezTo>
                  <a:pt x="957" y="1943"/>
                  <a:pt x="958" y="1935"/>
                  <a:pt x="959" y="1926"/>
                </a:cubicBezTo>
                <a:cubicBezTo>
                  <a:pt x="959" y="1926"/>
                  <a:pt x="959" y="1926"/>
                  <a:pt x="959" y="1926"/>
                </a:cubicBezTo>
                <a:cubicBezTo>
                  <a:pt x="959" y="1926"/>
                  <a:pt x="959" y="1926"/>
                  <a:pt x="959" y="1925"/>
                </a:cubicBezTo>
                <a:cubicBezTo>
                  <a:pt x="963" y="1907"/>
                  <a:pt x="999" y="1911"/>
                  <a:pt x="1013" y="1911"/>
                </a:cubicBezTo>
                <a:cubicBezTo>
                  <a:pt x="1025" y="1911"/>
                  <a:pt x="1055" y="1908"/>
                  <a:pt x="1061" y="1921"/>
                </a:cubicBezTo>
                <a:cubicBezTo>
                  <a:pt x="1062" y="1923"/>
                  <a:pt x="1063" y="1924"/>
                  <a:pt x="1063" y="1926"/>
                </a:cubicBezTo>
                <a:cubicBezTo>
                  <a:pt x="1063" y="1940"/>
                  <a:pt x="1063" y="1940"/>
                  <a:pt x="1063" y="1940"/>
                </a:cubicBezTo>
                <a:cubicBezTo>
                  <a:pt x="1063" y="1945"/>
                  <a:pt x="1063" y="1949"/>
                  <a:pt x="1063" y="1953"/>
                </a:cubicBezTo>
                <a:cubicBezTo>
                  <a:pt x="1063" y="1953"/>
                  <a:pt x="1063" y="1953"/>
                  <a:pt x="1063" y="1953"/>
                </a:cubicBezTo>
                <a:cubicBezTo>
                  <a:pt x="1063" y="1955"/>
                  <a:pt x="1063" y="1955"/>
                  <a:pt x="1063" y="1955"/>
                </a:cubicBezTo>
                <a:cubicBezTo>
                  <a:pt x="1063" y="1957"/>
                  <a:pt x="1062" y="1959"/>
                  <a:pt x="1061" y="1961"/>
                </a:cubicBezTo>
                <a:cubicBezTo>
                  <a:pt x="1061" y="1962"/>
                  <a:pt x="1060" y="1962"/>
                  <a:pt x="1060" y="1962"/>
                </a:cubicBezTo>
                <a:cubicBezTo>
                  <a:pt x="1060" y="1963"/>
                  <a:pt x="1059" y="1963"/>
                  <a:pt x="1059" y="1964"/>
                </a:cubicBezTo>
                <a:cubicBezTo>
                  <a:pt x="1058" y="1964"/>
                  <a:pt x="1058" y="1964"/>
                  <a:pt x="1058" y="1964"/>
                </a:cubicBezTo>
                <a:cubicBezTo>
                  <a:pt x="1055" y="1967"/>
                  <a:pt x="1051" y="1969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6" y="1970"/>
                  <a:pt x="1046" y="1970"/>
                  <a:pt x="1046" y="1970"/>
                </a:cubicBezTo>
                <a:cubicBezTo>
                  <a:pt x="1044" y="1971"/>
                  <a:pt x="1043" y="1971"/>
                  <a:pt x="1041" y="1971"/>
                </a:cubicBezTo>
                <a:cubicBezTo>
                  <a:pt x="1041" y="1971"/>
                  <a:pt x="1040" y="1971"/>
                  <a:pt x="1040" y="1971"/>
                </a:cubicBezTo>
                <a:cubicBezTo>
                  <a:pt x="1038" y="1971"/>
                  <a:pt x="1037" y="1972"/>
                  <a:pt x="1035" y="1972"/>
                </a:cubicBezTo>
                <a:cubicBezTo>
                  <a:pt x="1035" y="1972"/>
                  <a:pt x="1035" y="1972"/>
                  <a:pt x="1035" y="1972"/>
                </a:cubicBezTo>
                <a:cubicBezTo>
                  <a:pt x="982" y="1972"/>
                  <a:pt x="982" y="1972"/>
                  <a:pt x="982" y="1972"/>
                </a:cubicBezTo>
                <a:cubicBezTo>
                  <a:pt x="976" y="1972"/>
                  <a:pt x="969" y="1971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3" y="1967"/>
                  <a:pt x="963" y="1967"/>
                  <a:pt x="963" y="1967"/>
                </a:cubicBezTo>
                <a:cubicBezTo>
                  <a:pt x="962" y="1966"/>
                  <a:pt x="961" y="1965"/>
                  <a:pt x="960" y="1964"/>
                </a:cubicBezTo>
                <a:cubicBezTo>
                  <a:pt x="959" y="1964"/>
                  <a:pt x="958" y="1963"/>
                  <a:pt x="958" y="1962"/>
                </a:cubicBezTo>
                <a:cubicBezTo>
                  <a:pt x="958" y="1962"/>
                  <a:pt x="958" y="1962"/>
                  <a:pt x="957" y="1962"/>
                </a:cubicBezTo>
                <a:cubicBezTo>
                  <a:pt x="956" y="1960"/>
                  <a:pt x="956" y="1957"/>
                  <a:pt x="956" y="1955"/>
                </a:cubicBezTo>
                <a:close/>
                <a:moveTo>
                  <a:pt x="820" y="1872"/>
                </a:moveTo>
                <a:cubicBezTo>
                  <a:pt x="820" y="1872"/>
                  <a:pt x="820" y="1872"/>
                  <a:pt x="820" y="1872"/>
                </a:cubicBezTo>
                <a:cubicBezTo>
                  <a:pt x="820" y="1872"/>
                  <a:pt x="820" y="1872"/>
                  <a:pt x="820" y="1872"/>
                </a:cubicBezTo>
                <a:cubicBezTo>
                  <a:pt x="820" y="1870"/>
                  <a:pt x="821" y="1868"/>
                  <a:pt x="822" y="1866"/>
                </a:cubicBezTo>
                <a:cubicBezTo>
                  <a:pt x="823" y="1861"/>
                  <a:pt x="824" y="1854"/>
                  <a:pt x="827" y="1849"/>
                </a:cubicBezTo>
                <a:cubicBezTo>
                  <a:pt x="827" y="1848"/>
                  <a:pt x="827" y="1848"/>
                  <a:pt x="827" y="1848"/>
                </a:cubicBezTo>
                <a:cubicBezTo>
                  <a:pt x="827" y="1847"/>
                  <a:pt x="829" y="1845"/>
                  <a:pt x="830" y="1844"/>
                </a:cubicBezTo>
                <a:cubicBezTo>
                  <a:pt x="831" y="1843"/>
                  <a:pt x="832" y="1842"/>
                  <a:pt x="833" y="1841"/>
                </a:cubicBezTo>
                <a:cubicBezTo>
                  <a:pt x="837" y="1839"/>
                  <a:pt x="840" y="1838"/>
                  <a:pt x="844" y="1837"/>
                </a:cubicBezTo>
                <a:cubicBezTo>
                  <a:pt x="845" y="1837"/>
                  <a:pt x="845" y="1837"/>
                  <a:pt x="845" y="1837"/>
                </a:cubicBezTo>
                <a:cubicBezTo>
                  <a:pt x="848" y="1836"/>
                  <a:pt x="851" y="1836"/>
                  <a:pt x="855" y="1836"/>
                </a:cubicBezTo>
                <a:cubicBezTo>
                  <a:pt x="859" y="1836"/>
                  <a:pt x="859" y="1836"/>
                  <a:pt x="859" y="1836"/>
                </a:cubicBezTo>
                <a:cubicBezTo>
                  <a:pt x="861" y="1836"/>
                  <a:pt x="862" y="1836"/>
                  <a:pt x="864" y="1836"/>
                </a:cubicBezTo>
                <a:cubicBezTo>
                  <a:pt x="873" y="1836"/>
                  <a:pt x="883" y="1836"/>
                  <a:pt x="893" y="1836"/>
                </a:cubicBezTo>
                <a:cubicBezTo>
                  <a:pt x="894" y="1836"/>
                  <a:pt x="896" y="1836"/>
                  <a:pt x="897" y="1836"/>
                </a:cubicBezTo>
                <a:cubicBezTo>
                  <a:pt x="899" y="1836"/>
                  <a:pt x="899" y="1836"/>
                  <a:pt x="899" y="1836"/>
                </a:cubicBezTo>
                <a:cubicBezTo>
                  <a:pt x="899" y="1836"/>
                  <a:pt x="899" y="1836"/>
                  <a:pt x="900" y="1836"/>
                </a:cubicBezTo>
                <a:cubicBezTo>
                  <a:pt x="901" y="1836"/>
                  <a:pt x="902" y="1836"/>
                  <a:pt x="904" y="1836"/>
                </a:cubicBezTo>
                <a:cubicBezTo>
                  <a:pt x="904" y="1836"/>
                  <a:pt x="904" y="1836"/>
                  <a:pt x="904" y="1836"/>
                </a:cubicBezTo>
                <a:cubicBezTo>
                  <a:pt x="911" y="1837"/>
                  <a:pt x="919" y="1839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46"/>
                  <a:pt x="921" y="1846"/>
                  <a:pt x="921" y="1846"/>
                </a:cubicBezTo>
                <a:cubicBezTo>
                  <a:pt x="921" y="1854"/>
                  <a:pt x="918" y="1863"/>
                  <a:pt x="917" y="1870"/>
                </a:cubicBezTo>
                <a:cubicBezTo>
                  <a:pt x="917" y="1870"/>
                  <a:pt x="917" y="1870"/>
                  <a:pt x="917" y="1870"/>
                </a:cubicBezTo>
                <a:cubicBezTo>
                  <a:pt x="917" y="1872"/>
                  <a:pt x="917" y="1872"/>
                  <a:pt x="917" y="1872"/>
                </a:cubicBezTo>
                <a:cubicBezTo>
                  <a:pt x="916" y="1873"/>
                  <a:pt x="916" y="1875"/>
                  <a:pt x="914" y="1876"/>
                </a:cubicBezTo>
                <a:cubicBezTo>
                  <a:pt x="914" y="1876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14" y="1877"/>
                  <a:pt x="914" y="1877"/>
                  <a:pt x="914" y="1877"/>
                </a:cubicBezTo>
                <a:cubicBezTo>
                  <a:pt x="904" y="1889"/>
                  <a:pt x="878" y="1886"/>
                  <a:pt x="865" y="1886"/>
                </a:cubicBezTo>
                <a:cubicBezTo>
                  <a:pt x="857" y="1886"/>
                  <a:pt x="849" y="1886"/>
                  <a:pt x="841" y="1886"/>
                </a:cubicBezTo>
                <a:cubicBezTo>
                  <a:pt x="834" y="1886"/>
                  <a:pt x="824" y="1884"/>
                  <a:pt x="820" y="1877"/>
                </a:cubicBezTo>
                <a:cubicBezTo>
                  <a:pt x="820" y="1877"/>
                  <a:pt x="820" y="1876"/>
                  <a:pt x="820" y="1875"/>
                </a:cubicBezTo>
                <a:cubicBezTo>
                  <a:pt x="820" y="1875"/>
                  <a:pt x="820" y="1875"/>
                  <a:pt x="820" y="1874"/>
                </a:cubicBezTo>
                <a:cubicBezTo>
                  <a:pt x="820" y="1873"/>
                  <a:pt x="820" y="1873"/>
                  <a:pt x="820" y="1872"/>
                </a:cubicBezTo>
                <a:close/>
                <a:moveTo>
                  <a:pt x="795" y="1956"/>
                </a:moveTo>
                <a:cubicBezTo>
                  <a:pt x="796" y="1952"/>
                  <a:pt x="796" y="1952"/>
                  <a:pt x="796" y="1952"/>
                </a:cubicBezTo>
                <a:cubicBezTo>
                  <a:pt x="796" y="1952"/>
                  <a:pt x="796" y="1952"/>
                  <a:pt x="796" y="1952"/>
                </a:cubicBezTo>
                <a:cubicBezTo>
                  <a:pt x="796" y="1951"/>
                  <a:pt x="796" y="1951"/>
                  <a:pt x="796" y="1950"/>
                </a:cubicBezTo>
                <a:cubicBezTo>
                  <a:pt x="803" y="1926"/>
                  <a:pt x="803" y="1926"/>
                  <a:pt x="803" y="1926"/>
                </a:cubicBezTo>
                <a:cubicBezTo>
                  <a:pt x="804" y="1926"/>
                  <a:pt x="804" y="1926"/>
                  <a:pt x="804" y="1925"/>
                </a:cubicBezTo>
                <a:cubicBezTo>
                  <a:pt x="811" y="1908"/>
                  <a:pt x="843" y="1911"/>
                  <a:pt x="859" y="1911"/>
                </a:cubicBezTo>
                <a:cubicBezTo>
                  <a:pt x="865" y="1911"/>
                  <a:pt x="877" y="1910"/>
                  <a:pt x="888" y="1912"/>
                </a:cubicBezTo>
                <a:cubicBezTo>
                  <a:pt x="890" y="1912"/>
                  <a:pt x="891" y="1912"/>
                  <a:pt x="893" y="1913"/>
                </a:cubicBezTo>
                <a:cubicBezTo>
                  <a:pt x="894" y="1913"/>
                  <a:pt x="894" y="1913"/>
                  <a:pt x="894" y="1913"/>
                </a:cubicBezTo>
                <a:cubicBezTo>
                  <a:pt x="899" y="1914"/>
                  <a:pt x="903" y="1916"/>
                  <a:pt x="905" y="1920"/>
                </a:cubicBezTo>
                <a:cubicBezTo>
                  <a:pt x="906" y="1920"/>
                  <a:pt x="906" y="1920"/>
                  <a:pt x="906" y="1920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6" y="1921"/>
                  <a:pt x="906" y="1921"/>
                  <a:pt x="906" y="1921"/>
                </a:cubicBezTo>
                <a:cubicBezTo>
                  <a:pt x="907" y="1923"/>
                  <a:pt x="907" y="1924"/>
                  <a:pt x="907" y="1926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7" y="1928"/>
                  <a:pt x="907" y="1928"/>
                  <a:pt x="907" y="1928"/>
                </a:cubicBezTo>
                <a:cubicBezTo>
                  <a:pt x="906" y="1932"/>
                  <a:pt x="905" y="1936"/>
                  <a:pt x="904" y="1941"/>
                </a:cubicBezTo>
                <a:cubicBezTo>
                  <a:pt x="902" y="1955"/>
                  <a:pt x="902" y="1955"/>
                  <a:pt x="902" y="1955"/>
                </a:cubicBezTo>
                <a:cubicBezTo>
                  <a:pt x="901" y="1958"/>
                  <a:pt x="900" y="1960"/>
                  <a:pt x="899" y="1962"/>
                </a:cubicBezTo>
                <a:cubicBezTo>
                  <a:pt x="898" y="1962"/>
                  <a:pt x="898" y="1962"/>
                  <a:pt x="898" y="1962"/>
                </a:cubicBezTo>
                <a:cubicBezTo>
                  <a:pt x="898" y="1963"/>
                  <a:pt x="897" y="1963"/>
                  <a:pt x="897" y="1963"/>
                </a:cubicBezTo>
                <a:cubicBezTo>
                  <a:pt x="897" y="1964"/>
                  <a:pt x="896" y="1964"/>
                  <a:pt x="895" y="1965"/>
                </a:cubicBezTo>
                <a:cubicBezTo>
                  <a:pt x="891" y="1968"/>
                  <a:pt x="887" y="1969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2" y="1971"/>
                  <a:pt x="882" y="1971"/>
                  <a:pt x="882" y="1971"/>
                </a:cubicBezTo>
                <a:cubicBezTo>
                  <a:pt x="880" y="1971"/>
                  <a:pt x="879" y="1971"/>
                  <a:pt x="877" y="1971"/>
                </a:cubicBezTo>
                <a:cubicBezTo>
                  <a:pt x="877" y="1972"/>
                  <a:pt x="876" y="1972"/>
                  <a:pt x="876" y="1972"/>
                </a:cubicBezTo>
                <a:cubicBezTo>
                  <a:pt x="874" y="1972"/>
                  <a:pt x="872" y="1972"/>
                  <a:pt x="871" y="1972"/>
                </a:cubicBezTo>
                <a:cubicBezTo>
                  <a:pt x="871" y="1972"/>
                  <a:pt x="871" y="1972"/>
                  <a:pt x="871" y="1972"/>
                </a:cubicBezTo>
                <a:cubicBezTo>
                  <a:pt x="818" y="1972"/>
                  <a:pt x="818" y="1972"/>
                  <a:pt x="818" y="1972"/>
                </a:cubicBezTo>
                <a:cubicBezTo>
                  <a:pt x="812" y="1972"/>
                  <a:pt x="805" y="1971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9" y="1967"/>
                  <a:pt x="799" y="1967"/>
                  <a:pt x="799" y="1967"/>
                </a:cubicBezTo>
                <a:cubicBezTo>
                  <a:pt x="798" y="1967"/>
                  <a:pt x="797" y="1966"/>
                  <a:pt x="797" y="1965"/>
                </a:cubicBezTo>
                <a:cubicBezTo>
                  <a:pt x="796" y="1964"/>
                  <a:pt x="796" y="1963"/>
                  <a:pt x="795" y="1963"/>
                </a:cubicBezTo>
                <a:cubicBezTo>
                  <a:pt x="795" y="1962"/>
                  <a:pt x="795" y="1962"/>
                  <a:pt x="795" y="1962"/>
                </a:cubicBezTo>
                <a:cubicBezTo>
                  <a:pt x="794" y="1960"/>
                  <a:pt x="794" y="1958"/>
                  <a:pt x="795" y="1956"/>
                </a:cubicBezTo>
                <a:close/>
                <a:moveTo>
                  <a:pt x="674" y="1875"/>
                </a:moveTo>
                <a:cubicBezTo>
                  <a:pt x="674" y="1872"/>
                  <a:pt x="676" y="1869"/>
                  <a:pt x="677" y="1867"/>
                </a:cubicBezTo>
                <a:cubicBezTo>
                  <a:pt x="680" y="1861"/>
                  <a:pt x="683" y="1852"/>
                  <a:pt x="687" y="1847"/>
                </a:cubicBezTo>
                <a:cubicBezTo>
                  <a:pt x="688" y="1846"/>
                  <a:pt x="688" y="1846"/>
                  <a:pt x="688" y="1846"/>
                </a:cubicBezTo>
                <a:cubicBezTo>
                  <a:pt x="688" y="1846"/>
                  <a:pt x="689" y="1845"/>
                  <a:pt x="689" y="1845"/>
                </a:cubicBezTo>
                <a:cubicBezTo>
                  <a:pt x="689" y="1845"/>
                  <a:pt x="689" y="1845"/>
                  <a:pt x="690" y="1844"/>
                </a:cubicBezTo>
                <a:cubicBezTo>
                  <a:pt x="690" y="1844"/>
                  <a:pt x="690" y="1844"/>
                  <a:pt x="690" y="1844"/>
                </a:cubicBezTo>
                <a:cubicBezTo>
                  <a:pt x="690" y="1844"/>
                  <a:pt x="691" y="1844"/>
                  <a:pt x="691" y="1843"/>
                </a:cubicBezTo>
                <a:cubicBezTo>
                  <a:pt x="695" y="1840"/>
                  <a:pt x="700" y="1838"/>
                  <a:pt x="706" y="1838"/>
                </a:cubicBezTo>
                <a:cubicBezTo>
                  <a:pt x="706" y="1837"/>
                  <a:pt x="706" y="1837"/>
                  <a:pt x="706" y="1837"/>
                </a:cubicBezTo>
                <a:cubicBezTo>
                  <a:pt x="709" y="1837"/>
                  <a:pt x="713" y="1836"/>
                  <a:pt x="716" y="1836"/>
                </a:cubicBezTo>
                <a:cubicBezTo>
                  <a:pt x="734" y="1836"/>
                  <a:pt x="734" y="1836"/>
                  <a:pt x="734" y="1836"/>
                </a:cubicBezTo>
                <a:cubicBezTo>
                  <a:pt x="740" y="1836"/>
                  <a:pt x="746" y="1836"/>
                  <a:pt x="751" y="1836"/>
                </a:cubicBezTo>
                <a:cubicBezTo>
                  <a:pt x="759" y="1836"/>
                  <a:pt x="771" y="1835"/>
                  <a:pt x="777" y="1841"/>
                </a:cubicBezTo>
                <a:cubicBezTo>
                  <a:pt x="778" y="1841"/>
                  <a:pt x="778" y="1842"/>
                  <a:pt x="778" y="1842"/>
                </a:cubicBezTo>
                <a:cubicBezTo>
                  <a:pt x="778" y="1842"/>
                  <a:pt x="779" y="1842"/>
                  <a:pt x="779" y="1842"/>
                </a:cubicBezTo>
                <a:cubicBezTo>
                  <a:pt x="779" y="1842"/>
                  <a:pt x="779" y="1843"/>
                  <a:pt x="779" y="1843"/>
                </a:cubicBezTo>
                <a:cubicBezTo>
                  <a:pt x="779" y="1843"/>
                  <a:pt x="779" y="1843"/>
                  <a:pt x="780" y="1844"/>
                </a:cubicBezTo>
                <a:cubicBezTo>
                  <a:pt x="780" y="1845"/>
                  <a:pt x="780" y="1846"/>
                  <a:pt x="780" y="1847"/>
                </a:cubicBezTo>
                <a:cubicBezTo>
                  <a:pt x="779" y="1854"/>
                  <a:pt x="774" y="1863"/>
                  <a:pt x="773" y="1867"/>
                </a:cubicBezTo>
                <a:cubicBezTo>
                  <a:pt x="773" y="1867"/>
                  <a:pt x="773" y="1867"/>
                  <a:pt x="773" y="1867"/>
                </a:cubicBezTo>
                <a:cubicBezTo>
                  <a:pt x="772" y="1869"/>
                  <a:pt x="772" y="1870"/>
                  <a:pt x="771" y="1871"/>
                </a:cubicBezTo>
                <a:cubicBezTo>
                  <a:pt x="771" y="1872"/>
                  <a:pt x="771" y="1872"/>
                  <a:pt x="771" y="1872"/>
                </a:cubicBezTo>
                <a:cubicBezTo>
                  <a:pt x="771" y="1873"/>
                  <a:pt x="771" y="1873"/>
                  <a:pt x="770" y="1873"/>
                </a:cubicBezTo>
                <a:cubicBezTo>
                  <a:pt x="770" y="1874"/>
                  <a:pt x="770" y="1874"/>
                  <a:pt x="770" y="1874"/>
                </a:cubicBezTo>
                <a:cubicBezTo>
                  <a:pt x="770" y="1875"/>
                  <a:pt x="769" y="1875"/>
                  <a:pt x="769" y="1876"/>
                </a:cubicBezTo>
                <a:cubicBezTo>
                  <a:pt x="769" y="1876"/>
                  <a:pt x="769" y="1876"/>
                  <a:pt x="768" y="1876"/>
                </a:cubicBezTo>
                <a:cubicBezTo>
                  <a:pt x="768" y="1876"/>
                  <a:pt x="768" y="1877"/>
                  <a:pt x="768" y="1877"/>
                </a:cubicBezTo>
                <a:cubicBezTo>
                  <a:pt x="768" y="1877"/>
                  <a:pt x="767" y="1877"/>
                  <a:pt x="767" y="1877"/>
                </a:cubicBezTo>
                <a:cubicBezTo>
                  <a:pt x="766" y="1878"/>
                  <a:pt x="765" y="1879"/>
                  <a:pt x="764" y="1880"/>
                </a:cubicBezTo>
                <a:cubicBezTo>
                  <a:pt x="763" y="1880"/>
                  <a:pt x="762" y="1881"/>
                  <a:pt x="761" y="1881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60" y="1882"/>
                  <a:pt x="760" y="1882"/>
                  <a:pt x="760" y="1882"/>
                </a:cubicBezTo>
                <a:cubicBezTo>
                  <a:pt x="756" y="1883"/>
                  <a:pt x="752" y="1885"/>
                  <a:pt x="749" y="1885"/>
                </a:cubicBezTo>
                <a:cubicBezTo>
                  <a:pt x="748" y="1885"/>
                  <a:pt x="746" y="1885"/>
                  <a:pt x="745" y="1886"/>
                </a:cubicBezTo>
                <a:cubicBezTo>
                  <a:pt x="745" y="1886"/>
                  <a:pt x="745" y="1886"/>
                  <a:pt x="745" y="1886"/>
                </a:cubicBezTo>
                <a:cubicBezTo>
                  <a:pt x="738" y="1886"/>
                  <a:pt x="730" y="1886"/>
                  <a:pt x="723" y="1886"/>
                </a:cubicBezTo>
                <a:cubicBezTo>
                  <a:pt x="693" y="1886"/>
                  <a:pt x="693" y="1886"/>
                  <a:pt x="693" y="1886"/>
                </a:cubicBezTo>
                <a:cubicBezTo>
                  <a:pt x="687" y="1886"/>
                  <a:pt x="676" y="1885"/>
                  <a:pt x="674" y="1878"/>
                </a:cubicBezTo>
                <a:cubicBezTo>
                  <a:pt x="673" y="1877"/>
                  <a:pt x="673" y="1876"/>
                  <a:pt x="673" y="1876"/>
                </a:cubicBezTo>
                <a:cubicBezTo>
                  <a:pt x="673" y="1875"/>
                  <a:pt x="674" y="1875"/>
                  <a:pt x="674" y="1875"/>
                </a:cubicBezTo>
                <a:close/>
                <a:moveTo>
                  <a:pt x="647" y="1928"/>
                </a:moveTo>
                <a:cubicBezTo>
                  <a:pt x="648" y="1927"/>
                  <a:pt x="648" y="1927"/>
                  <a:pt x="648" y="1927"/>
                </a:cubicBezTo>
                <a:cubicBezTo>
                  <a:pt x="648" y="1926"/>
                  <a:pt x="648" y="1926"/>
                  <a:pt x="648" y="1926"/>
                </a:cubicBezTo>
                <a:cubicBezTo>
                  <a:pt x="649" y="1925"/>
                  <a:pt x="649" y="1924"/>
                  <a:pt x="650" y="1924"/>
                </a:cubicBezTo>
                <a:cubicBezTo>
                  <a:pt x="650" y="1924"/>
                  <a:pt x="650" y="1924"/>
                  <a:pt x="650" y="1924"/>
                </a:cubicBezTo>
                <a:cubicBezTo>
                  <a:pt x="661" y="1909"/>
                  <a:pt x="687" y="1912"/>
                  <a:pt x="703" y="1912"/>
                </a:cubicBezTo>
                <a:cubicBezTo>
                  <a:pt x="703" y="1912"/>
                  <a:pt x="703" y="1912"/>
                  <a:pt x="703" y="1912"/>
                </a:cubicBezTo>
                <a:cubicBezTo>
                  <a:pt x="708" y="1912"/>
                  <a:pt x="720" y="1911"/>
                  <a:pt x="730" y="1912"/>
                </a:cubicBezTo>
                <a:cubicBezTo>
                  <a:pt x="734" y="1912"/>
                  <a:pt x="737" y="1912"/>
                  <a:pt x="740" y="1913"/>
                </a:cubicBezTo>
                <a:cubicBezTo>
                  <a:pt x="742" y="1913"/>
                  <a:pt x="744" y="1914"/>
                  <a:pt x="745" y="1915"/>
                </a:cubicBezTo>
                <a:cubicBezTo>
                  <a:pt x="749" y="1917"/>
                  <a:pt x="752" y="1919"/>
                  <a:pt x="752" y="1923"/>
                </a:cubicBezTo>
                <a:cubicBezTo>
                  <a:pt x="752" y="1923"/>
                  <a:pt x="752" y="1924"/>
                  <a:pt x="752" y="1924"/>
                </a:cubicBezTo>
                <a:cubicBezTo>
                  <a:pt x="752" y="1924"/>
                  <a:pt x="752" y="1924"/>
                  <a:pt x="752" y="1924"/>
                </a:cubicBezTo>
                <a:cubicBezTo>
                  <a:pt x="752" y="1925"/>
                  <a:pt x="751" y="1926"/>
                  <a:pt x="751" y="1927"/>
                </a:cubicBezTo>
                <a:cubicBezTo>
                  <a:pt x="741" y="1956"/>
                  <a:pt x="741" y="1956"/>
                  <a:pt x="741" y="1956"/>
                </a:cubicBezTo>
                <a:cubicBezTo>
                  <a:pt x="740" y="1958"/>
                  <a:pt x="738" y="1960"/>
                  <a:pt x="736" y="1962"/>
                </a:cubicBezTo>
                <a:cubicBezTo>
                  <a:pt x="734" y="1964"/>
                  <a:pt x="731" y="1966"/>
                  <a:pt x="728" y="1967"/>
                </a:cubicBezTo>
                <a:cubicBezTo>
                  <a:pt x="728" y="1968"/>
                  <a:pt x="727" y="1968"/>
                  <a:pt x="727" y="1968"/>
                </a:cubicBezTo>
                <a:cubicBezTo>
                  <a:pt x="723" y="1970"/>
                  <a:pt x="718" y="1971"/>
                  <a:pt x="713" y="1972"/>
                </a:cubicBezTo>
                <a:cubicBezTo>
                  <a:pt x="713" y="1972"/>
                  <a:pt x="713" y="1972"/>
                  <a:pt x="713" y="1972"/>
                </a:cubicBezTo>
                <a:cubicBezTo>
                  <a:pt x="712" y="1972"/>
                  <a:pt x="711" y="1972"/>
                  <a:pt x="710" y="1972"/>
                </a:cubicBezTo>
                <a:cubicBezTo>
                  <a:pt x="701" y="1973"/>
                  <a:pt x="692" y="1972"/>
                  <a:pt x="682" y="1972"/>
                </a:cubicBezTo>
                <a:cubicBezTo>
                  <a:pt x="673" y="1973"/>
                  <a:pt x="663" y="1973"/>
                  <a:pt x="654" y="1973"/>
                </a:cubicBezTo>
                <a:cubicBezTo>
                  <a:pt x="647" y="1973"/>
                  <a:pt x="638" y="1971"/>
                  <a:pt x="634" y="1966"/>
                </a:cubicBezTo>
                <a:cubicBezTo>
                  <a:pt x="634" y="1965"/>
                  <a:pt x="634" y="1965"/>
                  <a:pt x="633" y="1965"/>
                </a:cubicBezTo>
                <a:cubicBezTo>
                  <a:pt x="633" y="1964"/>
                  <a:pt x="633" y="1964"/>
                  <a:pt x="633" y="1964"/>
                </a:cubicBezTo>
                <a:cubicBezTo>
                  <a:pt x="633" y="1963"/>
                  <a:pt x="633" y="1963"/>
                  <a:pt x="632" y="1963"/>
                </a:cubicBezTo>
                <a:cubicBezTo>
                  <a:pt x="632" y="1963"/>
                  <a:pt x="632" y="1962"/>
                  <a:pt x="632" y="1962"/>
                </a:cubicBezTo>
                <a:cubicBezTo>
                  <a:pt x="632" y="1962"/>
                  <a:pt x="632" y="1962"/>
                  <a:pt x="632" y="1962"/>
                </a:cubicBezTo>
                <a:cubicBezTo>
                  <a:pt x="632" y="1962"/>
                  <a:pt x="632" y="1961"/>
                  <a:pt x="632" y="1960"/>
                </a:cubicBezTo>
                <a:cubicBezTo>
                  <a:pt x="632" y="1959"/>
                  <a:pt x="632" y="1959"/>
                  <a:pt x="633" y="1959"/>
                </a:cubicBezTo>
                <a:cubicBezTo>
                  <a:pt x="633" y="1958"/>
                  <a:pt x="633" y="1957"/>
                  <a:pt x="633" y="1956"/>
                </a:cubicBezTo>
                <a:cubicBezTo>
                  <a:pt x="633" y="1956"/>
                  <a:pt x="633" y="1956"/>
                  <a:pt x="633" y="1956"/>
                </a:cubicBezTo>
                <a:cubicBezTo>
                  <a:pt x="634" y="1955"/>
                  <a:pt x="634" y="1955"/>
                  <a:pt x="634" y="1955"/>
                </a:cubicBezTo>
                <a:cubicBezTo>
                  <a:pt x="634" y="1954"/>
                  <a:pt x="635" y="1953"/>
                  <a:pt x="635" y="1952"/>
                </a:cubicBezTo>
                <a:cubicBezTo>
                  <a:pt x="639" y="1944"/>
                  <a:pt x="643" y="1936"/>
                  <a:pt x="647" y="1928"/>
                </a:cubicBezTo>
                <a:cubicBezTo>
                  <a:pt x="647" y="1928"/>
                  <a:pt x="647" y="1928"/>
                  <a:pt x="647" y="1928"/>
                </a:cubicBezTo>
                <a:close/>
                <a:moveTo>
                  <a:pt x="527" y="1875"/>
                </a:moveTo>
                <a:cubicBezTo>
                  <a:pt x="528" y="1873"/>
                  <a:pt x="531" y="1870"/>
                  <a:pt x="532" y="1868"/>
                </a:cubicBezTo>
                <a:cubicBezTo>
                  <a:pt x="536" y="1861"/>
                  <a:pt x="541" y="1854"/>
                  <a:pt x="546" y="1848"/>
                </a:cubicBezTo>
                <a:cubicBezTo>
                  <a:pt x="546" y="1847"/>
                  <a:pt x="546" y="1847"/>
                  <a:pt x="547" y="1847"/>
                </a:cubicBezTo>
                <a:cubicBezTo>
                  <a:pt x="547" y="1847"/>
                  <a:pt x="547" y="1847"/>
                  <a:pt x="547" y="1846"/>
                </a:cubicBezTo>
                <a:cubicBezTo>
                  <a:pt x="561" y="1833"/>
                  <a:pt x="590" y="1837"/>
                  <a:pt x="608" y="1837"/>
                </a:cubicBezTo>
                <a:cubicBezTo>
                  <a:pt x="616" y="1837"/>
                  <a:pt x="626" y="1835"/>
                  <a:pt x="634" y="1839"/>
                </a:cubicBezTo>
                <a:cubicBezTo>
                  <a:pt x="634" y="1839"/>
                  <a:pt x="634" y="1839"/>
                  <a:pt x="634" y="1839"/>
                </a:cubicBezTo>
                <a:cubicBezTo>
                  <a:pt x="634" y="1839"/>
                  <a:pt x="635" y="1839"/>
                  <a:pt x="636" y="1840"/>
                </a:cubicBezTo>
                <a:cubicBezTo>
                  <a:pt x="636" y="1840"/>
                  <a:pt x="636" y="1840"/>
                  <a:pt x="636" y="1840"/>
                </a:cubicBezTo>
                <a:cubicBezTo>
                  <a:pt x="638" y="1841"/>
                  <a:pt x="639" y="1843"/>
                  <a:pt x="639" y="1844"/>
                </a:cubicBezTo>
                <a:cubicBezTo>
                  <a:pt x="640" y="1845"/>
                  <a:pt x="640" y="1847"/>
                  <a:pt x="639" y="1849"/>
                </a:cubicBezTo>
                <a:cubicBezTo>
                  <a:pt x="638" y="1850"/>
                  <a:pt x="638" y="1850"/>
                  <a:pt x="638" y="1850"/>
                </a:cubicBezTo>
                <a:cubicBezTo>
                  <a:pt x="637" y="1854"/>
                  <a:pt x="633" y="1858"/>
                  <a:pt x="631" y="1862"/>
                </a:cubicBezTo>
                <a:cubicBezTo>
                  <a:pt x="631" y="1862"/>
                  <a:pt x="631" y="1862"/>
                  <a:pt x="631" y="1862"/>
                </a:cubicBezTo>
                <a:cubicBezTo>
                  <a:pt x="625" y="1873"/>
                  <a:pt x="625" y="1873"/>
                  <a:pt x="625" y="1873"/>
                </a:cubicBezTo>
                <a:cubicBezTo>
                  <a:pt x="624" y="1874"/>
                  <a:pt x="623" y="1876"/>
                  <a:pt x="621" y="1878"/>
                </a:cubicBezTo>
                <a:cubicBezTo>
                  <a:pt x="618" y="1879"/>
                  <a:pt x="616" y="1881"/>
                  <a:pt x="613" y="1882"/>
                </a:cubicBezTo>
                <a:cubicBezTo>
                  <a:pt x="612" y="1882"/>
                  <a:pt x="611" y="1883"/>
                  <a:pt x="610" y="1883"/>
                </a:cubicBezTo>
                <a:cubicBezTo>
                  <a:pt x="610" y="1883"/>
                  <a:pt x="609" y="1883"/>
                  <a:pt x="609" y="1884"/>
                </a:cubicBezTo>
                <a:cubicBezTo>
                  <a:pt x="609" y="1884"/>
                  <a:pt x="609" y="1884"/>
                  <a:pt x="609" y="1884"/>
                </a:cubicBezTo>
                <a:cubicBezTo>
                  <a:pt x="607" y="1884"/>
                  <a:pt x="605" y="1885"/>
                  <a:pt x="603" y="1885"/>
                </a:cubicBezTo>
                <a:cubicBezTo>
                  <a:pt x="599" y="1886"/>
                  <a:pt x="596" y="1886"/>
                  <a:pt x="59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82" y="1886"/>
                  <a:pt x="582" y="1886"/>
                  <a:pt x="582" y="1886"/>
                </a:cubicBezTo>
                <a:cubicBezTo>
                  <a:pt x="570" y="1886"/>
                  <a:pt x="557" y="1886"/>
                  <a:pt x="545" y="1886"/>
                </a:cubicBezTo>
                <a:cubicBezTo>
                  <a:pt x="540" y="1886"/>
                  <a:pt x="528" y="1885"/>
                  <a:pt x="527" y="1878"/>
                </a:cubicBezTo>
                <a:cubicBezTo>
                  <a:pt x="527" y="1877"/>
                  <a:pt x="527" y="1876"/>
                  <a:pt x="527" y="1875"/>
                </a:cubicBezTo>
                <a:close/>
                <a:moveTo>
                  <a:pt x="545" y="2017"/>
                </a:moveTo>
                <a:cubicBezTo>
                  <a:pt x="545" y="2017"/>
                  <a:pt x="545" y="2017"/>
                  <a:pt x="545" y="2017"/>
                </a:cubicBezTo>
                <a:cubicBezTo>
                  <a:pt x="543" y="2024"/>
                  <a:pt x="538" y="2031"/>
                  <a:pt x="534" y="2038"/>
                </a:cubicBezTo>
                <a:cubicBezTo>
                  <a:pt x="534" y="2038"/>
                  <a:pt x="534" y="2038"/>
                  <a:pt x="534" y="2038"/>
                </a:cubicBezTo>
                <a:cubicBezTo>
                  <a:pt x="530" y="2045"/>
                  <a:pt x="527" y="2053"/>
                  <a:pt x="521" y="2060"/>
                </a:cubicBezTo>
                <a:cubicBezTo>
                  <a:pt x="521" y="2061"/>
                  <a:pt x="520" y="2061"/>
                  <a:pt x="520" y="2062"/>
                </a:cubicBezTo>
                <a:cubicBezTo>
                  <a:pt x="520" y="2062"/>
                  <a:pt x="520" y="2062"/>
                  <a:pt x="520" y="2062"/>
                </a:cubicBezTo>
                <a:cubicBezTo>
                  <a:pt x="519" y="2063"/>
                  <a:pt x="518" y="2064"/>
                  <a:pt x="517" y="2064"/>
                </a:cubicBezTo>
                <a:cubicBezTo>
                  <a:pt x="517" y="2065"/>
                  <a:pt x="517" y="2065"/>
                  <a:pt x="516" y="2065"/>
                </a:cubicBezTo>
                <a:cubicBezTo>
                  <a:pt x="516" y="2065"/>
                  <a:pt x="516" y="2066"/>
                  <a:pt x="516" y="2066"/>
                </a:cubicBezTo>
                <a:cubicBezTo>
                  <a:pt x="510" y="2071"/>
                  <a:pt x="503" y="2074"/>
                  <a:pt x="496" y="2076"/>
                </a:cubicBezTo>
                <a:cubicBezTo>
                  <a:pt x="495" y="2076"/>
                  <a:pt x="494" y="2076"/>
                  <a:pt x="493" y="2077"/>
                </a:cubicBezTo>
                <a:cubicBezTo>
                  <a:pt x="489" y="2078"/>
                  <a:pt x="484" y="2078"/>
                  <a:pt x="480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76" y="2078"/>
                  <a:pt x="476" y="2078"/>
                  <a:pt x="476" y="2078"/>
                </a:cubicBezTo>
                <a:cubicBezTo>
                  <a:pt x="458" y="2078"/>
                  <a:pt x="439" y="2078"/>
                  <a:pt x="421" y="2079"/>
                </a:cubicBezTo>
                <a:cubicBezTo>
                  <a:pt x="419" y="2079"/>
                  <a:pt x="418" y="2078"/>
                  <a:pt x="416" y="2078"/>
                </a:cubicBezTo>
                <a:cubicBezTo>
                  <a:pt x="414" y="2078"/>
                  <a:pt x="412" y="2078"/>
                  <a:pt x="410" y="2077"/>
                </a:cubicBezTo>
                <a:cubicBezTo>
                  <a:pt x="406" y="2076"/>
                  <a:pt x="404" y="2074"/>
                  <a:pt x="402" y="2072"/>
                </a:cubicBezTo>
                <a:cubicBezTo>
                  <a:pt x="401" y="2070"/>
                  <a:pt x="400" y="2068"/>
                  <a:pt x="400" y="2066"/>
                </a:cubicBezTo>
                <a:cubicBezTo>
                  <a:pt x="400" y="2064"/>
                  <a:pt x="401" y="2062"/>
                  <a:pt x="402" y="2060"/>
                </a:cubicBezTo>
                <a:cubicBezTo>
                  <a:pt x="402" y="2059"/>
                  <a:pt x="402" y="2059"/>
                  <a:pt x="403" y="2059"/>
                </a:cubicBezTo>
                <a:cubicBezTo>
                  <a:pt x="403" y="2058"/>
                  <a:pt x="403" y="2058"/>
                  <a:pt x="403" y="2058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4" y="2057"/>
                  <a:pt x="404" y="2057"/>
                  <a:pt x="404" y="2057"/>
                </a:cubicBezTo>
                <a:cubicBezTo>
                  <a:pt x="409" y="2050"/>
                  <a:pt x="413" y="2043"/>
                  <a:pt x="418" y="2035"/>
                </a:cubicBezTo>
                <a:cubicBezTo>
                  <a:pt x="422" y="2030"/>
                  <a:pt x="425" y="2024"/>
                  <a:pt x="430" y="2019"/>
                </a:cubicBezTo>
                <a:cubicBezTo>
                  <a:pt x="430" y="2018"/>
                  <a:pt x="431" y="2018"/>
                  <a:pt x="431" y="2017"/>
                </a:cubicBezTo>
                <a:cubicBezTo>
                  <a:pt x="431" y="2017"/>
                  <a:pt x="432" y="2017"/>
                  <a:pt x="432" y="2017"/>
                </a:cubicBezTo>
                <a:cubicBezTo>
                  <a:pt x="433" y="2016"/>
                  <a:pt x="434" y="2015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35" y="2014"/>
                  <a:pt x="435" y="2014"/>
                  <a:pt x="435" y="2014"/>
                </a:cubicBezTo>
                <a:cubicBezTo>
                  <a:pt x="441" y="2009"/>
                  <a:pt x="449" y="2006"/>
                  <a:pt x="457" y="2004"/>
                </a:cubicBezTo>
                <a:cubicBezTo>
                  <a:pt x="457" y="2004"/>
                  <a:pt x="457" y="2004"/>
                  <a:pt x="457" y="2004"/>
                </a:cubicBezTo>
                <a:cubicBezTo>
                  <a:pt x="457" y="2004"/>
                  <a:pt x="458" y="2004"/>
                  <a:pt x="458" y="2004"/>
                </a:cubicBezTo>
                <a:cubicBezTo>
                  <a:pt x="459" y="2004"/>
                  <a:pt x="461" y="2004"/>
                  <a:pt x="462" y="2004"/>
                </a:cubicBezTo>
                <a:cubicBezTo>
                  <a:pt x="463" y="2003"/>
                  <a:pt x="464" y="2003"/>
                  <a:pt x="465" y="2003"/>
                </a:cubicBezTo>
                <a:cubicBezTo>
                  <a:pt x="466" y="2003"/>
                  <a:pt x="467" y="2003"/>
                  <a:pt x="468" y="2003"/>
                </a:cubicBezTo>
                <a:cubicBezTo>
                  <a:pt x="468" y="2003"/>
                  <a:pt x="469" y="2003"/>
                  <a:pt x="470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71" y="2003"/>
                  <a:pt x="471" y="2003"/>
                  <a:pt x="471" y="2003"/>
                </a:cubicBezTo>
                <a:cubicBezTo>
                  <a:pt x="488" y="2003"/>
                  <a:pt x="504" y="2003"/>
                  <a:pt x="521" y="2003"/>
                </a:cubicBezTo>
                <a:cubicBezTo>
                  <a:pt x="521" y="2003"/>
                  <a:pt x="521" y="2003"/>
                  <a:pt x="521" y="2003"/>
                </a:cubicBezTo>
                <a:cubicBezTo>
                  <a:pt x="524" y="2003"/>
                  <a:pt x="524" y="2003"/>
                  <a:pt x="524" y="2003"/>
                </a:cubicBezTo>
                <a:cubicBezTo>
                  <a:pt x="528" y="2003"/>
                  <a:pt x="532" y="2003"/>
                  <a:pt x="535" y="2004"/>
                </a:cubicBezTo>
                <a:cubicBezTo>
                  <a:pt x="536" y="2004"/>
                  <a:pt x="536" y="2005"/>
                  <a:pt x="537" y="2005"/>
                </a:cubicBezTo>
                <a:cubicBezTo>
                  <a:pt x="537" y="2005"/>
                  <a:pt x="538" y="2005"/>
                  <a:pt x="538" y="2006"/>
                </a:cubicBezTo>
                <a:cubicBezTo>
                  <a:pt x="538" y="2006"/>
                  <a:pt x="539" y="2006"/>
                  <a:pt x="539" y="2006"/>
                </a:cubicBezTo>
                <a:cubicBezTo>
                  <a:pt x="543" y="2008"/>
                  <a:pt x="546" y="2012"/>
                  <a:pt x="545" y="2017"/>
                </a:cubicBezTo>
                <a:close/>
                <a:moveTo>
                  <a:pt x="579" y="1956"/>
                </a:move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8" y="1957"/>
                  <a:pt x="578" y="1958"/>
                  <a:pt x="577" y="1959"/>
                </a:cubicBezTo>
                <a:cubicBezTo>
                  <a:pt x="577" y="1959"/>
                  <a:pt x="577" y="1960"/>
                  <a:pt x="577" y="1960"/>
                </a:cubicBezTo>
                <a:cubicBezTo>
                  <a:pt x="572" y="1964"/>
                  <a:pt x="566" y="1968"/>
                  <a:pt x="560" y="1970"/>
                </a:cubicBezTo>
                <a:cubicBezTo>
                  <a:pt x="560" y="1970"/>
                  <a:pt x="560" y="1970"/>
                  <a:pt x="560" y="1970"/>
                </a:cubicBezTo>
                <a:cubicBezTo>
                  <a:pt x="559" y="1970"/>
                  <a:pt x="558" y="1970"/>
                  <a:pt x="557" y="1971"/>
                </a:cubicBezTo>
                <a:cubicBezTo>
                  <a:pt x="556" y="1971"/>
                  <a:pt x="556" y="1971"/>
                  <a:pt x="555" y="1971"/>
                </a:cubicBezTo>
                <a:cubicBezTo>
                  <a:pt x="554" y="1971"/>
                  <a:pt x="554" y="1971"/>
                  <a:pt x="553" y="1971"/>
                </a:cubicBezTo>
                <a:cubicBezTo>
                  <a:pt x="550" y="1972"/>
                  <a:pt x="546" y="1973"/>
                  <a:pt x="542" y="1973"/>
                </a:cubicBezTo>
                <a:cubicBezTo>
                  <a:pt x="541" y="1973"/>
                  <a:pt x="541" y="1973"/>
                  <a:pt x="541" y="1973"/>
                </a:cubicBezTo>
                <a:cubicBezTo>
                  <a:pt x="534" y="1973"/>
                  <a:pt x="527" y="1973"/>
                  <a:pt x="520" y="1973"/>
                </a:cubicBezTo>
                <a:cubicBezTo>
                  <a:pt x="510" y="1973"/>
                  <a:pt x="499" y="1973"/>
                  <a:pt x="489" y="1973"/>
                </a:cubicBezTo>
                <a:cubicBezTo>
                  <a:pt x="488" y="1973"/>
                  <a:pt x="486" y="1973"/>
                  <a:pt x="484" y="1973"/>
                </a:cubicBezTo>
                <a:cubicBezTo>
                  <a:pt x="484" y="1973"/>
                  <a:pt x="484" y="1973"/>
                  <a:pt x="483" y="1973"/>
                </a:cubicBezTo>
                <a:cubicBezTo>
                  <a:pt x="482" y="1972"/>
                  <a:pt x="480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9" y="1972"/>
                  <a:pt x="479" y="1972"/>
                  <a:pt x="479" y="1972"/>
                </a:cubicBezTo>
                <a:cubicBezTo>
                  <a:pt x="474" y="1970"/>
                  <a:pt x="470" y="1968"/>
                  <a:pt x="470" y="1963"/>
                </a:cubicBezTo>
                <a:cubicBezTo>
                  <a:pt x="470" y="1962"/>
                  <a:pt x="470" y="1961"/>
                  <a:pt x="470" y="1960"/>
                </a:cubicBezTo>
                <a:cubicBezTo>
                  <a:pt x="470" y="1960"/>
                  <a:pt x="470" y="1959"/>
                  <a:pt x="471" y="1959"/>
                </a:cubicBezTo>
                <a:cubicBezTo>
                  <a:pt x="471" y="1958"/>
                  <a:pt x="471" y="1957"/>
                  <a:pt x="472" y="1957"/>
                </a:cubicBezTo>
                <a:cubicBezTo>
                  <a:pt x="472" y="1957"/>
                  <a:pt x="472" y="1956"/>
                  <a:pt x="472" y="1956"/>
                </a:cubicBezTo>
                <a:cubicBezTo>
                  <a:pt x="472" y="1956"/>
                  <a:pt x="472" y="1956"/>
                  <a:pt x="472" y="1956"/>
                </a:cubicBezTo>
                <a:cubicBezTo>
                  <a:pt x="473" y="1955"/>
                  <a:pt x="474" y="1954"/>
                  <a:pt x="474" y="1953"/>
                </a:cubicBezTo>
                <a:cubicBezTo>
                  <a:pt x="479" y="1945"/>
                  <a:pt x="485" y="1938"/>
                  <a:pt x="490" y="1930"/>
                </a:cubicBezTo>
                <a:cubicBezTo>
                  <a:pt x="490" y="1930"/>
                  <a:pt x="490" y="1930"/>
                  <a:pt x="490" y="1930"/>
                </a:cubicBezTo>
                <a:cubicBezTo>
                  <a:pt x="492" y="1927"/>
                  <a:pt x="492" y="1927"/>
                  <a:pt x="492" y="1927"/>
                </a:cubicBezTo>
                <a:cubicBezTo>
                  <a:pt x="493" y="1925"/>
                  <a:pt x="495" y="1923"/>
                  <a:pt x="498" y="1921"/>
                </a:cubicBezTo>
                <a:cubicBezTo>
                  <a:pt x="499" y="1920"/>
                  <a:pt x="501" y="1919"/>
                  <a:pt x="503" y="1918"/>
                </a:cubicBezTo>
                <a:cubicBezTo>
                  <a:pt x="504" y="1918"/>
                  <a:pt x="505" y="1917"/>
                  <a:pt x="506" y="1917"/>
                </a:cubicBezTo>
                <a:cubicBezTo>
                  <a:pt x="506" y="1917"/>
                  <a:pt x="506" y="1917"/>
                  <a:pt x="507" y="1917"/>
                </a:cubicBezTo>
                <a:cubicBezTo>
                  <a:pt x="507" y="1917"/>
                  <a:pt x="507" y="1916"/>
                  <a:pt x="507" y="1916"/>
                </a:cubicBezTo>
                <a:cubicBezTo>
                  <a:pt x="508" y="1916"/>
                  <a:pt x="508" y="1916"/>
                  <a:pt x="508" y="1916"/>
                </a:cubicBezTo>
                <a:cubicBezTo>
                  <a:pt x="511" y="1915"/>
                  <a:pt x="514" y="1914"/>
                  <a:pt x="517" y="1913"/>
                </a:cubicBezTo>
                <a:cubicBezTo>
                  <a:pt x="521" y="1913"/>
                  <a:pt x="525" y="1912"/>
                  <a:pt x="528" y="1912"/>
                </a:cubicBezTo>
                <a:cubicBezTo>
                  <a:pt x="538" y="1912"/>
                  <a:pt x="538" y="1912"/>
                  <a:pt x="538" y="1912"/>
                </a:cubicBezTo>
                <a:cubicBezTo>
                  <a:pt x="541" y="1912"/>
                  <a:pt x="543" y="1912"/>
                  <a:pt x="545" y="1912"/>
                </a:cubicBezTo>
                <a:cubicBezTo>
                  <a:pt x="555" y="1912"/>
                  <a:pt x="564" y="1912"/>
                  <a:pt x="573" y="1912"/>
                </a:cubicBezTo>
                <a:cubicBezTo>
                  <a:pt x="573" y="1912"/>
                  <a:pt x="573" y="1912"/>
                  <a:pt x="573" y="1912"/>
                </a:cubicBezTo>
                <a:cubicBezTo>
                  <a:pt x="577" y="1912"/>
                  <a:pt x="577" y="1912"/>
                  <a:pt x="577" y="1912"/>
                </a:cubicBezTo>
                <a:cubicBezTo>
                  <a:pt x="581" y="1912"/>
                  <a:pt x="584" y="1913"/>
                  <a:pt x="587" y="1913"/>
                </a:cubicBezTo>
                <a:cubicBezTo>
                  <a:pt x="589" y="1914"/>
                  <a:pt x="590" y="1915"/>
                  <a:pt x="592" y="1915"/>
                </a:cubicBezTo>
                <a:cubicBezTo>
                  <a:pt x="596" y="1918"/>
                  <a:pt x="599" y="1921"/>
                  <a:pt x="595" y="1927"/>
                </a:cubicBezTo>
                <a:cubicBezTo>
                  <a:pt x="592" y="1934"/>
                  <a:pt x="588" y="1941"/>
                  <a:pt x="584" y="1948"/>
                </a:cubicBezTo>
                <a:cubicBezTo>
                  <a:pt x="579" y="1956"/>
                  <a:pt x="579" y="1956"/>
                  <a:pt x="579" y="1956"/>
                </a:cubicBezTo>
                <a:cubicBezTo>
                  <a:pt x="579" y="1956"/>
                  <a:pt x="579" y="1956"/>
                  <a:pt x="579" y="1956"/>
                </a:cubicBezTo>
                <a:close/>
                <a:moveTo>
                  <a:pt x="1064" y="2056"/>
                </a:moveTo>
                <a:cubicBezTo>
                  <a:pt x="1064" y="2057"/>
                  <a:pt x="1064" y="2059"/>
                  <a:pt x="1064" y="2060"/>
                </a:cubicBezTo>
                <a:cubicBezTo>
                  <a:pt x="1064" y="2060"/>
                  <a:pt x="1064" y="2060"/>
                  <a:pt x="1064" y="2061"/>
                </a:cubicBezTo>
                <a:cubicBezTo>
                  <a:pt x="1063" y="2062"/>
                  <a:pt x="1063" y="2063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2" y="2064"/>
                  <a:pt x="1062" y="2064"/>
                  <a:pt x="1062" y="2064"/>
                </a:cubicBezTo>
                <a:cubicBezTo>
                  <a:pt x="1061" y="2065"/>
                  <a:pt x="1060" y="2066"/>
                  <a:pt x="1059" y="2067"/>
                </a:cubicBezTo>
                <a:cubicBezTo>
                  <a:pt x="1059" y="2067"/>
                  <a:pt x="1059" y="2067"/>
                  <a:pt x="1059" y="2068"/>
                </a:cubicBezTo>
                <a:cubicBezTo>
                  <a:pt x="1058" y="2069"/>
                  <a:pt x="1057" y="2069"/>
                  <a:pt x="1056" y="2070"/>
                </a:cubicBezTo>
                <a:cubicBezTo>
                  <a:pt x="1056" y="2070"/>
                  <a:pt x="1055" y="2071"/>
                  <a:pt x="1055" y="2071"/>
                </a:cubicBezTo>
                <a:cubicBezTo>
                  <a:pt x="1055" y="2071"/>
                  <a:pt x="1055" y="2071"/>
                  <a:pt x="1055" y="2071"/>
                </a:cubicBezTo>
                <a:cubicBezTo>
                  <a:pt x="1053" y="2072"/>
                  <a:pt x="1052" y="2072"/>
                  <a:pt x="1051" y="2073"/>
                </a:cubicBezTo>
                <a:cubicBezTo>
                  <a:pt x="1051" y="2073"/>
                  <a:pt x="1051" y="2073"/>
                  <a:pt x="1050" y="2073"/>
                </a:cubicBezTo>
                <a:cubicBezTo>
                  <a:pt x="1049" y="2074"/>
                  <a:pt x="1048" y="2074"/>
                  <a:pt x="1047" y="2074"/>
                </a:cubicBezTo>
                <a:cubicBezTo>
                  <a:pt x="1047" y="2075"/>
                  <a:pt x="1046" y="2075"/>
                  <a:pt x="1046" y="2075"/>
                </a:cubicBezTo>
                <a:cubicBezTo>
                  <a:pt x="1046" y="2075"/>
                  <a:pt x="1045" y="2075"/>
                  <a:pt x="1045" y="2075"/>
                </a:cubicBezTo>
                <a:cubicBezTo>
                  <a:pt x="1045" y="2075"/>
                  <a:pt x="1045" y="2075"/>
                  <a:pt x="1044" y="2075"/>
                </a:cubicBezTo>
                <a:cubicBezTo>
                  <a:pt x="1043" y="2076"/>
                  <a:pt x="1042" y="2076"/>
                  <a:pt x="1041" y="2076"/>
                </a:cubicBezTo>
                <a:cubicBezTo>
                  <a:pt x="1039" y="2076"/>
                  <a:pt x="1038" y="2076"/>
                  <a:pt x="1037" y="2077"/>
                </a:cubicBezTo>
                <a:cubicBezTo>
                  <a:pt x="1036" y="2077"/>
                  <a:pt x="1035" y="2077"/>
                  <a:pt x="1034" y="2077"/>
                </a:cubicBezTo>
                <a:cubicBezTo>
                  <a:pt x="1033" y="2077"/>
                  <a:pt x="1033" y="2077"/>
                  <a:pt x="1033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31" y="2077"/>
                  <a:pt x="1031" y="2077"/>
                  <a:pt x="1031" y="2077"/>
                </a:cubicBezTo>
                <a:cubicBezTo>
                  <a:pt x="1025" y="2077"/>
                  <a:pt x="1018" y="2077"/>
                  <a:pt x="1011" y="2077"/>
                </a:cubicBezTo>
                <a:cubicBezTo>
                  <a:pt x="981" y="2077"/>
                  <a:pt x="630" y="2078"/>
                  <a:pt x="605" y="2078"/>
                </a:cubicBezTo>
                <a:cubicBezTo>
                  <a:pt x="604" y="2078"/>
                  <a:pt x="602" y="2078"/>
                  <a:pt x="600" y="2078"/>
                </a:cubicBezTo>
                <a:cubicBezTo>
                  <a:pt x="598" y="2077"/>
                  <a:pt x="596" y="2077"/>
                  <a:pt x="594" y="2076"/>
                </a:cubicBezTo>
                <a:cubicBezTo>
                  <a:pt x="590" y="2075"/>
                  <a:pt x="588" y="2074"/>
                  <a:pt x="586" y="2072"/>
                </a:cubicBezTo>
                <a:cubicBezTo>
                  <a:pt x="584" y="2070"/>
                  <a:pt x="583" y="2068"/>
                  <a:pt x="582" y="2065"/>
                </a:cubicBezTo>
                <a:cubicBezTo>
                  <a:pt x="582" y="2063"/>
                  <a:pt x="582" y="2060"/>
                  <a:pt x="584" y="2057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4" y="2056"/>
                  <a:pt x="584" y="2056"/>
                  <a:pt x="584" y="2056"/>
                </a:cubicBezTo>
                <a:cubicBezTo>
                  <a:pt x="588" y="2048"/>
                  <a:pt x="592" y="2040"/>
                  <a:pt x="596" y="2031"/>
                </a:cubicBezTo>
                <a:cubicBezTo>
                  <a:pt x="597" y="2030"/>
                  <a:pt x="598" y="2029"/>
                  <a:pt x="598" y="2027"/>
                </a:cubicBezTo>
                <a:cubicBezTo>
                  <a:pt x="601" y="2021"/>
                  <a:pt x="601" y="2021"/>
                  <a:pt x="601" y="2021"/>
                </a:cubicBezTo>
                <a:cubicBezTo>
                  <a:pt x="603" y="2018"/>
                  <a:pt x="605" y="2016"/>
                  <a:pt x="607" y="2014"/>
                </a:cubicBezTo>
                <a:cubicBezTo>
                  <a:pt x="608" y="2013"/>
                  <a:pt x="609" y="2013"/>
                  <a:pt x="609" y="2012"/>
                </a:cubicBezTo>
                <a:cubicBezTo>
                  <a:pt x="610" y="2012"/>
                  <a:pt x="610" y="2012"/>
                  <a:pt x="610" y="2011"/>
                </a:cubicBezTo>
                <a:cubicBezTo>
                  <a:pt x="611" y="2011"/>
                  <a:pt x="612" y="2011"/>
                  <a:pt x="612" y="2010"/>
                </a:cubicBezTo>
                <a:cubicBezTo>
                  <a:pt x="612" y="2010"/>
                  <a:pt x="612" y="2010"/>
                  <a:pt x="613" y="2010"/>
                </a:cubicBezTo>
                <a:cubicBezTo>
                  <a:pt x="613" y="2010"/>
                  <a:pt x="613" y="2010"/>
                  <a:pt x="614" y="2009"/>
                </a:cubicBezTo>
                <a:cubicBezTo>
                  <a:pt x="615" y="2009"/>
                  <a:pt x="616" y="2008"/>
                  <a:pt x="617" y="2008"/>
                </a:cubicBezTo>
                <a:cubicBezTo>
                  <a:pt x="617" y="2008"/>
                  <a:pt x="618" y="2007"/>
                  <a:pt x="618" y="2007"/>
                </a:cubicBezTo>
                <a:cubicBezTo>
                  <a:pt x="619" y="2007"/>
                  <a:pt x="620" y="2007"/>
                  <a:pt x="621" y="2006"/>
                </a:cubicBezTo>
                <a:cubicBezTo>
                  <a:pt x="622" y="2006"/>
                  <a:pt x="623" y="2005"/>
                  <a:pt x="625" y="2005"/>
                </a:cubicBezTo>
                <a:cubicBezTo>
                  <a:pt x="625" y="2005"/>
                  <a:pt x="626" y="2004"/>
                  <a:pt x="627" y="2004"/>
                </a:cubicBezTo>
                <a:cubicBezTo>
                  <a:pt x="627" y="2004"/>
                  <a:pt x="628" y="2004"/>
                  <a:pt x="628" y="2004"/>
                </a:cubicBezTo>
                <a:cubicBezTo>
                  <a:pt x="632" y="2003"/>
                  <a:pt x="636" y="2002"/>
                  <a:pt x="640" y="2002"/>
                </a:cubicBezTo>
                <a:cubicBezTo>
                  <a:pt x="640" y="2002"/>
                  <a:pt x="1008" y="2001"/>
                  <a:pt x="1021" y="2001"/>
                </a:cubicBezTo>
                <a:cubicBezTo>
                  <a:pt x="1026" y="2001"/>
                  <a:pt x="1030" y="2001"/>
                  <a:pt x="1034" y="2001"/>
                </a:cubicBezTo>
                <a:cubicBezTo>
                  <a:pt x="1036" y="2001"/>
                  <a:pt x="1038" y="2002"/>
                  <a:pt x="1040" y="2002"/>
                </a:cubicBezTo>
                <a:cubicBezTo>
                  <a:pt x="1040" y="2002"/>
                  <a:pt x="1040" y="2002"/>
                  <a:pt x="1041" y="2002"/>
                </a:cubicBezTo>
                <a:cubicBezTo>
                  <a:pt x="1042" y="2002"/>
                  <a:pt x="1044" y="2002"/>
                  <a:pt x="1045" y="2003"/>
                </a:cubicBezTo>
                <a:cubicBezTo>
                  <a:pt x="1045" y="2003"/>
                  <a:pt x="1046" y="2003"/>
                  <a:pt x="1046" y="2003"/>
                </a:cubicBezTo>
                <a:cubicBezTo>
                  <a:pt x="1046" y="2003"/>
                  <a:pt x="1046" y="2003"/>
                  <a:pt x="1046" y="2003"/>
                </a:cubicBezTo>
                <a:cubicBezTo>
                  <a:pt x="1048" y="2003"/>
                  <a:pt x="1049" y="2004"/>
                  <a:pt x="1050" y="2004"/>
                </a:cubicBezTo>
                <a:cubicBezTo>
                  <a:pt x="1050" y="2004"/>
                  <a:pt x="1051" y="2005"/>
                  <a:pt x="1051" y="2005"/>
                </a:cubicBezTo>
                <a:cubicBezTo>
                  <a:pt x="1052" y="2005"/>
                  <a:pt x="1053" y="2006"/>
                  <a:pt x="1054" y="2006"/>
                </a:cubicBezTo>
                <a:cubicBezTo>
                  <a:pt x="1055" y="2006"/>
                  <a:pt x="1055" y="2007"/>
                  <a:pt x="1055" y="2007"/>
                </a:cubicBezTo>
                <a:cubicBezTo>
                  <a:pt x="1055" y="2007"/>
                  <a:pt x="1055" y="2007"/>
                  <a:pt x="1056" y="2007"/>
                </a:cubicBezTo>
                <a:cubicBezTo>
                  <a:pt x="1056" y="2008"/>
                  <a:pt x="1057" y="2008"/>
                  <a:pt x="1058" y="2009"/>
                </a:cubicBezTo>
                <a:cubicBezTo>
                  <a:pt x="1059" y="2010"/>
                  <a:pt x="1061" y="2011"/>
                  <a:pt x="1061" y="2013"/>
                </a:cubicBezTo>
                <a:cubicBezTo>
                  <a:pt x="1063" y="2015"/>
                  <a:pt x="1064" y="2017"/>
                  <a:pt x="1064" y="2020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22"/>
                  <a:pt x="1064" y="2022"/>
                  <a:pt x="1064" y="2022"/>
                </a:cubicBezTo>
                <a:cubicBezTo>
                  <a:pt x="1064" y="2031"/>
                  <a:pt x="1064" y="2040"/>
                  <a:pt x="1064" y="2049"/>
                </a:cubicBezTo>
                <a:cubicBezTo>
                  <a:pt x="1064" y="2051"/>
                  <a:pt x="1064" y="2054"/>
                  <a:pt x="1064" y="2056"/>
                </a:cubicBezTo>
                <a:close/>
                <a:moveTo>
                  <a:pt x="1114" y="1878"/>
                </a:moveTo>
                <a:cubicBezTo>
                  <a:pt x="1114" y="1878"/>
                  <a:pt x="1114" y="1877"/>
                  <a:pt x="1113" y="1877"/>
                </a:cubicBezTo>
                <a:cubicBezTo>
                  <a:pt x="1113" y="1877"/>
                  <a:pt x="1113" y="1877"/>
                  <a:pt x="1113" y="1877"/>
                </a:cubicBezTo>
                <a:cubicBezTo>
                  <a:pt x="1112" y="1875"/>
                  <a:pt x="1111" y="1873"/>
                  <a:pt x="1111" y="1871"/>
                </a:cubicBezTo>
                <a:cubicBezTo>
                  <a:pt x="1111" y="1870"/>
                  <a:pt x="1111" y="1870"/>
                  <a:pt x="1111" y="1870"/>
                </a:cubicBezTo>
                <a:cubicBezTo>
                  <a:pt x="1110" y="1868"/>
                  <a:pt x="1110" y="1867"/>
                  <a:pt x="1110" y="1866"/>
                </a:cubicBezTo>
                <a:cubicBezTo>
                  <a:pt x="1110" y="1866"/>
                  <a:pt x="1110" y="1866"/>
                  <a:pt x="1110" y="1866"/>
                </a:cubicBezTo>
                <a:cubicBezTo>
                  <a:pt x="1110" y="1861"/>
                  <a:pt x="1109" y="1855"/>
                  <a:pt x="1109" y="1849"/>
                </a:cubicBezTo>
                <a:cubicBezTo>
                  <a:pt x="1109" y="1848"/>
                  <a:pt x="1109" y="1848"/>
                  <a:pt x="1109" y="1848"/>
                </a:cubicBezTo>
                <a:cubicBezTo>
                  <a:pt x="1109" y="1846"/>
                  <a:pt x="1109" y="1844"/>
                  <a:pt x="1110" y="1843"/>
                </a:cubicBezTo>
                <a:cubicBezTo>
                  <a:pt x="1112" y="1841"/>
                  <a:pt x="1113" y="1840"/>
                  <a:pt x="1115" y="1839"/>
                </a:cubicBezTo>
                <a:cubicBezTo>
                  <a:pt x="1118" y="1838"/>
                  <a:pt x="1120" y="1837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3" y="1836"/>
                  <a:pt x="1123" y="1836"/>
                  <a:pt x="1123" y="1836"/>
                </a:cubicBezTo>
                <a:cubicBezTo>
                  <a:pt x="1124" y="1836"/>
                  <a:pt x="1125" y="1836"/>
                  <a:pt x="1126" y="1836"/>
                </a:cubicBezTo>
                <a:cubicBezTo>
                  <a:pt x="1127" y="1836"/>
                  <a:pt x="1127" y="1836"/>
                  <a:pt x="1128" y="1836"/>
                </a:cubicBezTo>
                <a:cubicBezTo>
                  <a:pt x="1133" y="1835"/>
                  <a:pt x="1138" y="1835"/>
                  <a:pt x="1143" y="1835"/>
                </a:cubicBezTo>
                <a:cubicBezTo>
                  <a:pt x="1176" y="1835"/>
                  <a:pt x="1176" y="1835"/>
                  <a:pt x="1176" y="1835"/>
                </a:cubicBezTo>
                <a:cubicBezTo>
                  <a:pt x="1178" y="1835"/>
                  <a:pt x="1180" y="1835"/>
                  <a:pt x="1182" y="1836"/>
                </a:cubicBezTo>
                <a:cubicBezTo>
                  <a:pt x="1191" y="1837"/>
                  <a:pt x="1201" y="1839"/>
                  <a:pt x="1203" y="1848"/>
                </a:cubicBezTo>
                <a:cubicBezTo>
                  <a:pt x="1205" y="1855"/>
                  <a:pt x="1206" y="1863"/>
                  <a:pt x="1207" y="1870"/>
                </a:cubicBezTo>
                <a:cubicBezTo>
                  <a:pt x="1207" y="1871"/>
                  <a:pt x="1207" y="1871"/>
                  <a:pt x="1207" y="1871"/>
                </a:cubicBezTo>
                <a:cubicBezTo>
                  <a:pt x="1208" y="1873"/>
                  <a:pt x="1207" y="1874"/>
                  <a:pt x="1207" y="1876"/>
                </a:cubicBezTo>
                <a:cubicBezTo>
                  <a:pt x="1207" y="1876"/>
                  <a:pt x="1207" y="1876"/>
                  <a:pt x="1206" y="1876"/>
                </a:cubicBezTo>
                <a:cubicBezTo>
                  <a:pt x="1206" y="1876"/>
                  <a:pt x="1206" y="1876"/>
                  <a:pt x="1206" y="1876"/>
                </a:cubicBezTo>
                <a:cubicBezTo>
                  <a:pt x="1206" y="1877"/>
                  <a:pt x="1206" y="1877"/>
                  <a:pt x="1206" y="1877"/>
                </a:cubicBezTo>
                <a:cubicBezTo>
                  <a:pt x="1204" y="1880"/>
                  <a:pt x="1200" y="1882"/>
                  <a:pt x="1195" y="1883"/>
                </a:cubicBezTo>
                <a:cubicBezTo>
                  <a:pt x="1195" y="1883"/>
                  <a:pt x="1195" y="1884"/>
                  <a:pt x="1194" y="1884"/>
                </a:cubicBezTo>
                <a:cubicBezTo>
                  <a:pt x="1194" y="1884"/>
                  <a:pt x="1193" y="1884"/>
                  <a:pt x="1193" y="1884"/>
                </a:cubicBezTo>
                <a:cubicBezTo>
                  <a:pt x="1192" y="1884"/>
                  <a:pt x="1192" y="1884"/>
                  <a:pt x="1192" y="1884"/>
                </a:cubicBezTo>
                <a:cubicBezTo>
                  <a:pt x="1191" y="1884"/>
                  <a:pt x="1190" y="1884"/>
                  <a:pt x="1189" y="1885"/>
                </a:cubicBezTo>
                <a:cubicBezTo>
                  <a:pt x="1178" y="1886"/>
                  <a:pt x="1164" y="1885"/>
                  <a:pt x="1158" y="1885"/>
                </a:cubicBezTo>
                <a:cubicBezTo>
                  <a:pt x="1137" y="1885"/>
                  <a:pt x="1137" y="1885"/>
                  <a:pt x="1137" y="1885"/>
                </a:cubicBezTo>
                <a:cubicBezTo>
                  <a:pt x="1135" y="1885"/>
                  <a:pt x="1134" y="1885"/>
                  <a:pt x="1132" y="1885"/>
                </a:cubicBezTo>
                <a:cubicBezTo>
                  <a:pt x="1131" y="1884"/>
                  <a:pt x="1130" y="1884"/>
                  <a:pt x="1128" y="1884"/>
                </a:cubicBezTo>
                <a:cubicBezTo>
                  <a:pt x="1128" y="1884"/>
                  <a:pt x="1128" y="1884"/>
                  <a:pt x="1127" y="1884"/>
                </a:cubicBezTo>
                <a:cubicBezTo>
                  <a:pt x="1127" y="1884"/>
                  <a:pt x="1127" y="1884"/>
                  <a:pt x="1127" y="1884"/>
                </a:cubicBezTo>
                <a:cubicBezTo>
                  <a:pt x="1126" y="1883"/>
                  <a:pt x="1125" y="1883"/>
                  <a:pt x="1123" y="1883"/>
                </a:cubicBezTo>
                <a:cubicBezTo>
                  <a:pt x="1123" y="1883"/>
                  <a:pt x="1122" y="1882"/>
                  <a:pt x="1122" y="1882"/>
                </a:cubicBezTo>
                <a:cubicBezTo>
                  <a:pt x="1121" y="1882"/>
                  <a:pt x="1120" y="1881"/>
                  <a:pt x="1119" y="1881"/>
                </a:cubicBezTo>
                <a:cubicBezTo>
                  <a:pt x="1117" y="1880"/>
                  <a:pt x="1116" y="1879"/>
                  <a:pt x="1115" y="1878"/>
                </a:cubicBezTo>
                <a:cubicBezTo>
                  <a:pt x="1115" y="1878"/>
                  <a:pt x="1114" y="1878"/>
                  <a:pt x="1114" y="1878"/>
                </a:cubicBezTo>
                <a:close/>
                <a:moveTo>
                  <a:pt x="1120" y="1961"/>
                </a:moveTo>
                <a:cubicBezTo>
                  <a:pt x="1118" y="1959"/>
                  <a:pt x="1117" y="1957"/>
                  <a:pt x="1117" y="1955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7" y="1952"/>
                  <a:pt x="1117" y="1952"/>
                  <a:pt x="1117" y="1952"/>
                </a:cubicBezTo>
                <a:cubicBezTo>
                  <a:pt x="1116" y="1943"/>
                  <a:pt x="1116" y="1935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6"/>
                  <a:pt x="1115" y="1926"/>
                  <a:pt x="1115" y="1926"/>
                </a:cubicBezTo>
                <a:cubicBezTo>
                  <a:pt x="1115" y="1925"/>
                  <a:pt x="1115" y="1925"/>
                  <a:pt x="1115" y="1924"/>
                </a:cubicBezTo>
                <a:cubicBezTo>
                  <a:pt x="1117" y="1906"/>
                  <a:pt x="1155" y="1911"/>
                  <a:pt x="1167" y="1911"/>
                </a:cubicBezTo>
                <a:cubicBezTo>
                  <a:pt x="1181" y="1911"/>
                  <a:pt x="1208" y="1907"/>
                  <a:pt x="1216" y="1921"/>
                </a:cubicBezTo>
                <a:cubicBezTo>
                  <a:pt x="1217" y="1923"/>
                  <a:pt x="1218" y="1924"/>
                  <a:pt x="1218" y="1925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27"/>
                  <a:pt x="1219" y="1927"/>
                  <a:pt x="1219" y="1927"/>
                </a:cubicBezTo>
                <a:cubicBezTo>
                  <a:pt x="1219" y="1931"/>
                  <a:pt x="1220" y="1936"/>
                  <a:pt x="1221" y="1940"/>
                </a:cubicBezTo>
                <a:cubicBezTo>
                  <a:pt x="1224" y="1955"/>
                  <a:pt x="1224" y="1955"/>
                  <a:pt x="1224" y="1955"/>
                </a:cubicBezTo>
                <a:cubicBezTo>
                  <a:pt x="1225" y="1957"/>
                  <a:pt x="1224" y="1959"/>
                  <a:pt x="1223" y="1961"/>
                </a:cubicBezTo>
                <a:cubicBezTo>
                  <a:pt x="1223" y="1962"/>
                  <a:pt x="1222" y="1963"/>
                  <a:pt x="1220" y="1964"/>
                </a:cubicBezTo>
                <a:cubicBezTo>
                  <a:pt x="1220" y="1965"/>
                  <a:pt x="1219" y="1965"/>
                  <a:pt x="1219" y="1966"/>
                </a:cubicBezTo>
                <a:cubicBezTo>
                  <a:pt x="1219" y="1966"/>
                  <a:pt x="1218" y="1966"/>
                  <a:pt x="1218" y="1966"/>
                </a:cubicBezTo>
                <a:cubicBezTo>
                  <a:pt x="1218" y="1966"/>
                  <a:pt x="1218" y="1966"/>
                  <a:pt x="1218" y="1967"/>
                </a:cubicBezTo>
                <a:cubicBezTo>
                  <a:pt x="1217" y="1967"/>
                  <a:pt x="1216" y="1967"/>
                  <a:pt x="1215" y="1968"/>
                </a:cubicBezTo>
                <a:cubicBezTo>
                  <a:pt x="1215" y="1968"/>
                  <a:pt x="1214" y="1968"/>
                  <a:pt x="1213" y="1969"/>
                </a:cubicBezTo>
                <a:cubicBezTo>
                  <a:pt x="1213" y="1969"/>
                  <a:pt x="1212" y="1969"/>
                  <a:pt x="1212" y="1969"/>
                </a:cubicBezTo>
                <a:cubicBezTo>
                  <a:pt x="1211" y="1969"/>
                  <a:pt x="1211" y="1970"/>
                  <a:pt x="1210" y="1970"/>
                </a:cubicBezTo>
                <a:cubicBezTo>
                  <a:pt x="1209" y="1970"/>
                  <a:pt x="1209" y="1970"/>
                  <a:pt x="1208" y="1970"/>
                </a:cubicBezTo>
                <a:cubicBezTo>
                  <a:pt x="1208" y="1970"/>
                  <a:pt x="1207" y="1970"/>
                  <a:pt x="1207" y="1970"/>
                </a:cubicBezTo>
                <a:cubicBezTo>
                  <a:pt x="1206" y="1971"/>
                  <a:pt x="1205" y="1971"/>
                  <a:pt x="1204" y="1971"/>
                </a:cubicBezTo>
                <a:cubicBezTo>
                  <a:pt x="1202" y="1971"/>
                  <a:pt x="1201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99" y="1971"/>
                  <a:pt x="1199" y="1971"/>
                  <a:pt x="1199" y="1971"/>
                </a:cubicBezTo>
                <a:cubicBezTo>
                  <a:pt x="1181" y="1971"/>
                  <a:pt x="1164" y="1971"/>
                  <a:pt x="1147" y="1971"/>
                </a:cubicBezTo>
                <a:cubicBezTo>
                  <a:pt x="1145" y="1971"/>
                  <a:pt x="1143" y="1971"/>
                  <a:pt x="1141" y="1971"/>
                </a:cubicBezTo>
                <a:cubicBezTo>
                  <a:pt x="1141" y="1971"/>
                  <a:pt x="1140" y="1971"/>
                  <a:pt x="1140" y="1971"/>
                </a:cubicBezTo>
                <a:cubicBezTo>
                  <a:pt x="1139" y="1971"/>
                  <a:pt x="1137" y="1970"/>
                  <a:pt x="1136" y="1970"/>
                </a:cubicBezTo>
                <a:cubicBezTo>
                  <a:pt x="1136" y="1970"/>
                  <a:pt x="1136" y="1970"/>
                  <a:pt x="1136" y="1970"/>
                </a:cubicBezTo>
                <a:cubicBezTo>
                  <a:pt x="1135" y="1970"/>
                  <a:pt x="1135" y="1970"/>
                  <a:pt x="1135" y="1970"/>
                </a:cubicBezTo>
                <a:cubicBezTo>
                  <a:pt x="1134" y="1969"/>
                  <a:pt x="1132" y="1969"/>
                  <a:pt x="1131" y="1969"/>
                </a:cubicBezTo>
                <a:cubicBezTo>
                  <a:pt x="1130" y="1968"/>
                  <a:pt x="1130" y="1968"/>
                  <a:pt x="1129" y="1968"/>
                </a:cubicBezTo>
                <a:cubicBezTo>
                  <a:pt x="1128" y="1967"/>
                  <a:pt x="1128" y="1967"/>
                  <a:pt x="1127" y="1967"/>
                </a:cubicBezTo>
                <a:cubicBezTo>
                  <a:pt x="1127" y="1967"/>
                  <a:pt x="1126" y="1967"/>
                  <a:pt x="1126" y="1966"/>
                </a:cubicBezTo>
                <a:cubicBezTo>
                  <a:pt x="1124" y="1965"/>
                  <a:pt x="1121" y="1963"/>
                  <a:pt x="1120" y="1961"/>
                </a:cubicBezTo>
                <a:close/>
                <a:moveTo>
                  <a:pt x="1244" y="2063"/>
                </a:moveTo>
                <a:cubicBezTo>
                  <a:pt x="1243" y="2066"/>
                  <a:pt x="1241" y="2068"/>
                  <a:pt x="1238" y="2070"/>
                </a:cubicBezTo>
                <a:cubicBezTo>
                  <a:pt x="1236" y="2072"/>
                  <a:pt x="1233" y="2074"/>
                  <a:pt x="1229" y="2075"/>
                </a:cubicBezTo>
                <a:cubicBezTo>
                  <a:pt x="1225" y="2076"/>
                  <a:pt x="1221" y="2076"/>
                  <a:pt x="1217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205" y="2076"/>
                  <a:pt x="1205" y="2076"/>
                  <a:pt x="1205" y="2076"/>
                </a:cubicBezTo>
                <a:cubicBezTo>
                  <a:pt x="1189" y="2076"/>
                  <a:pt x="1174" y="2076"/>
                  <a:pt x="1158" y="2077"/>
                </a:cubicBezTo>
                <a:cubicBezTo>
                  <a:pt x="1156" y="2077"/>
                  <a:pt x="1154" y="2076"/>
                  <a:pt x="1152" y="2076"/>
                </a:cubicBezTo>
                <a:cubicBezTo>
                  <a:pt x="1152" y="2076"/>
                  <a:pt x="1151" y="2076"/>
                  <a:pt x="1151" y="2076"/>
                </a:cubicBezTo>
                <a:cubicBezTo>
                  <a:pt x="1149" y="2076"/>
                  <a:pt x="1148" y="2075"/>
                  <a:pt x="1146" y="2075"/>
                </a:cubicBezTo>
                <a:cubicBezTo>
                  <a:pt x="1146" y="2075"/>
                  <a:pt x="1146" y="2075"/>
                  <a:pt x="1146" y="2075"/>
                </a:cubicBezTo>
                <a:cubicBezTo>
                  <a:pt x="1145" y="2075"/>
                  <a:pt x="1145" y="2075"/>
                  <a:pt x="1145" y="2075"/>
                </a:cubicBezTo>
                <a:cubicBezTo>
                  <a:pt x="1138" y="2073"/>
                  <a:pt x="1132" y="2069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8" y="2064"/>
                  <a:pt x="1128" y="2064"/>
                  <a:pt x="1128" y="2064"/>
                </a:cubicBezTo>
                <a:cubicBezTo>
                  <a:pt x="1127" y="2063"/>
                  <a:pt x="1126" y="2062"/>
                  <a:pt x="1126" y="2060"/>
                </a:cubicBezTo>
                <a:cubicBezTo>
                  <a:pt x="1126" y="2060"/>
                  <a:pt x="1126" y="2059"/>
                  <a:pt x="1125" y="2059"/>
                </a:cubicBezTo>
                <a:cubicBezTo>
                  <a:pt x="1125" y="2058"/>
                  <a:pt x="1125" y="2057"/>
                  <a:pt x="1125" y="2057"/>
                </a:cubicBezTo>
                <a:cubicBezTo>
                  <a:pt x="1125" y="2056"/>
                  <a:pt x="1125" y="2056"/>
                  <a:pt x="1125" y="2056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5" y="2055"/>
                  <a:pt x="1125" y="2055"/>
                  <a:pt x="1125" y="2055"/>
                </a:cubicBezTo>
                <a:cubicBezTo>
                  <a:pt x="1124" y="2046"/>
                  <a:pt x="1123" y="2037"/>
                  <a:pt x="1123" y="2029"/>
                </a:cubicBezTo>
                <a:cubicBezTo>
                  <a:pt x="1123" y="2027"/>
                  <a:pt x="1122" y="2026"/>
                  <a:pt x="1122" y="2024"/>
                </a:cubicBezTo>
                <a:cubicBezTo>
                  <a:pt x="1122" y="2020"/>
                  <a:pt x="1122" y="2020"/>
                  <a:pt x="1122" y="2020"/>
                </a:cubicBezTo>
                <a:cubicBezTo>
                  <a:pt x="1122" y="2019"/>
                  <a:pt x="1122" y="2019"/>
                  <a:pt x="1122" y="2019"/>
                </a:cubicBezTo>
                <a:cubicBezTo>
                  <a:pt x="1122" y="2018"/>
                  <a:pt x="1122" y="2017"/>
                  <a:pt x="1122" y="2016"/>
                </a:cubicBezTo>
                <a:cubicBezTo>
                  <a:pt x="1122" y="2016"/>
                  <a:pt x="1123" y="2016"/>
                  <a:pt x="1123" y="2015"/>
                </a:cubicBezTo>
                <a:cubicBezTo>
                  <a:pt x="1123" y="2014"/>
                  <a:pt x="1123" y="2014"/>
                  <a:pt x="1123" y="2013"/>
                </a:cubicBezTo>
                <a:cubicBezTo>
                  <a:pt x="1124" y="2013"/>
                  <a:pt x="1124" y="2013"/>
                  <a:pt x="1124" y="2012"/>
                </a:cubicBezTo>
                <a:cubicBezTo>
                  <a:pt x="1124" y="2012"/>
                  <a:pt x="1124" y="2012"/>
                  <a:pt x="1124" y="2012"/>
                </a:cubicBezTo>
                <a:cubicBezTo>
                  <a:pt x="1125" y="2011"/>
                  <a:pt x="1125" y="2010"/>
                  <a:pt x="1126" y="2010"/>
                </a:cubicBezTo>
                <a:cubicBezTo>
                  <a:pt x="1126" y="2009"/>
                  <a:pt x="1127" y="2009"/>
                  <a:pt x="1127" y="2009"/>
                </a:cubicBezTo>
                <a:cubicBezTo>
                  <a:pt x="1128" y="2008"/>
                  <a:pt x="1128" y="2008"/>
                  <a:pt x="1129" y="2007"/>
                </a:cubicBezTo>
                <a:cubicBezTo>
                  <a:pt x="1129" y="2007"/>
                  <a:pt x="1129" y="2007"/>
                  <a:pt x="1130" y="2006"/>
                </a:cubicBezTo>
                <a:cubicBezTo>
                  <a:pt x="1130" y="2006"/>
                  <a:pt x="1130" y="2006"/>
                  <a:pt x="1130" y="2006"/>
                </a:cubicBezTo>
                <a:cubicBezTo>
                  <a:pt x="1131" y="2006"/>
                  <a:pt x="1132" y="2005"/>
                  <a:pt x="1133" y="2004"/>
                </a:cubicBezTo>
                <a:cubicBezTo>
                  <a:pt x="1134" y="2004"/>
                  <a:pt x="1134" y="2004"/>
                  <a:pt x="1134" y="2004"/>
                </a:cubicBezTo>
                <a:cubicBezTo>
                  <a:pt x="1134" y="2004"/>
                  <a:pt x="1135" y="2004"/>
                  <a:pt x="1135" y="2004"/>
                </a:cubicBezTo>
                <a:cubicBezTo>
                  <a:pt x="1135" y="2004"/>
                  <a:pt x="1135" y="2004"/>
                  <a:pt x="1136" y="2004"/>
                </a:cubicBezTo>
                <a:cubicBezTo>
                  <a:pt x="1137" y="2003"/>
                  <a:pt x="1138" y="2003"/>
                  <a:pt x="1139" y="2003"/>
                </a:cubicBezTo>
                <a:cubicBezTo>
                  <a:pt x="1139" y="2002"/>
                  <a:pt x="1140" y="2002"/>
                  <a:pt x="1140" y="2002"/>
                </a:cubicBezTo>
                <a:cubicBezTo>
                  <a:pt x="1141" y="2002"/>
                  <a:pt x="1141" y="2002"/>
                  <a:pt x="1142" y="2002"/>
                </a:cubicBezTo>
                <a:cubicBezTo>
                  <a:pt x="1143" y="2002"/>
                  <a:pt x="1145" y="2001"/>
                  <a:pt x="1147" y="2001"/>
                </a:cubicBezTo>
                <a:cubicBezTo>
                  <a:pt x="1147" y="2001"/>
                  <a:pt x="1148" y="2001"/>
                  <a:pt x="1148" y="2001"/>
                </a:cubicBezTo>
                <a:cubicBezTo>
                  <a:pt x="1149" y="2001"/>
                  <a:pt x="1149" y="2001"/>
                  <a:pt x="1150" y="2001"/>
                </a:cubicBezTo>
                <a:cubicBezTo>
                  <a:pt x="1153" y="2001"/>
                  <a:pt x="1153" y="2001"/>
                  <a:pt x="1153" y="2001"/>
                </a:cubicBezTo>
                <a:cubicBezTo>
                  <a:pt x="1155" y="2001"/>
                  <a:pt x="1158" y="2001"/>
                  <a:pt x="1160" y="2001"/>
                </a:cubicBezTo>
                <a:cubicBezTo>
                  <a:pt x="1163" y="2001"/>
                  <a:pt x="1165" y="2001"/>
                  <a:pt x="1168" y="2001"/>
                </a:cubicBezTo>
                <a:cubicBezTo>
                  <a:pt x="1191" y="2001"/>
                  <a:pt x="1191" y="2001"/>
                  <a:pt x="1191" y="2001"/>
                </a:cubicBezTo>
                <a:cubicBezTo>
                  <a:pt x="1197" y="2001"/>
                  <a:pt x="1203" y="2001"/>
                  <a:pt x="1209" y="2001"/>
                </a:cubicBezTo>
                <a:cubicBezTo>
                  <a:pt x="1210" y="2001"/>
                  <a:pt x="1211" y="2001"/>
                  <a:pt x="1212" y="2002"/>
                </a:cubicBezTo>
                <a:cubicBezTo>
                  <a:pt x="1212" y="2002"/>
                  <a:pt x="1213" y="2002"/>
                  <a:pt x="1214" y="2002"/>
                </a:cubicBezTo>
                <a:cubicBezTo>
                  <a:pt x="1214" y="2002"/>
                  <a:pt x="1214" y="2002"/>
                  <a:pt x="1215" y="2002"/>
                </a:cubicBezTo>
                <a:cubicBezTo>
                  <a:pt x="1215" y="2002"/>
                  <a:pt x="1216" y="2002"/>
                  <a:pt x="1216" y="2002"/>
                </a:cubicBezTo>
                <a:cubicBezTo>
                  <a:pt x="1216" y="2002"/>
                  <a:pt x="1216" y="2003"/>
                  <a:pt x="1217" y="2003"/>
                </a:cubicBezTo>
                <a:cubicBezTo>
                  <a:pt x="1218" y="2003"/>
                  <a:pt x="1219" y="2003"/>
                  <a:pt x="1220" y="2004"/>
                </a:cubicBezTo>
                <a:cubicBezTo>
                  <a:pt x="1221" y="2004"/>
                  <a:pt x="1221" y="2004"/>
                  <a:pt x="1222" y="2004"/>
                </a:cubicBezTo>
                <a:cubicBezTo>
                  <a:pt x="1222" y="2005"/>
                  <a:pt x="1223" y="2005"/>
                  <a:pt x="1223" y="2005"/>
                </a:cubicBezTo>
                <a:cubicBezTo>
                  <a:pt x="1224" y="2005"/>
                  <a:pt x="1225" y="2006"/>
                  <a:pt x="1226" y="2006"/>
                </a:cubicBezTo>
                <a:cubicBezTo>
                  <a:pt x="1229" y="2008"/>
                  <a:pt x="1231" y="2010"/>
                  <a:pt x="1233" y="2012"/>
                </a:cubicBezTo>
                <a:cubicBezTo>
                  <a:pt x="1235" y="2014"/>
                  <a:pt x="1237" y="2017"/>
                  <a:pt x="1237" y="2019"/>
                </a:cubicBezTo>
                <a:cubicBezTo>
                  <a:pt x="1240" y="2034"/>
                  <a:pt x="1240" y="2034"/>
                  <a:pt x="1240" y="2034"/>
                </a:cubicBezTo>
                <a:cubicBezTo>
                  <a:pt x="1241" y="2040"/>
                  <a:pt x="1243" y="2046"/>
                  <a:pt x="1244" y="2052"/>
                </a:cubicBezTo>
                <a:cubicBezTo>
                  <a:pt x="1244" y="2052"/>
                  <a:pt x="1244" y="2052"/>
                  <a:pt x="1244" y="2052"/>
                </a:cubicBezTo>
                <a:cubicBezTo>
                  <a:pt x="1244" y="2055"/>
                  <a:pt x="1244" y="2055"/>
                  <a:pt x="1244" y="2055"/>
                </a:cubicBezTo>
                <a:cubicBezTo>
                  <a:pt x="1245" y="2058"/>
                  <a:pt x="1245" y="2061"/>
                  <a:pt x="1244" y="2063"/>
                </a:cubicBezTo>
                <a:close/>
                <a:moveTo>
                  <a:pt x="1349" y="1880"/>
                </a:moveTo>
                <a:cubicBezTo>
                  <a:pt x="1346" y="1879"/>
                  <a:pt x="1344" y="1878"/>
                  <a:pt x="1342" y="1876"/>
                </a:cubicBezTo>
                <a:cubicBezTo>
                  <a:pt x="1340" y="1875"/>
                  <a:pt x="1338" y="1873"/>
                  <a:pt x="1338" y="1871"/>
                </a:cubicBezTo>
                <a:cubicBezTo>
                  <a:pt x="1337" y="1868"/>
                  <a:pt x="1337" y="1868"/>
                  <a:pt x="1337" y="1868"/>
                </a:cubicBezTo>
                <a:cubicBezTo>
                  <a:pt x="1335" y="1863"/>
                  <a:pt x="1333" y="1859"/>
                  <a:pt x="1332" y="1854"/>
                </a:cubicBezTo>
                <a:cubicBezTo>
                  <a:pt x="1331" y="1852"/>
                  <a:pt x="1329" y="1848"/>
                  <a:pt x="1329" y="1845"/>
                </a:cubicBezTo>
                <a:cubicBezTo>
                  <a:pt x="1329" y="1845"/>
                  <a:pt x="1329" y="1845"/>
                  <a:pt x="1329" y="1844"/>
                </a:cubicBezTo>
                <a:cubicBezTo>
                  <a:pt x="1329" y="1844"/>
                  <a:pt x="1329" y="1844"/>
                  <a:pt x="1329" y="1844"/>
                </a:cubicBezTo>
                <a:cubicBezTo>
                  <a:pt x="1329" y="1844"/>
                  <a:pt x="1329" y="1843"/>
                  <a:pt x="1329" y="1843"/>
                </a:cubicBezTo>
                <a:cubicBezTo>
                  <a:pt x="1329" y="1843"/>
                  <a:pt x="1329" y="1843"/>
                  <a:pt x="1329" y="1842"/>
                </a:cubicBezTo>
                <a:cubicBezTo>
                  <a:pt x="1329" y="1842"/>
                  <a:pt x="1329" y="1842"/>
                  <a:pt x="1329" y="1842"/>
                </a:cubicBezTo>
                <a:cubicBezTo>
                  <a:pt x="1333" y="1834"/>
                  <a:pt x="1348" y="1835"/>
                  <a:pt x="1355" y="1835"/>
                </a:cubicBezTo>
                <a:cubicBezTo>
                  <a:pt x="1392" y="1835"/>
                  <a:pt x="1392" y="1835"/>
                  <a:pt x="1392" y="1835"/>
                </a:cubicBezTo>
                <a:cubicBezTo>
                  <a:pt x="1396" y="1835"/>
                  <a:pt x="1399" y="1835"/>
                  <a:pt x="1402" y="1836"/>
                </a:cubicBezTo>
                <a:cubicBezTo>
                  <a:pt x="1403" y="1836"/>
                  <a:pt x="1404" y="1836"/>
                  <a:pt x="1405" y="1836"/>
                </a:cubicBezTo>
                <a:cubicBezTo>
                  <a:pt x="1405" y="1836"/>
                  <a:pt x="1405" y="1837"/>
                  <a:pt x="1406" y="1837"/>
                </a:cubicBezTo>
                <a:cubicBezTo>
                  <a:pt x="1406" y="1837"/>
                  <a:pt x="1407" y="1837"/>
                  <a:pt x="1408" y="1837"/>
                </a:cubicBezTo>
                <a:cubicBezTo>
                  <a:pt x="1409" y="1837"/>
                  <a:pt x="1410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1" y="1838"/>
                  <a:pt x="1411" y="1838"/>
                  <a:pt x="1411" y="1838"/>
                </a:cubicBezTo>
                <a:cubicBezTo>
                  <a:pt x="1412" y="1839"/>
                  <a:pt x="1413" y="1839"/>
                  <a:pt x="1414" y="1840"/>
                </a:cubicBezTo>
                <a:cubicBezTo>
                  <a:pt x="1415" y="1840"/>
                  <a:pt x="1415" y="1840"/>
                  <a:pt x="1416" y="1841"/>
                </a:cubicBezTo>
                <a:cubicBezTo>
                  <a:pt x="1416" y="1841"/>
                  <a:pt x="1416" y="1841"/>
                  <a:pt x="1417" y="1841"/>
                </a:cubicBezTo>
                <a:cubicBezTo>
                  <a:pt x="1417" y="1841"/>
                  <a:pt x="1417" y="1841"/>
                  <a:pt x="1417" y="1842"/>
                </a:cubicBezTo>
                <a:cubicBezTo>
                  <a:pt x="1418" y="1842"/>
                  <a:pt x="1418" y="1842"/>
                  <a:pt x="1418" y="1842"/>
                </a:cubicBezTo>
                <a:cubicBezTo>
                  <a:pt x="1420" y="1844"/>
                  <a:pt x="1422" y="1845"/>
                  <a:pt x="1423" y="1847"/>
                </a:cubicBezTo>
                <a:cubicBezTo>
                  <a:pt x="1423" y="1847"/>
                  <a:pt x="1423" y="1847"/>
                  <a:pt x="1423" y="1847"/>
                </a:cubicBezTo>
                <a:cubicBezTo>
                  <a:pt x="1426" y="1852"/>
                  <a:pt x="1428" y="1859"/>
                  <a:pt x="1431" y="1864"/>
                </a:cubicBezTo>
                <a:cubicBezTo>
                  <a:pt x="1431" y="1864"/>
                  <a:pt x="1431" y="1864"/>
                  <a:pt x="1431" y="1864"/>
                </a:cubicBezTo>
                <a:cubicBezTo>
                  <a:pt x="1432" y="1867"/>
                  <a:pt x="1434" y="1870"/>
                  <a:pt x="1435" y="1873"/>
                </a:cubicBezTo>
                <a:cubicBezTo>
                  <a:pt x="1435" y="1873"/>
                  <a:pt x="1435" y="1873"/>
                  <a:pt x="1435" y="1873"/>
                </a:cubicBezTo>
                <a:cubicBezTo>
                  <a:pt x="1435" y="1873"/>
                  <a:pt x="1435" y="1873"/>
                  <a:pt x="1435" y="1874"/>
                </a:cubicBezTo>
                <a:cubicBezTo>
                  <a:pt x="1436" y="1879"/>
                  <a:pt x="1431" y="1882"/>
                  <a:pt x="1425" y="1883"/>
                </a:cubicBezTo>
                <a:cubicBezTo>
                  <a:pt x="1425" y="1883"/>
                  <a:pt x="1425" y="1883"/>
                  <a:pt x="1425" y="1883"/>
                </a:cubicBezTo>
                <a:cubicBezTo>
                  <a:pt x="1425" y="1883"/>
                  <a:pt x="1424" y="1883"/>
                  <a:pt x="1424" y="1883"/>
                </a:cubicBezTo>
                <a:cubicBezTo>
                  <a:pt x="1423" y="1884"/>
                  <a:pt x="1422" y="1884"/>
                  <a:pt x="1421" y="1884"/>
                </a:cubicBezTo>
                <a:cubicBezTo>
                  <a:pt x="1421" y="1884"/>
                  <a:pt x="1420" y="1884"/>
                  <a:pt x="1420" y="1884"/>
                </a:cubicBezTo>
                <a:cubicBezTo>
                  <a:pt x="1419" y="1884"/>
                  <a:pt x="1418" y="1884"/>
                  <a:pt x="1417" y="1884"/>
                </a:cubicBezTo>
                <a:cubicBezTo>
                  <a:pt x="1417" y="1884"/>
                  <a:pt x="1416" y="1884"/>
                  <a:pt x="1416" y="1884"/>
                </a:cubicBezTo>
                <a:cubicBezTo>
                  <a:pt x="1416" y="1884"/>
                  <a:pt x="1416" y="1884"/>
                  <a:pt x="1415" y="1884"/>
                </a:cubicBezTo>
                <a:cubicBezTo>
                  <a:pt x="1414" y="1884"/>
                  <a:pt x="1414" y="1884"/>
                  <a:pt x="1414" y="1884"/>
                </a:cubicBezTo>
                <a:cubicBezTo>
                  <a:pt x="1408" y="1884"/>
                  <a:pt x="1403" y="1884"/>
                  <a:pt x="1397" y="1884"/>
                </a:cubicBezTo>
                <a:cubicBezTo>
                  <a:pt x="1387" y="1884"/>
                  <a:pt x="1378" y="1884"/>
                  <a:pt x="1368" y="1884"/>
                </a:cubicBezTo>
                <a:cubicBezTo>
                  <a:pt x="1362" y="1884"/>
                  <a:pt x="1355" y="1883"/>
                  <a:pt x="1349" y="1880"/>
                </a:cubicBezTo>
                <a:cubicBezTo>
                  <a:pt x="1349" y="1880"/>
                  <a:pt x="1349" y="1880"/>
                  <a:pt x="1349" y="1880"/>
                </a:cubicBezTo>
                <a:close/>
                <a:moveTo>
                  <a:pt x="1373" y="1961"/>
                </a:moveTo>
                <a:cubicBezTo>
                  <a:pt x="1371" y="1959"/>
                  <a:pt x="1369" y="1956"/>
                  <a:pt x="1369" y="1954"/>
                </a:cubicBezTo>
                <a:cubicBezTo>
                  <a:pt x="1363" y="1940"/>
                  <a:pt x="1363" y="1940"/>
                  <a:pt x="1363" y="1940"/>
                </a:cubicBezTo>
                <a:cubicBezTo>
                  <a:pt x="1362" y="1935"/>
                  <a:pt x="1360" y="1931"/>
                  <a:pt x="1359" y="1927"/>
                </a:cubicBezTo>
                <a:cubicBezTo>
                  <a:pt x="1359" y="1927"/>
                  <a:pt x="1359" y="1927"/>
                  <a:pt x="1359" y="1927"/>
                </a:cubicBezTo>
                <a:cubicBezTo>
                  <a:pt x="1358" y="1925"/>
                  <a:pt x="1358" y="1925"/>
                  <a:pt x="1358" y="1925"/>
                </a:cubicBezTo>
                <a:cubicBezTo>
                  <a:pt x="1357" y="1923"/>
                  <a:pt x="1357" y="1921"/>
                  <a:pt x="1358" y="1919"/>
                </a:cubicBezTo>
                <a:cubicBezTo>
                  <a:pt x="1358" y="1918"/>
                  <a:pt x="1359" y="1917"/>
                  <a:pt x="1360" y="1916"/>
                </a:cubicBezTo>
                <a:cubicBezTo>
                  <a:pt x="1360" y="1916"/>
                  <a:pt x="1361" y="1916"/>
                  <a:pt x="1361" y="1915"/>
                </a:cubicBezTo>
                <a:cubicBezTo>
                  <a:pt x="1361" y="1915"/>
                  <a:pt x="1361" y="1915"/>
                  <a:pt x="1362" y="1915"/>
                </a:cubicBezTo>
                <a:cubicBezTo>
                  <a:pt x="1364" y="1913"/>
                  <a:pt x="1366" y="1912"/>
                  <a:pt x="1369" y="1911"/>
                </a:cubicBezTo>
                <a:cubicBezTo>
                  <a:pt x="1371" y="1911"/>
                  <a:pt x="1374" y="1910"/>
                  <a:pt x="1376" y="1910"/>
                </a:cubicBezTo>
                <a:cubicBezTo>
                  <a:pt x="1386" y="1909"/>
                  <a:pt x="1397" y="1910"/>
                  <a:pt x="1402" y="1910"/>
                </a:cubicBezTo>
                <a:cubicBezTo>
                  <a:pt x="1420" y="1910"/>
                  <a:pt x="1451" y="1906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1" y="1925"/>
                  <a:pt x="1461" y="1925"/>
                  <a:pt x="1461" y="1925"/>
                </a:cubicBezTo>
                <a:cubicBezTo>
                  <a:pt x="1465" y="1933"/>
                  <a:pt x="1469" y="1940"/>
                  <a:pt x="1473" y="1948"/>
                </a:cubicBezTo>
                <a:cubicBezTo>
                  <a:pt x="1474" y="1951"/>
                  <a:pt x="1476" y="1953"/>
                  <a:pt x="1476" y="1956"/>
                </a:cubicBezTo>
                <a:cubicBezTo>
                  <a:pt x="1476" y="1956"/>
                  <a:pt x="1476" y="1956"/>
                  <a:pt x="1476" y="1957"/>
                </a:cubicBezTo>
                <a:cubicBezTo>
                  <a:pt x="1477" y="1957"/>
                  <a:pt x="1477" y="1958"/>
                  <a:pt x="1477" y="1958"/>
                </a:cubicBezTo>
                <a:cubicBezTo>
                  <a:pt x="1477" y="1959"/>
                  <a:pt x="1477" y="1959"/>
                  <a:pt x="1477" y="1960"/>
                </a:cubicBezTo>
                <a:cubicBezTo>
                  <a:pt x="1477" y="1960"/>
                  <a:pt x="1477" y="1960"/>
                  <a:pt x="1477" y="1960"/>
                </a:cubicBezTo>
                <a:cubicBezTo>
                  <a:pt x="1477" y="1960"/>
                  <a:pt x="1476" y="1961"/>
                  <a:pt x="1476" y="1961"/>
                </a:cubicBezTo>
                <a:cubicBezTo>
                  <a:pt x="1476" y="1962"/>
                  <a:pt x="1476" y="1962"/>
                  <a:pt x="1475" y="1963"/>
                </a:cubicBezTo>
                <a:cubicBezTo>
                  <a:pt x="1475" y="1963"/>
                  <a:pt x="1475" y="1963"/>
                  <a:pt x="1475" y="1963"/>
                </a:cubicBezTo>
                <a:cubicBezTo>
                  <a:pt x="1475" y="1964"/>
                  <a:pt x="1474" y="1965"/>
                  <a:pt x="1474" y="1965"/>
                </a:cubicBezTo>
                <a:cubicBezTo>
                  <a:pt x="1473" y="1965"/>
                  <a:pt x="1473" y="1965"/>
                  <a:pt x="1473" y="1966"/>
                </a:cubicBezTo>
                <a:cubicBezTo>
                  <a:pt x="1473" y="1966"/>
                  <a:pt x="1473" y="1966"/>
                  <a:pt x="1472" y="1966"/>
                </a:cubicBezTo>
                <a:cubicBezTo>
                  <a:pt x="1472" y="1966"/>
                  <a:pt x="1472" y="1967"/>
                  <a:pt x="1471" y="1967"/>
                </a:cubicBezTo>
                <a:cubicBezTo>
                  <a:pt x="1470" y="1968"/>
                  <a:pt x="1468" y="1969"/>
                  <a:pt x="1466" y="1969"/>
                </a:cubicBezTo>
                <a:cubicBezTo>
                  <a:pt x="1465" y="1969"/>
                  <a:pt x="1465" y="1969"/>
                  <a:pt x="1464" y="1970"/>
                </a:cubicBezTo>
                <a:cubicBezTo>
                  <a:pt x="1463" y="1970"/>
                  <a:pt x="1462" y="1970"/>
                  <a:pt x="1462" y="1970"/>
                </a:cubicBezTo>
                <a:cubicBezTo>
                  <a:pt x="1461" y="1970"/>
                  <a:pt x="1461" y="1970"/>
                  <a:pt x="1461" y="1970"/>
                </a:cubicBezTo>
                <a:cubicBezTo>
                  <a:pt x="1460" y="1970"/>
                  <a:pt x="1460" y="1970"/>
                  <a:pt x="1460" y="1970"/>
                </a:cubicBezTo>
                <a:cubicBezTo>
                  <a:pt x="1441" y="1972"/>
                  <a:pt x="1422" y="1971"/>
                  <a:pt x="1403" y="1971"/>
                </a:cubicBezTo>
                <a:cubicBezTo>
                  <a:pt x="1401" y="1971"/>
                  <a:pt x="1399" y="1971"/>
                  <a:pt x="1397" y="1970"/>
                </a:cubicBezTo>
                <a:cubicBezTo>
                  <a:pt x="1397" y="1970"/>
                  <a:pt x="1397" y="1970"/>
                  <a:pt x="1397" y="1970"/>
                </a:cubicBezTo>
                <a:cubicBezTo>
                  <a:pt x="1390" y="1970"/>
                  <a:pt x="1383" y="1967"/>
                  <a:pt x="1377" y="1964"/>
                </a:cubicBezTo>
                <a:cubicBezTo>
                  <a:pt x="1376" y="1963"/>
                  <a:pt x="1374" y="1962"/>
                  <a:pt x="1373" y="1961"/>
                </a:cubicBezTo>
                <a:close/>
                <a:moveTo>
                  <a:pt x="1527" y="2063"/>
                </a:moveTo>
                <a:cubicBezTo>
                  <a:pt x="1527" y="2063"/>
                  <a:pt x="1527" y="2064"/>
                  <a:pt x="1527" y="2064"/>
                </a:cubicBezTo>
                <a:cubicBezTo>
                  <a:pt x="1527" y="2065"/>
                  <a:pt x="1526" y="2065"/>
                  <a:pt x="1526" y="2065"/>
                </a:cubicBezTo>
                <a:cubicBezTo>
                  <a:pt x="1526" y="2066"/>
                  <a:pt x="1526" y="2066"/>
                  <a:pt x="1525" y="2067"/>
                </a:cubicBezTo>
                <a:cubicBezTo>
                  <a:pt x="1525" y="2067"/>
                  <a:pt x="1525" y="2068"/>
                  <a:pt x="1525" y="2068"/>
                </a:cubicBezTo>
                <a:cubicBezTo>
                  <a:pt x="1525" y="2068"/>
                  <a:pt x="1524" y="2068"/>
                  <a:pt x="1524" y="2069"/>
                </a:cubicBezTo>
                <a:cubicBezTo>
                  <a:pt x="1524" y="2069"/>
                  <a:pt x="1524" y="2069"/>
                  <a:pt x="1524" y="2069"/>
                </a:cubicBezTo>
                <a:cubicBezTo>
                  <a:pt x="1524" y="2069"/>
                  <a:pt x="1523" y="2070"/>
                  <a:pt x="1523" y="2070"/>
                </a:cubicBezTo>
                <a:cubicBezTo>
                  <a:pt x="1520" y="2073"/>
                  <a:pt x="1515" y="2074"/>
                  <a:pt x="1511" y="2075"/>
                </a:cubicBezTo>
                <a:cubicBezTo>
                  <a:pt x="1510" y="2075"/>
                  <a:pt x="1510" y="2075"/>
                  <a:pt x="1510" y="2075"/>
                </a:cubicBezTo>
                <a:cubicBezTo>
                  <a:pt x="1508" y="2075"/>
                  <a:pt x="1506" y="2076"/>
                  <a:pt x="1504" y="2076"/>
                </a:cubicBezTo>
                <a:cubicBezTo>
                  <a:pt x="1504" y="2076"/>
                  <a:pt x="1504" y="2076"/>
                  <a:pt x="1504" y="2076"/>
                </a:cubicBezTo>
                <a:cubicBezTo>
                  <a:pt x="1503" y="2076"/>
                  <a:pt x="1503" y="2076"/>
                  <a:pt x="1503" y="2076"/>
                </a:cubicBezTo>
                <a:cubicBezTo>
                  <a:pt x="1501" y="2076"/>
                  <a:pt x="1499" y="2076"/>
                  <a:pt x="1497" y="2076"/>
                </a:cubicBezTo>
                <a:cubicBezTo>
                  <a:pt x="1446" y="2076"/>
                  <a:pt x="1446" y="2076"/>
                  <a:pt x="1446" y="2076"/>
                </a:cubicBezTo>
                <a:cubicBezTo>
                  <a:pt x="1444" y="2076"/>
                  <a:pt x="1441" y="2076"/>
                  <a:pt x="1439" y="2075"/>
                </a:cubicBezTo>
                <a:cubicBezTo>
                  <a:pt x="1439" y="2075"/>
                  <a:pt x="1438" y="2075"/>
                  <a:pt x="1438" y="2075"/>
                </a:cubicBezTo>
                <a:cubicBezTo>
                  <a:pt x="1427" y="2074"/>
                  <a:pt x="1414" y="2069"/>
                  <a:pt x="1408" y="2059"/>
                </a:cubicBezTo>
                <a:cubicBezTo>
                  <a:pt x="1407" y="2058"/>
                  <a:pt x="1407" y="2056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6" y="2055"/>
                  <a:pt x="1406" y="2055"/>
                  <a:pt x="1406" y="2055"/>
                </a:cubicBezTo>
                <a:cubicBezTo>
                  <a:pt x="1403" y="2047"/>
                  <a:pt x="1400" y="2040"/>
                  <a:pt x="1398" y="2032"/>
                </a:cubicBezTo>
                <a:cubicBezTo>
                  <a:pt x="1396" y="2029"/>
                  <a:pt x="1394" y="2024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3" y="2019"/>
                  <a:pt x="1393" y="2019"/>
                  <a:pt x="1393" y="2019"/>
                </a:cubicBezTo>
                <a:cubicBezTo>
                  <a:pt x="1392" y="2018"/>
                  <a:pt x="1392" y="2018"/>
                  <a:pt x="1392" y="2017"/>
                </a:cubicBezTo>
                <a:cubicBezTo>
                  <a:pt x="1392" y="2015"/>
                  <a:pt x="1392" y="2013"/>
                  <a:pt x="1392" y="2012"/>
                </a:cubicBezTo>
                <a:cubicBezTo>
                  <a:pt x="1393" y="2011"/>
                  <a:pt x="1393" y="2010"/>
                  <a:pt x="1394" y="2009"/>
                </a:cubicBezTo>
                <a:cubicBezTo>
                  <a:pt x="1394" y="2009"/>
                  <a:pt x="1394" y="2009"/>
                  <a:pt x="1394" y="2009"/>
                </a:cubicBezTo>
                <a:cubicBezTo>
                  <a:pt x="1397" y="2004"/>
                  <a:pt x="1403" y="2002"/>
                  <a:pt x="1409" y="2001"/>
                </a:cubicBezTo>
                <a:cubicBezTo>
                  <a:pt x="1409" y="2001"/>
                  <a:pt x="1409" y="2001"/>
                  <a:pt x="1410" y="2001"/>
                </a:cubicBezTo>
                <a:cubicBezTo>
                  <a:pt x="1411" y="2001"/>
                  <a:pt x="1413" y="2001"/>
                  <a:pt x="1414" y="2000"/>
                </a:cubicBezTo>
                <a:cubicBezTo>
                  <a:pt x="1414" y="2000"/>
                  <a:pt x="1415" y="2000"/>
                  <a:pt x="1415" y="2000"/>
                </a:cubicBezTo>
                <a:cubicBezTo>
                  <a:pt x="1418" y="2000"/>
                  <a:pt x="1418" y="2000"/>
                  <a:pt x="1418" y="2000"/>
                </a:cubicBezTo>
                <a:cubicBezTo>
                  <a:pt x="1419" y="2000"/>
                  <a:pt x="1420" y="2000"/>
                  <a:pt x="1421" y="2000"/>
                </a:cubicBezTo>
                <a:cubicBezTo>
                  <a:pt x="1437" y="2000"/>
                  <a:pt x="1453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69" y="2000"/>
                  <a:pt x="1469" y="2000"/>
                  <a:pt x="1469" y="2000"/>
                </a:cubicBezTo>
                <a:cubicBezTo>
                  <a:pt x="1471" y="2000"/>
                  <a:pt x="1473" y="2000"/>
                  <a:pt x="1475" y="2001"/>
                </a:cubicBezTo>
                <a:cubicBezTo>
                  <a:pt x="1475" y="2001"/>
                  <a:pt x="1476" y="2001"/>
                  <a:pt x="1476" y="2001"/>
                </a:cubicBezTo>
                <a:cubicBezTo>
                  <a:pt x="1487" y="2002"/>
                  <a:pt x="1499" y="2006"/>
                  <a:pt x="1505" y="2015"/>
                </a:cubicBezTo>
                <a:cubicBezTo>
                  <a:pt x="1506" y="2016"/>
                  <a:pt x="1507" y="2017"/>
                  <a:pt x="1508" y="2019"/>
                </a:cubicBezTo>
                <a:cubicBezTo>
                  <a:pt x="1509" y="2022"/>
                  <a:pt x="1509" y="2022"/>
                  <a:pt x="1509" y="2022"/>
                </a:cubicBezTo>
                <a:cubicBezTo>
                  <a:pt x="1512" y="2028"/>
                  <a:pt x="1516" y="2035"/>
                  <a:pt x="1519" y="2041"/>
                </a:cubicBezTo>
                <a:cubicBezTo>
                  <a:pt x="1521" y="2045"/>
                  <a:pt x="1524" y="2051"/>
                  <a:pt x="1526" y="2056"/>
                </a:cubicBezTo>
                <a:cubicBezTo>
                  <a:pt x="1527" y="2058"/>
                  <a:pt x="1527" y="2061"/>
                  <a:pt x="1527" y="2063"/>
                </a:cubicBezTo>
                <a:close/>
                <a:moveTo>
                  <a:pt x="1640" y="2000"/>
                </a:moveTo>
                <a:cubicBezTo>
                  <a:pt x="1642" y="2000"/>
                  <a:pt x="1643" y="2000"/>
                  <a:pt x="1645" y="2000"/>
                </a:cubicBezTo>
                <a:cubicBezTo>
                  <a:pt x="1645" y="2000"/>
                  <a:pt x="1645" y="2000"/>
                  <a:pt x="1646" y="2000"/>
                </a:cubicBezTo>
                <a:cubicBezTo>
                  <a:pt x="1657" y="2002"/>
                  <a:pt x="1669" y="2006"/>
                  <a:pt x="1677" y="2014"/>
                </a:cubicBezTo>
                <a:cubicBezTo>
                  <a:pt x="1678" y="2014"/>
                  <a:pt x="1678" y="2015"/>
                  <a:pt x="1678" y="2015"/>
                </a:cubicBezTo>
                <a:cubicBezTo>
                  <a:pt x="1679" y="2016"/>
                  <a:pt x="1679" y="2016"/>
                  <a:pt x="1680" y="2017"/>
                </a:cubicBezTo>
                <a:cubicBezTo>
                  <a:pt x="1680" y="2017"/>
                  <a:pt x="1680" y="2017"/>
                  <a:pt x="1680" y="2018"/>
                </a:cubicBezTo>
                <a:cubicBezTo>
                  <a:pt x="1681" y="2018"/>
                  <a:pt x="1681" y="2018"/>
                  <a:pt x="1681" y="2018"/>
                </a:cubicBezTo>
                <a:cubicBezTo>
                  <a:pt x="1682" y="2019"/>
                  <a:pt x="1682" y="2019"/>
                  <a:pt x="1682" y="2019"/>
                </a:cubicBezTo>
                <a:cubicBezTo>
                  <a:pt x="1685" y="2024"/>
                  <a:pt x="1688" y="2029"/>
                  <a:pt x="1692" y="2034"/>
                </a:cubicBezTo>
                <a:cubicBezTo>
                  <a:pt x="1692" y="2034"/>
                  <a:pt x="1692" y="2034"/>
                  <a:pt x="1692" y="2034"/>
                </a:cubicBezTo>
                <a:cubicBezTo>
                  <a:pt x="1697" y="2041"/>
                  <a:pt x="1703" y="2049"/>
                  <a:pt x="1707" y="2056"/>
                </a:cubicBezTo>
                <a:cubicBezTo>
                  <a:pt x="1707" y="2057"/>
                  <a:pt x="1707" y="2057"/>
                  <a:pt x="1708" y="2058"/>
                </a:cubicBezTo>
                <a:cubicBezTo>
                  <a:pt x="1708" y="2058"/>
                  <a:pt x="1708" y="2058"/>
                  <a:pt x="1708" y="2058"/>
                </a:cubicBezTo>
                <a:cubicBezTo>
                  <a:pt x="1709" y="2063"/>
                  <a:pt x="1709" y="2066"/>
                  <a:pt x="1707" y="2068"/>
                </a:cubicBezTo>
                <a:cubicBezTo>
                  <a:pt x="1706" y="2069"/>
                  <a:pt x="1706" y="2069"/>
                  <a:pt x="1706" y="2069"/>
                </a:cubicBezTo>
                <a:cubicBezTo>
                  <a:pt x="1705" y="2071"/>
                  <a:pt x="1702" y="2072"/>
                  <a:pt x="1699" y="2073"/>
                </a:cubicBezTo>
                <a:cubicBezTo>
                  <a:pt x="1696" y="2074"/>
                  <a:pt x="1692" y="2075"/>
                  <a:pt x="1688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84" y="2075"/>
                  <a:pt x="1684" y="2075"/>
                  <a:pt x="1684" y="2075"/>
                </a:cubicBezTo>
                <a:cubicBezTo>
                  <a:pt x="1666" y="2075"/>
                  <a:pt x="1648" y="2075"/>
                  <a:pt x="1629" y="2075"/>
                </a:cubicBezTo>
                <a:cubicBezTo>
                  <a:pt x="1627" y="2075"/>
                  <a:pt x="1625" y="2075"/>
                  <a:pt x="1623" y="2075"/>
                </a:cubicBezTo>
                <a:cubicBezTo>
                  <a:pt x="1623" y="2075"/>
                  <a:pt x="1623" y="2075"/>
                  <a:pt x="1623" y="2075"/>
                </a:cubicBezTo>
                <a:cubicBezTo>
                  <a:pt x="1610" y="2073"/>
                  <a:pt x="1597" y="2068"/>
                  <a:pt x="1589" y="2059"/>
                </a:cubicBezTo>
                <a:cubicBezTo>
                  <a:pt x="1588" y="2057"/>
                  <a:pt x="1587" y="2056"/>
                  <a:pt x="1586" y="2055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6" y="2054"/>
                  <a:pt x="1586" y="2054"/>
                  <a:pt x="1586" y="2054"/>
                </a:cubicBezTo>
                <a:cubicBezTo>
                  <a:pt x="1582" y="2047"/>
                  <a:pt x="1578" y="2041"/>
                  <a:pt x="1574" y="2034"/>
                </a:cubicBezTo>
                <a:cubicBezTo>
                  <a:pt x="1571" y="2029"/>
                  <a:pt x="1566" y="2021"/>
                  <a:pt x="1564" y="2015"/>
                </a:cubicBezTo>
                <a:cubicBezTo>
                  <a:pt x="1564" y="2015"/>
                  <a:pt x="1564" y="2015"/>
                  <a:pt x="1564" y="2014"/>
                </a:cubicBezTo>
                <a:cubicBezTo>
                  <a:pt x="1564" y="2014"/>
                  <a:pt x="1564" y="2013"/>
                  <a:pt x="1564" y="2013"/>
                </a:cubicBezTo>
                <a:cubicBezTo>
                  <a:pt x="1564" y="2006"/>
                  <a:pt x="1568" y="2003"/>
                  <a:pt x="1574" y="2002"/>
                </a:cubicBezTo>
                <a:cubicBezTo>
                  <a:pt x="1574" y="2001"/>
                  <a:pt x="1574" y="2001"/>
                  <a:pt x="1574" y="2001"/>
                </a:cubicBezTo>
                <a:cubicBezTo>
                  <a:pt x="1574" y="2001"/>
                  <a:pt x="1575" y="2001"/>
                  <a:pt x="1575" y="2001"/>
                </a:cubicBezTo>
                <a:cubicBezTo>
                  <a:pt x="1575" y="2001"/>
                  <a:pt x="1576" y="2001"/>
                  <a:pt x="1576" y="2001"/>
                </a:cubicBezTo>
                <a:cubicBezTo>
                  <a:pt x="1579" y="2000"/>
                  <a:pt x="1581" y="2000"/>
                  <a:pt x="1585" y="2000"/>
                </a:cubicBezTo>
                <a:cubicBezTo>
                  <a:pt x="1621" y="2000"/>
                  <a:pt x="1621" y="2000"/>
                  <a:pt x="1621" y="2000"/>
                </a:cubicBezTo>
                <a:cubicBezTo>
                  <a:pt x="1627" y="2000"/>
                  <a:pt x="1633" y="2000"/>
                  <a:pt x="1639" y="2000"/>
                </a:cubicBezTo>
                <a:cubicBezTo>
                  <a:pt x="1639" y="2000"/>
                  <a:pt x="1639" y="2000"/>
                  <a:pt x="1639" y="2000"/>
                </a:cubicBezTo>
                <a:cubicBezTo>
                  <a:pt x="1639" y="2000"/>
                  <a:pt x="1640" y="2000"/>
                  <a:pt x="1640" y="2000"/>
                </a:cubicBezTo>
                <a:close/>
                <a:moveTo>
                  <a:pt x="1617" y="1924"/>
                </a:moveTo>
                <a:cubicBezTo>
                  <a:pt x="1621" y="1930"/>
                  <a:pt x="1625" y="1937"/>
                  <a:pt x="1629" y="1943"/>
                </a:cubicBezTo>
                <a:cubicBezTo>
                  <a:pt x="1631" y="1946"/>
                  <a:pt x="1635" y="1950"/>
                  <a:pt x="1637" y="1955"/>
                </a:cubicBezTo>
                <a:cubicBezTo>
                  <a:pt x="1638" y="1956"/>
                  <a:pt x="1639" y="1958"/>
                  <a:pt x="1639" y="1960"/>
                </a:cubicBezTo>
                <a:cubicBezTo>
                  <a:pt x="1639" y="1961"/>
                  <a:pt x="1638" y="1962"/>
                  <a:pt x="1638" y="1963"/>
                </a:cubicBezTo>
                <a:cubicBezTo>
                  <a:pt x="1637" y="1964"/>
                  <a:pt x="1637" y="1964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5"/>
                  <a:pt x="1636" y="1965"/>
                  <a:pt x="1636" y="1965"/>
                </a:cubicBezTo>
                <a:cubicBezTo>
                  <a:pt x="1636" y="1966"/>
                  <a:pt x="1635" y="1966"/>
                  <a:pt x="1635" y="1966"/>
                </a:cubicBezTo>
                <a:cubicBezTo>
                  <a:pt x="1635" y="1966"/>
                  <a:pt x="1634" y="1967"/>
                  <a:pt x="1634" y="1967"/>
                </a:cubicBezTo>
                <a:cubicBezTo>
                  <a:pt x="1634" y="1967"/>
                  <a:pt x="1633" y="1967"/>
                  <a:pt x="1632" y="1968"/>
                </a:cubicBezTo>
                <a:cubicBezTo>
                  <a:pt x="1632" y="1968"/>
                  <a:pt x="1631" y="1968"/>
                  <a:pt x="1630" y="1969"/>
                </a:cubicBezTo>
                <a:cubicBezTo>
                  <a:pt x="1630" y="1969"/>
                  <a:pt x="1630" y="1969"/>
                  <a:pt x="1630" y="1969"/>
                </a:cubicBezTo>
                <a:cubicBezTo>
                  <a:pt x="1630" y="1969"/>
                  <a:pt x="1630" y="1969"/>
                  <a:pt x="1629" y="1969"/>
                </a:cubicBezTo>
                <a:cubicBezTo>
                  <a:pt x="1620" y="1972"/>
                  <a:pt x="1607" y="1970"/>
                  <a:pt x="1598" y="1970"/>
                </a:cubicBezTo>
                <a:cubicBezTo>
                  <a:pt x="1588" y="1970"/>
                  <a:pt x="1578" y="1970"/>
                  <a:pt x="1567" y="1970"/>
                </a:cubicBezTo>
                <a:cubicBezTo>
                  <a:pt x="1558" y="1970"/>
                  <a:pt x="1547" y="1968"/>
                  <a:pt x="1539" y="1962"/>
                </a:cubicBezTo>
                <a:cubicBezTo>
                  <a:pt x="1538" y="1962"/>
                  <a:pt x="1536" y="1961"/>
                  <a:pt x="1535" y="1960"/>
                </a:cubicBezTo>
                <a:cubicBezTo>
                  <a:pt x="1533" y="1958"/>
                  <a:pt x="1531" y="1956"/>
                  <a:pt x="1530" y="1954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9" y="1952"/>
                  <a:pt x="1529" y="1952"/>
                  <a:pt x="1529" y="1952"/>
                </a:cubicBezTo>
                <a:cubicBezTo>
                  <a:pt x="1524" y="1944"/>
                  <a:pt x="1520" y="1936"/>
                  <a:pt x="1515" y="1928"/>
                </a:cubicBezTo>
                <a:cubicBezTo>
                  <a:pt x="1513" y="1925"/>
                  <a:pt x="1513" y="1925"/>
                  <a:pt x="1513" y="1925"/>
                </a:cubicBezTo>
                <a:cubicBezTo>
                  <a:pt x="1512" y="1923"/>
                  <a:pt x="1512" y="1921"/>
                  <a:pt x="1512" y="1919"/>
                </a:cubicBezTo>
                <a:cubicBezTo>
                  <a:pt x="1512" y="1917"/>
                  <a:pt x="1513" y="1915"/>
                  <a:pt x="1515" y="1914"/>
                </a:cubicBezTo>
                <a:cubicBezTo>
                  <a:pt x="1517" y="1913"/>
                  <a:pt x="1519" y="1912"/>
                  <a:pt x="1522" y="1911"/>
                </a:cubicBezTo>
                <a:cubicBezTo>
                  <a:pt x="1524" y="1910"/>
                  <a:pt x="1528" y="1910"/>
                  <a:pt x="1531" y="1910"/>
                </a:cubicBezTo>
                <a:cubicBezTo>
                  <a:pt x="1532" y="1910"/>
                  <a:pt x="1532" y="1910"/>
                  <a:pt x="1532" y="1910"/>
                </a:cubicBezTo>
                <a:cubicBezTo>
                  <a:pt x="1540" y="1909"/>
                  <a:pt x="1548" y="1910"/>
                  <a:pt x="1553" y="1910"/>
                </a:cubicBezTo>
                <a:cubicBezTo>
                  <a:pt x="1573" y="1910"/>
                  <a:pt x="1604" y="1906"/>
                  <a:pt x="1617" y="1924"/>
                </a:cubicBezTo>
                <a:close/>
                <a:moveTo>
                  <a:pt x="366" y="1441"/>
                </a:moveTo>
                <a:cubicBezTo>
                  <a:pt x="372" y="1443"/>
                  <a:pt x="377" y="1446"/>
                  <a:pt x="382" y="1448"/>
                </a:cubicBezTo>
                <a:cubicBezTo>
                  <a:pt x="392" y="1453"/>
                  <a:pt x="403" y="1458"/>
                  <a:pt x="413" y="1462"/>
                </a:cubicBezTo>
                <a:cubicBezTo>
                  <a:pt x="418" y="1464"/>
                  <a:pt x="422" y="1466"/>
                  <a:pt x="426" y="1468"/>
                </a:cubicBezTo>
                <a:cubicBezTo>
                  <a:pt x="430" y="1469"/>
                  <a:pt x="433" y="1470"/>
                  <a:pt x="437" y="1472"/>
                </a:cubicBezTo>
                <a:cubicBezTo>
                  <a:pt x="458" y="1479"/>
                  <a:pt x="479" y="1486"/>
                  <a:pt x="502" y="1492"/>
                </a:cubicBezTo>
                <a:cubicBezTo>
                  <a:pt x="527" y="1499"/>
                  <a:pt x="552" y="1505"/>
                  <a:pt x="578" y="1510"/>
                </a:cubicBezTo>
                <a:cubicBezTo>
                  <a:pt x="683" y="1532"/>
                  <a:pt x="786" y="1541"/>
                  <a:pt x="819" y="1542"/>
                </a:cubicBezTo>
                <a:cubicBezTo>
                  <a:pt x="819" y="1610"/>
                  <a:pt x="819" y="1610"/>
                  <a:pt x="819" y="1610"/>
                </a:cubicBezTo>
                <a:cubicBezTo>
                  <a:pt x="857" y="1570"/>
                  <a:pt x="857" y="1570"/>
                  <a:pt x="857" y="1570"/>
                </a:cubicBezTo>
                <a:cubicBezTo>
                  <a:pt x="906" y="1518"/>
                  <a:pt x="906" y="1518"/>
                  <a:pt x="906" y="1518"/>
                </a:cubicBezTo>
                <a:cubicBezTo>
                  <a:pt x="1019" y="1399"/>
                  <a:pt x="1019" y="1399"/>
                  <a:pt x="1019" y="1399"/>
                </a:cubicBezTo>
                <a:cubicBezTo>
                  <a:pt x="933" y="1308"/>
                  <a:pt x="933" y="1308"/>
                  <a:pt x="933" y="1308"/>
                </a:cubicBezTo>
                <a:cubicBezTo>
                  <a:pt x="819" y="1188"/>
                  <a:pt x="819" y="1188"/>
                  <a:pt x="819" y="1188"/>
                </a:cubicBezTo>
                <a:cubicBezTo>
                  <a:pt x="819" y="1271"/>
                  <a:pt x="819" y="1271"/>
                  <a:pt x="819" y="1271"/>
                </a:cubicBezTo>
                <a:cubicBezTo>
                  <a:pt x="740" y="1279"/>
                  <a:pt x="653" y="1266"/>
                  <a:pt x="578" y="1249"/>
                </a:cubicBezTo>
                <a:cubicBezTo>
                  <a:pt x="550" y="1242"/>
                  <a:pt x="525" y="1235"/>
                  <a:pt x="502" y="1229"/>
                </a:cubicBezTo>
                <a:cubicBezTo>
                  <a:pt x="471" y="1219"/>
                  <a:pt x="445" y="1211"/>
                  <a:pt x="426" y="1204"/>
                </a:cubicBezTo>
                <a:cubicBezTo>
                  <a:pt x="422" y="1202"/>
                  <a:pt x="418" y="1201"/>
                  <a:pt x="415" y="1199"/>
                </a:cubicBezTo>
                <a:cubicBezTo>
                  <a:pt x="414" y="1199"/>
                  <a:pt x="414" y="1199"/>
                  <a:pt x="413" y="1199"/>
                </a:cubicBezTo>
                <a:cubicBezTo>
                  <a:pt x="413" y="1199"/>
                  <a:pt x="413" y="1199"/>
                  <a:pt x="413" y="1199"/>
                </a:cubicBezTo>
                <a:cubicBezTo>
                  <a:pt x="354" y="1175"/>
                  <a:pt x="300" y="1147"/>
                  <a:pt x="253" y="1115"/>
                </a:cubicBezTo>
                <a:cubicBezTo>
                  <a:pt x="189" y="1073"/>
                  <a:pt x="142" y="1028"/>
                  <a:pt x="110" y="981"/>
                </a:cubicBezTo>
                <a:cubicBezTo>
                  <a:pt x="94" y="963"/>
                  <a:pt x="80" y="944"/>
                  <a:pt x="68" y="925"/>
                </a:cubicBezTo>
                <a:cubicBezTo>
                  <a:pt x="33" y="870"/>
                  <a:pt x="13" y="811"/>
                  <a:pt x="11" y="751"/>
                </a:cubicBezTo>
                <a:cubicBezTo>
                  <a:pt x="7" y="768"/>
                  <a:pt x="4" y="785"/>
                  <a:pt x="3" y="802"/>
                </a:cubicBezTo>
                <a:cubicBezTo>
                  <a:pt x="0" y="834"/>
                  <a:pt x="4" y="864"/>
                  <a:pt x="7" y="893"/>
                </a:cubicBezTo>
                <a:cubicBezTo>
                  <a:pt x="8" y="898"/>
                  <a:pt x="9" y="904"/>
                  <a:pt x="9" y="909"/>
                </a:cubicBezTo>
                <a:cubicBezTo>
                  <a:pt x="22" y="1021"/>
                  <a:pt x="22" y="1021"/>
                  <a:pt x="22" y="1021"/>
                </a:cubicBezTo>
                <a:cubicBezTo>
                  <a:pt x="23" y="1025"/>
                  <a:pt x="23" y="1029"/>
                  <a:pt x="24" y="1033"/>
                </a:cubicBezTo>
                <a:cubicBezTo>
                  <a:pt x="25" y="1048"/>
                  <a:pt x="27" y="1064"/>
                  <a:pt x="30" y="1080"/>
                </a:cubicBezTo>
                <a:cubicBezTo>
                  <a:pt x="34" y="1101"/>
                  <a:pt x="40" y="1121"/>
                  <a:pt x="47" y="1140"/>
                </a:cubicBezTo>
                <a:cubicBezTo>
                  <a:pt x="61" y="1175"/>
                  <a:pt x="80" y="1208"/>
                  <a:pt x="103" y="1239"/>
                </a:cubicBezTo>
                <a:cubicBezTo>
                  <a:pt x="146" y="1295"/>
                  <a:pt x="202" y="1344"/>
                  <a:pt x="275" y="1390"/>
                </a:cubicBezTo>
                <a:cubicBezTo>
                  <a:pt x="304" y="1409"/>
                  <a:pt x="335" y="1426"/>
                  <a:pt x="366" y="1441"/>
                </a:cubicBezTo>
                <a:close/>
                <a:moveTo>
                  <a:pt x="64" y="773"/>
                </a:moveTo>
                <a:cubicBezTo>
                  <a:pt x="67" y="798"/>
                  <a:pt x="74" y="823"/>
                  <a:pt x="84" y="848"/>
                </a:cubicBezTo>
                <a:cubicBezTo>
                  <a:pt x="107" y="785"/>
                  <a:pt x="165" y="713"/>
                  <a:pt x="209" y="677"/>
                </a:cubicBezTo>
                <a:cubicBezTo>
                  <a:pt x="272" y="628"/>
                  <a:pt x="353" y="583"/>
                  <a:pt x="451" y="545"/>
                </a:cubicBezTo>
                <a:cubicBezTo>
                  <a:pt x="515" y="521"/>
                  <a:pt x="582" y="501"/>
                  <a:pt x="652" y="486"/>
                </a:cubicBezTo>
                <a:cubicBezTo>
                  <a:pt x="652" y="314"/>
                  <a:pt x="652" y="314"/>
                  <a:pt x="652" y="314"/>
                </a:cubicBezTo>
                <a:cubicBezTo>
                  <a:pt x="640" y="317"/>
                  <a:pt x="627" y="320"/>
                  <a:pt x="615" y="323"/>
                </a:cubicBezTo>
                <a:cubicBezTo>
                  <a:pt x="544" y="340"/>
                  <a:pt x="476" y="361"/>
                  <a:pt x="413" y="386"/>
                </a:cubicBezTo>
                <a:cubicBezTo>
                  <a:pt x="345" y="413"/>
                  <a:pt x="288" y="442"/>
                  <a:pt x="238" y="474"/>
                </a:cubicBezTo>
                <a:cubicBezTo>
                  <a:pt x="204" y="496"/>
                  <a:pt x="178" y="516"/>
                  <a:pt x="153" y="537"/>
                </a:cubicBezTo>
                <a:cubicBezTo>
                  <a:pt x="142" y="547"/>
                  <a:pt x="131" y="556"/>
                  <a:pt x="122" y="566"/>
                </a:cubicBezTo>
                <a:cubicBezTo>
                  <a:pt x="81" y="622"/>
                  <a:pt x="60" y="684"/>
                  <a:pt x="62" y="747"/>
                </a:cubicBezTo>
                <a:cubicBezTo>
                  <a:pt x="62" y="756"/>
                  <a:pt x="63" y="764"/>
                  <a:pt x="64" y="773"/>
                </a:cubicBezTo>
                <a:close/>
                <a:moveTo>
                  <a:pt x="1928" y="693"/>
                </a:moveTo>
                <a:cubicBezTo>
                  <a:pt x="1966" y="727"/>
                  <a:pt x="2007" y="795"/>
                  <a:pt x="2021" y="856"/>
                </a:cubicBezTo>
                <a:cubicBezTo>
                  <a:pt x="2034" y="828"/>
                  <a:pt x="2042" y="798"/>
                  <a:pt x="2045" y="768"/>
                </a:cubicBezTo>
                <a:cubicBezTo>
                  <a:pt x="2046" y="761"/>
                  <a:pt x="2047" y="754"/>
                  <a:pt x="2047" y="747"/>
                </a:cubicBezTo>
                <a:cubicBezTo>
                  <a:pt x="2049" y="670"/>
                  <a:pt x="2018" y="595"/>
                  <a:pt x="1958" y="530"/>
                </a:cubicBezTo>
                <a:cubicBezTo>
                  <a:pt x="1924" y="501"/>
                  <a:pt x="1884" y="473"/>
                  <a:pt x="1839" y="447"/>
                </a:cubicBezTo>
                <a:cubicBezTo>
                  <a:pt x="1782" y="415"/>
                  <a:pt x="1718" y="387"/>
                  <a:pt x="1639" y="359"/>
                </a:cubicBezTo>
                <a:cubicBezTo>
                  <a:pt x="1584" y="340"/>
                  <a:pt x="1524" y="324"/>
                  <a:pt x="1457" y="310"/>
                </a:cubicBezTo>
                <a:cubicBezTo>
                  <a:pt x="1457" y="482"/>
                  <a:pt x="1457" y="482"/>
                  <a:pt x="1457" y="482"/>
                </a:cubicBezTo>
                <a:cubicBezTo>
                  <a:pt x="1542" y="500"/>
                  <a:pt x="1625" y="525"/>
                  <a:pt x="1700" y="556"/>
                </a:cubicBezTo>
                <a:cubicBezTo>
                  <a:pt x="1795" y="595"/>
                  <a:pt x="1871" y="642"/>
                  <a:pt x="1928" y="693"/>
                </a:cubicBezTo>
                <a:close/>
                <a:moveTo>
                  <a:pt x="1054" y="814"/>
                </a:moveTo>
                <a:cubicBezTo>
                  <a:pt x="1186" y="814"/>
                  <a:pt x="1408" y="789"/>
                  <a:pt x="1408" y="696"/>
                </a:cubicBezTo>
                <a:cubicBezTo>
                  <a:pt x="1408" y="118"/>
                  <a:pt x="1408" y="118"/>
                  <a:pt x="1408" y="118"/>
                </a:cubicBezTo>
                <a:cubicBezTo>
                  <a:pt x="1408" y="25"/>
                  <a:pt x="1186" y="0"/>
                  <a:pt x="1054" y="0"/>
                </a:cubicBezTo>
                <a:cubicBezTo>
                  <a:pt x="923" y="0"/>
                  <a:pt x="701" y="25"/>
                  <a:pt x="701" y="118"/>
                </a:cubicBezTo>
                <a:cubicBezTo>
                  <a:pt x="701" y="696"/>
                  <a:pt x="701" y="696"/>
                  <a:pt x="701" y="696"/>
                </a:cubicBezTo>
                <a:cubicBezTo>
                  <a:pt x="701" y="789"/>
                  <a:pt x="923" y="814"/>
                  <a:pt x="1054" y="814"/>
                </a:cubicBezTo>
                <a:close/>
                <a:moveTo>
                  <a:pt x="1054" y="35"/>
                </a:moveTo>
                <a:cubicBezTo>
                  <a:pt x="1219" y="35"/>
                  <a:pt x="1352" y="71"/>
                  <a:pt x="1352" y="116"/>
                </a:cubicBezTo>
                <a:cubicBezTo>
                  <a:pt x="1352" y="161"/>
                  <a:pt x="1219" y="197"/>
                  <a:pt x="1054" y="197"/>
                </a:cubicBezTo>
                <a:cubicBezTo>
                  <a:pt x="890" y="197"/>
                  <a:pt x="757" y="161"/>
                  <a:pt x="757" y="116"/>
                </a:cubicBezTo>
                <a:cubicBezTo>
                  <a:pt x="757" y="71"/>
                  <a:pt x="890" y="35"/>
                  <a:pt x="1054" y="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/>
          <a:lstStyle/>
          <a:p>
            <a:pPr defTabSz="932180"/>
            <a:endParaRPr lang="en-US" sz="1400" dirty="0">
              <a:solidFill>
                <a:srgbClr val="FFFFFF"/>
              </a:solidFill>
              <a:latin typeface="Segoe UI" panose="020B0502040204020203" pitchFamily="34" charset="0"/>
            </a:endParaRPr>
          </a:p>
        </p:txBody>
      </p:sp>
      <p:sp>
        <p:nvSpPr>
          <p:cNvPr id="173" name="Freeform 82"/>
          <p:cNvSpPr>
            <a:spLocks noEditPoints="1"/>
          </p:cNvSpPr>
          <p:nvPr/>
        </p:nvSpPr>
        <p:spPr bwMode="black">
          <a:xfrm>
            <a:off x="1610070" y="1673717"/>
            <a:ext cx="945706" cy="718224"/>
          </a:xfrm>
          <a:custGeom>
            <a:avLst/>
            <a:gdLst>
              <a:gd name="T0" fmla="*/ 590 w 2193"/>
              <a:gd name="T1" fmla="*/ 531 h 2197"/>
              <a:gd name="T2" fmla="*/ 1140 w 2193"/>
              <a:gd name="T3" fmla="*/ 364 h 2197"/>
              <a:gd name="T4" fmla="*/ 1100 w 2193"/>
              <a:gd name="T5" fmla="*/ 435 h 2197"/>
              <a:gd name="T6" fmla="*/ 1066 w 2193"/>
              <a:gd name="T7" fmla="*/ 405 h 2197"/>
              <a:gd name="T8" fmla="*/ 1025 w 2193"/>
              <a:gd name="T9" fmla="*/ 503 h 2197"/>
              <a:gd name="T10" fmla="*/ 951 w 2193"/>
              <a:gd name="T11" fmla="*/ 405 h 2197"/>
              <a:gd name="T12" fmla="*/ 992 w 2193"/>
              <a:gd name="T13" fmla="*/ 503 h 2197"/>
              <a:gd name="T14" fmla="*/ 877 w 2193"/>
              <a:gd name="T15" fmla="*/ 364 h 2197"/>
              <a:gd name="T16" fmla="*/ 917 w 2193"/>
              <a:gd name="T17" fmla="*/ 544 h 2197"/>
              <a:gd name="T18" fmla="*/ 802 w 2193"/>
              <a:gd name="T19" fmla="*/ 435 h 2197"/>
              <a:gd name="T20" fmla="*/ 802 w 2193"/>
              <a:gd name="T21" fmla="*/ 544 h 2197"/>
              <a:gd name="T22" fmla="*/ 768 w 2193"/>
              <a:gd name="T23" fmla="*/ 435 h 2197"/>
              <a:gd name="T24" fmla="*/ 727 w 2193"/>
              <a:gd name="T25" fmla="*/ 503 h 2197"/>
              <a:gd name="T26" fmla="*/ 693 w 2193"/>
              <a:gd name="T27" fmla="*/ 476 h 2197"/>
              <a:gd name="T28" fmla="*/ 655 w 2193"/>
              <a:gd name="T29" fmla="*/ 282 h 2197"/>
              <a:gd name="T30" fmla="*/ 655 w 2193"/>
              <a:gd name="T31" fmla="*/ 282 h 2197"/>
              <a:gd name="T32" fmla="*/ 1140 w 2193"/>
              <a:gd name="T33" fmla="*/ 92 h 2197"/>
              <a:gd name="T34" fmla="*/ 1100 w 2193"/>
              <a:gd name="T35" fmla="*/ 191 h 2197"/>
              <a:gd name="T36" fmla="*/ 1025 w 2193"/>
              <a:gd name="T37" fmla="*/ 92 h 2197"/>
              <a:gd name="T38" fmla="*/ 1066 w 2193"/>
              <a:gd name="T39" fmla="*/ 191 h 2197"/>
              <a:gd name="T40" fmla="*/ 951 w 2193"/>
              <a:gd name="T41" fmla="*/ 52 h 2197"/>
              <a:gd name="T42" fmla="*/ 992 w 2193"/>
              <a:gd name="T43" fmla="*/ 231 h 2197"/>
              <a:gd name="T44" fmla="*/ 877 w 2193"/>
              <a:gd name="T45" fmla="*/ 123 h 2197"/>
              <a:gd name="T46" fmla="*/ 877 w 2193"/>
              <a:gd name="T47" fmla="*/ 231 h 2197"/>
              <a:gd name="T48" fmla="*/ 842 w 2193"/>
              <a:gd name="T49" fmla="*/ 123 h 2197"/>
              <a:gd name="T50" fmla="*/ 802 w 2193"/>
              <a:gd name="T51" fmla="*/ 191 h 2197"/>
              <a:gd name="T52" fmla="*/ 768 w 2193"/>
              <a:gd name="T53" fmla="*/ 163 h 2197"/>
              <a:gd name="T54" fmla="*/ 653 w 2193"/>
              <a:gd name="T55" fmla="*/ 52 h 2197"/>
              <a:gd name="T56" fmla="*/ 653 w 2193"/>
              <a:gd name="T57" fmla="*/ 163 h 2197"/>
              <a:gd name="T58" fmla="*/ 1315 w 2193"/>
              <a:gd name="T59" fmla="*/ 2023 h 2197"/>
              <a:gd name="T60" fmla="*/ 1444 w 2193"/>
              <a:gd name="T61" fmla="*/ 2179 h 2197"/>
              <a:gd name="T62" fmla="*/ 1597 w 2193"/>
              <a:gd name="T63" fmla="*/ 1488 h 2197"/>
              <a:gd name="T64" fmla="*/ 2182 w 2193"/>
              <a:gd name="T65" fmla="*/ 1590 h 2197"/>
              <a:gd name="T66" fmla="*/ 925 w 2193"/>
              <a:gd name="T67" fmla="*/ 1617 h 2197"/>
              <a:gd name="T68" fmla="*/ 1137 w 2193"/>
              <a:gd name="T69" fmla="*/ 1617 h 2197"/>
              <a:gd name="T70" fmla="*/ 2090 w 2193"/>
              <a:gd name="T71" fmla="*/ 1142 h 2197"/>
              <a:gd name="T72" fmla="*/ 1538 w 2193"/>
              <a:gd name="T73" fmla="*/ 908 h 2197"/>
              <a:gd name="T74" fmla="*/ 1043 w 2193"/>
              <a:gd name="T75" fmla="*/ 908 h 2197"/>
              <a:gd name="T76" fmla="*/ 103 w 2193"/>
              <a:gd name="T77" fmla="*/ 1377 h 2197"/>
              <a:gd name="T78" fmla="*/ 1675 w 2193"/>
              <a:gd name="T79" fmla="*/ 1407 h 2197"/>
              <a:gd name="T80" fmla="*/ 1268 w 2193"/>
              <a:gd name="T81" fmla="*/ 1660 h 2197"/>
              <a:gd name="T82" fmla="*/ 1268 w 2193"/>
              <a:gd name="T83" fmla="*/ 1660 h 2197"/>
              <a:gd name="T84" fmla="*/ 1140 w 2193"/>
              <a:gd name="T85" fmla="*/ 788 h 2197"/>
              <a:gd name="T86" fmla="*/ 1025 w 2193"/>
              <a:gd name="T87" fmla="*/ 677 h 2197"/>
              <a:gd name="T88" fmla="*/ 1025 w 2193"/>
              <a:gd name="T89" fmla="*/ 788 h 2197"/>
              <a:gd name="T90" fmla="*/ 653 w 2193"/>
              <a:gd name="T91" fmla="*/ 788 h 2197"/>
              <a:gd name="T92" fmla="*/ 693 w 2193"/>
              <a:gd name="T93" fmla="*/ 717 h 2197"/>
              <a:gd name="T94" fmla="*/ 727 w 2193"/>
              <a:gd name="T95" fmla="*/ 748 h 2197"/>
              <a:gd name="T96" fmla="*/ 842 w 2193"/>
              <a:gd name="T97" fmla="*/ 856 h 2197"/>
              <a:gd name="T98" fmla="*/ 842 w 2193"/>
              <a:gd name="T99" fmla="*/ 748 h 2197"/>
              <a:gd name="T100" fmla="*/ 877 w 2193"/>
              <a:gd name="T101" fmla="*/ 856 h 2197"/>
              <a:gd name="T102" fmla="*/ 917 w 2193"/>
              <a:gd name="T103" fmla="*/ 788 h 2197"/>
              <a:gd name="T104" fmla="*/ 951 w 2193"/>
              <a:gd name="T105" fmla="*/ 816 h 2197"/>
              <a:gd name="T106" fmla="*/ 992 w 2193"/>
              <a:gd name="T107" fmla="*/ 717 h 2197"/>
              <a:gd name="T108" fmla="*/ 1066 w 2193"/>
              <a:gd name="T109" fmla="*/ 856 h 2197"/>
              <a:gd name="T110" fmla="*/ 176 w 2193"/>
              <a:gd name="T111" fmla="*/ 1407 h 2197"/>
              <a:gd name="T112" fmla="*/ 0 w 2193"/>
              <a:gd name="T113" fmla="*/ 1622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93" h="2197">
                <a:moveTo>
                  <a:pt x="655" y="595"/>
                </a:moveTo>
                <a:cubicBezTo>
                  <a:pt x="1538" y="595"/>
                  <a:pt x="1538" y="595"/>
                  <a:pt x="1538" y="595"/>
                </a:cubicBezTo>
                <a:cubicBezTo>
                  <a:pt x="1574" y="595"/>
                  <a:pt x="1603" y="566"/>
                  <a:pt x="1603" y="531"/>
                </a:cubicBezTo>
                <a:cubicBezTo>
                  <a:pt x="1603" y="377"/>
                  <a:pt x="1603" y="377"/>
                  <a:pt x="1603" y="377"/>
                </a:cubicBezTo>
                <a:cubicBezTo>
                  <a:pt x="1603" y="342"/>
                  <a:pt x="1574" y="313"/>
                  <a:pt x="1538" y="313"/>
                </a:cubicBezTo>
                <a:cubicBezTo>
                  <a:pt x="655" y="313"/>
                  <a:pt x="655" y="313"/>
                  <a:pt x="655" y="313"/>
                </a:cubicBezTo>
                <a:cubicBezTo>
                  <a:pt x="619" y="313"/>
                  <a:pt x="590" y="342"/>
                  <a:pt x="590" y="377"/>
                </a:cubicBezTo>
                <a:cubicBezTo>
                  <a:pt x="590" y="531"/>
                  <a:pt x="590" y="531"/>
                  <a:pt x="590" y="531"/>
                </a:cubicBezTo>
                <a:cubicBezTo>
                  <a:pt x="590" y="566"/>
                  <a:pt x="619" y="595"/>
                  <a:pt x="655" y="595"/>
                </a:cubicBezTo>
                <a:close/>
                <a:moveTo>
                  <a:pt x="1464" y="403"/>
                </a:moveTo>
                <a:cubicBezTo>
                  <a:pt x="1492" y="403"/>
                  <a:pt x="1515" y="426"/>
                  <a:pt x="1515" y="454"/>
                </a:cubicBezTo>
                <a:cubicBezTo>
                  <a:pt x="1515" y="482"/>
                  <a:pt x="1492" y="505"/>
                  <a:pt x="1464" y="505"/>
                </a:cubicBezTo>
                <a:cubicBezTo>
                  <a:pt x="1436" y="505"/>
                  <a:pt x="1413" y="482"/>
                  <a:pt x="1413" y="454"/>
                </a:cubicBezTo>
                <a:cubicBezTo>
                  <a:pt x="1413" y="426"/>
                  <a:pt x="1436" y="403"/>
                  <a:pt x="1464" y="403"/>
                </a:cubicBezTo>
                <a:close/>
                <a:moveTo>
                  <a:pt x="1100" y="364"/>
                </a:moveTo>
                <a:cubicBezTo>
                  <a:pt x="1140" y="364"/>
                  <a:pt x="1140" y="364"/>
                  <a:pt x="1140" y="364"/>
                </a:cubicBezTo>
                <a:cubicBezTo>
                  <a:pt x="1140" y="405"/>
                  <a:pt x="1140" y="405"/>
                  <a:pt x="1140" y="405"/>
                </a:cubicBezTo>
                <a:cubicBezTo>
                  <a:pt x="1100" y="405"/>
                  <a:pt x="1100" y="405"/>
                  <a:pt x="1100" y="405"/>
                </a:cubicBezTo>
                <a:lnTo>
                  <a:pt x="1100" y="364"/>
                </a:lnTo>
                <a:close/>
                <a:moveTo>
                  <a:pt x="1100" y="435"/>
                </a:moveTo>
                <a:cubicBezTo>
                  <a:pt x="1140" y="435"/>
                  <a:pt x="1140" y="435"/>
                  <a:pt x="1140" y="435"/>
                </a:cubicBezTo>
                <a:cubicBezTo>
                  <a:pt x="1140" y="476"/>
                  <a:pt x="1140" y="476"/>
                  <a:pt x="1140" y="476"/>
                </a:cubicBezTo>
                <a:cubicBezTo>
                  <a:pt x="1100" y="476"/>
                  <a:pt x="1100" y="476"/>
                  <a:pt x="1100" y="476"/>
                </a:cubicBezTo>
                <a:lnTo>
                  <a:pt x="1100" y="435"/>
                </a:lnTo>
                <a:close/>
                <a:moveTo>
                  <a:pt x="1100" y="503"/>
                </a:moveTo>
                <a:cubicBezTo>
                  <a:pt x="1140" y="503"/>
                  <a:pt x="1140" y="503"/>
                  <a:pt x="1140" y="503"/>
                </a:cubicBezTo>
                <a:cubicBezTo>
                  <a:pt x="1140" y="544"/>
                  <a:pt x="1140" y="544"/>
                  <a:pt x="1140" y="544"/>
                </a:cubicBezTo>
                <a:cubicBezTo>
                  <a:pt x="1100" y="544"/>
                  <a:pt x="1100" y="544"/>
                  <a:pt x="1100" y="544"/>
                </a:cubicBezTo>
                <a:lnTo>
                  <a:pt x="1100" y="503"/>
                </a:lnTo>
                <a:close/>
                <a:moveTo>
                  <a:pt x="1025" y="364"/>
                </a:moveTo>
                <a:cubicBezTo>
                  <a:pt x="1066" y="364"/>
                  <a:pt x="1066" y="364"/>
                  <a:pt x="1066" y="364"/>
                </a:cubicBezTo>
                <a:cubicBezTo>
                  <a:pt x="1066" y="405"/>
                  <a:pt x="1066" y="405"/>
                  <a:pt x="1066" y="405"/>
                </a:cubicBezTo>
                <a:cubicBezTo>
                  <a:pt x="1025" y="405"/>
                  <a:pt x="1025" y="405"/>
                  <a:pt x="1025" y="405"/>
                </a:cubicBezTo>
                <a:lnTo>
                  <a:pt x="1025" y="364"/>
                </a:lnTo>
                <a:close/>
                <a:moveTo>
                  <a:pt x="1025" y="435"/>
                </a:moveTo>
                <a:cubicBezTo>
                  <a:pt x="1066" y="435"/>
                  <a:pt x="1066" y="435"/>
                  <a:pt x="1066" y="435"/>
                </a:cubicBezTo>
                <a:cubicBezTo>
                  <a:pt x="1066" y="476"/>
                  <a:pt x="1066" y="476"/>
                  <a:pt x="1066" y="476"/>
                </a:cubicBezTo>
                <a:cubicBezTo>
                  <a:pt x="1025" y="476"/>
                  <a:pt x="1025" y="476"/>
                  <a:pt x="1025" y="476"/>
                </a:cubicBezTo>
                <a:lnTo>
                  <a:pt x="1025" y="435"/>
                </a:lnTo>
                <a:close/>
                <a:moveTo>
                  <a:pt x="1025" y="503"/>
                </a:moveTo>
                <a:cubicBezTo>
                  <a:pt x="1066" y="503"/>
                  <a:pt x="1066" y="503"/>
                  <a:pt x="1066" y="503"/>
                </a:cubicBezTo>
                <a:cubicBezTo>
                  <a:pt x="1066" y="544"/>
                  <a:pt x="1066" y="544"/>
                  <a:pt x="1066" y="544"/>
                </a:cubicBezTo>
                <a:cubicBezTo>
                  <a:pt x="1025" y="544"/>
                  <a:pt x="1025" y="544"/>
                  <a:pt x="1025" y="544"/>
                </a:cubicBezTo>
                <a:lnTo>
                  <a:pt x="1025" y="503"/>
                </a:lnTo>
                <a:close/>
                <a:moveTo>
                  <a:pt x="951" y="364"/>
                </a:moveTo>
                <a:cubicBezTo>
                  <a:pt x="992" y="364"/>
                  <a:pt x="992" y="364"/>
                  <a:pt x="992" y="364"/>
                </a:cubicBezTo>
                <a:cubicBezTo>
                  <a:pt x="992" y="405"/>
                  <a:pt x="992" y="405"/>
                  <a:pt x="992" y="405"/>
                </a:cubicBezTo>
                <a:cubicBezTo>
                  <a:pt x="951" y="405"/>
                  <a:pt x="951" y="405"/>
                  <a:pt x="951" y="405"/>
                </a:cubicBezTo>
                <a:lnTo>
                  <a:pt x="951" y="364"/>
                </a:lnTo>
                <a:close/>
                <a:moveTo>
                  <a:pt x="951" y="435"/>
                </a:moveTo>
                <a:cubicBezTo>
                  <a:pt x="992" y="435"/>
                  <a:pt x="992" y="435"/>
                  <a:pt x="992" y="435"/>
                </a:cubicBezTo>
                <a:cubicBezTo>
                  <a:pt x="992" y="476"/>
                  <a:pt x="992" y="476"/>
                  <a:pt x="992" y="476"/>
                </a:cubicBezTo>
                <a:cubicBezTo>
                  <a:pt x="951" y="476"/>
                  <a:pt x="951" y="476"/>
                  <a:pt x="951" y="476"/>
                </a:cubicBezTo>
                <a:lnTo>
                  <a:pt x="951" y="435"/>
                </a:lnTo>
                <a:close/>
                <a:moveTo>
                  <a:pt x="951" y="503"/>
                </a:moveTo>
                <a:cubicBezTo>
                  <a:pt x="992" y="503"/>
                  <a:pt x="992" y="503"/>
                  <a:pt x="992" y="503"/>
                </a:cubicBezTo>
                <a:cubicBezTo>
                  <a:pt x="992" y="544"/>
                  <a:pt x="992" y="544"/>
                  <a:pt x="992" y="544"/>
                </a:cubicBezTo>
                <a:cubicBezTo>
                  <a:pt x="951" y="544"/>
                  <a:pt x="951" y="544"/>
                  <a:pt x="951" y="544"/>
                </a:cubicBezTo>
                <a:lnTo>
                  <a:pt x="951" y="503"/>
                </a:lnTo>
                <a:close/>
                <a:moveTo>
                  <a:pt x="877" y="364"/>
                </a:moveTo>
                <a:cubicBezTo>
                  <a:pt x="917" y="364"/>
                  <a:pt x="917" y="364"/>
                  <a:pt x="917" y="364"/>
                </a:cubicBezTo>
                <a:cubicBezTo>
                  <a:pt x="917" y="405"/>
                  <a:pt x="917" y="405"/>
                  <a:pt x="917" y="405"/>
                </a:cubicBezTo>
                <a:cubicBezTo>
                  <a:pt x="877" y="405"/>
                  <a:pt x="877" y="405"/>
                  <a:pt x="877" y="405"/>
                </a:cubicBezTo>
                <a:lnTo>
                  <a:pt x="877" y="364"/>
                </a:lnTo>
                <a:close/>
                <a:moveTo>
                  <a:pt x="877" y="435"/>
                </a:moveTo>
                <a:cubicBezTo>
                  <a:pt x="917" y="435"/>
                  <a:pt x="917" y="435"/>
                  <a:pt x="917" y="435"/>
                </a:cubicBezTo>
                <a:cubicBezTo>
                  <a:pt x="917" y="476"/>
                  <a:pt x="917" y="476"/>
                  <a:pt x="917" y="476"/>
                </a:cubicBezTo>
                <a:cubicBezTo>
                  <a:pt x="877" y="476"/>
                  <a:pt x="877" y="476"/>
                  <a:pt x="877" y="476"/>
                </a:cubicBezTo>
                <a:lnTo>
                  <a:pt x="877" y="435"/>
                </a:lnTo>
                <a:close/>
                <a:moveTo>
                  <a:pt x="877" y="503"/>
                </a:moveTo>
                <a:cubicBezTo>
                  <a:pt x="917" y="503"/>
                  <a:pt x="917" y="503"/>
                  <a:pt x="917" y="503"/>
                </a:cubicBezTo>
                <a:cubicBezTo>
                  <a:pt x="917" y="544"/>
                  <a:pt x="917" y="544"/>
                  <a:pt x="917" y="544"/>
                </a:cubicBezTo>
                <a:cubicBezTo>
                  <a:pt x="877" y="544"/>
                  <a:pt x="877" y="544"/>
                  <a:pt x="877" y="544"/>
                </a:cubicBezTo>
                <a:lnTo>
                  <a:pt x="877" y="503"/>
                </a:lnTo>
                <a:close/>
                <a:moveTo>
                  <a:pt x="802" y="364"/>
                </a:moveTo>
                <a:cubicBezTo>
                  <a:pt x="842" y="364"/>
                  <a:pt x="842" y="364"/>
                  <a:pt x="842" y="364"/>
                </a:cubicBezTo>
                <a:cubicBezTo>
                  <a:pt x="842" y="405"/>
                  <a:pt x="842" y="405"/>
                  <a:pt x="842" y="405"/>
                </a:cubicBezTo>
                <a:cubicBezTo>
                  <a:pt x="802" y="405"/>
                  <a:pt x="802" y="405"/>
                  <a:pt x="802" y="405"/>
                </a:cubicBezTo>
                <a:lnTo>
                  <a:pt x="802" y="364"/>
                </a:lnTo>
                <a:close/>
                <a:moveTo>
                  <a:pt x="802" y="435"/>
                </a:moveTo>
                <a:cubicBezTo>
                  <a:pt x="842" y="435"/>
                  <a:pt x="842" y="435"/>
                  <a:pt x="842" y="435"/>
                </a:cubicBezTo>
                <a:cubicBezTo>
                  <a:pt x="842" y="476"/>
                  <a:pt x="842" y="476"/>
                  <a:pt x="842" y="476"/>
                </a:cubicBezTo>
                <a:cubicBezTo>
                  <a:pt x="802" y="476"/>
                  <a:pt x="802" y="476"/>
                  <a:pt x="802" y="476"/>
                </a:cubicBezTo>
                <a:lnTo>
                  <a:pt x="802" y="435"/>
                </a:lnTo>
                <a:close/>
                <a:moveTo>
                  <a:pt x="802" y="503"/>
                </a:moveTo>
                <a:cubicBezTo>
                  <a:pt x="842" y="503"/>
                  <a:pt x="842" y="503"/>
                  <a:pt x="842" y="503"/>
                </a:cubicBezTo>
                <a:cubicBezTo>
                  <a:pt x="842" y="544"/>
                  <a:pt x="842" y="544"/>
                  <a:pt x="842" y="544"/>
                </a:cubicBezTo>
                <a:cubicBezTo>
                  <a:pt x="802" y="544"/>
                  <a:pt x="802" y="544"/>
                  <a:pt x="802" y="544"/>
                </a:cubicBezTo>
                <a:lnTo>
                  <a:pt x="802" y="503"/>
                </a:lnTo>
                <a:close/>
                <a:moveTo>
                  <a:pt x="727" y="364"/>
                </a:moveTo>
                <a:cubicBezTo>
                  <a:pt x="768" y="364"/>
                  <a:pt x="768" y="364"/>
                  <a:pt x="768" y="364"/>
                </a:cubicBezTo>
                <a:cubicBezTo>
                  <a:pt x="768" y="405"/>
                  <a:pt x="768" y="405"/>
                  <a:pt x="768" y="405"/>
                </a:cubicBezTo>
                <a:cubicBezTo>
                  <a:pt x="727" y="405"/>
                  <a:pt x="727" y="405"/>
                  <a:pt x="727" y="405"/>
                </a:cubicBezTo>
                <a:lnTo>
                  <a:pt x="727" y="364"/>
                </a:lnTo>
                <a:close/>
                <a:moveTo>
                  <a:pt x="727" y="435"/>
                </a:moveTo>
                <a:cubicBezTo>
                  <a:pt x="768" y="435"/>
                  <a:pt x="768" y="435"/>
                  <a:pt x="768" y="435"/>
                </a:cubicBezTo>
                <a:cubicBezTo>
                  <a:pt x="768" y="476"/>
                  <a:pt x="768" y="476"/>
                  <a:pt x="768" y="476"/>
                </a:cubicBezTo>
                <a:cubicBezTo>
                  <a:pt x="727" y="476"/>
                  <a:pt x="727" y="476"/>
                  <a:pt x="727" y="476"/>
                </a:cubicBezTo>
                <a:lnTo>
                  <a:pt x="727" y="435"/>
                </a:lnTo>
                <a:close/>
                <a:moveTo>
                  <a:pt x="727" y="503"/>
                </a:moveTo>
                <a:cubicBezTo>
                  <a:pt x="768" y="503"/>
                  <a:pt x="768" y="503"/>
                  <a:pt x="768" y="503"/>
                </a:cubicBezTo>
                <a:cubicBezTo>
                  <a:pt x="768" y="544"/>
                  <a:pt x="768" y="544"/>
                  <a:pt x="768" y="544"/>
                </a:cubicBezTo>
                <a:cubicBezTo>
                  <a:pt x="727" y="544"/>
                  <a:pt x="727" y="544"/>
                  <a:pt x="727" y="544"/>
                </a:cubicBezTo>
                <a:lnTo>
                  <a:pt x="727" y="503"/>
                </a:lnTo>
                <a:close/>
                <a:moveTo>
                  <a:pt x="653" y="364"/>
                </a:moveTo>
                <a:cubicBezTo>
                  <a:pt x="693" y="364"/>
                  <a:pt x="693" y="364"/>
                  <a:pt x="693" y="364"/>
                </a:cubicBezTo>
                <a:cubicBezTo>
                  <a:pt x="693" y="405"/>
                  <a:pt x="693" y="405"/>
                  <a:pt x="693" y="405"/>
                </a:cubicBezTo>
                <a:cubicBezTo>
                  <a:pt x="653" y="405"/>
                  <a:pt x="653" y="405"/>
                  <a:pt x="653" y="405"/>
                </a:cubicBezTo>
                <a:lnTo>
                  <a:pt x="653" y="364"/>
                </a:lnTo>
                <a:close/>
                <a:moveTo>
                  <a:pt x="653" y="435"/>
                </a:moveTo>
                <a:cubicBezTo>
                  <a:pt x="693" y="435"/>
                  <a:pt x="693" y="435"/>
                  <a:pt x="693" y="435"/>
                </a:cubicBezTo>
                <a:cubicBezTo>
                  <a:pt x="693" y="476"/>
                  <a:pt x="693" y="476"/>
                  <a:pt x="693" y="476"/>
                </a:cubicBezTo>
                <a:cubicBezTo>
                  <a:pt x="653" y="476"/>
                  <a:pt x="653" y="476"/>
                  <a:pt x="653" y="476"/>
                </a:cubicBezTo>
                <a:lnTo>
                  <a:pt x="653" y="435"/>
                </a:lnTo>
                <a:close/>
                <a:moveTo>
                  <a:pt x="653" y="503"/>
                </a:moveTo>
                <a:cubicBezTo>
                  <a:pt x="693" y="503"/>
                  <a:pt x="693" y="503"/>
                  <a:pt x="693" y="503"/>
                </a:cubicBezTo>
                <a:cubicBezTo>
                  <a:pt x="693" y="544"/>
                  <a:pt x="693" y="544"/>
                  <a:pt x="693" y="544"/>
                </a:cubicBezTo>
                <a:cubicBezTo>
                  <a:pt x="653" y="544"/>
                  <a:pt x="653" y="544"/>
                  <a:pt x="653" y="544"/>
                </a:cubicBezTo>
                <a:lnTo>
                  <a:pt x="653" y="503"/>
                </a:lnTo>
                <a:close/>
                <a:moveTo>
                  <a:pt x="655" y="282"/>
                </a:moveTo>
                <a:cubicBezTo>
                  <a:pt x="1538" y="282"/>
                  <a:pt x="1538" y="282"/>
                  <a:pt x="1538" y="282"/>
                </a:cubicBezTo>
                <a:cubicBezTo>
                  <a:pt x="1574" y="282"/>
                  <a:pt x="1603" y="254"/>
                  <a:pt x="1603" y="218"/>
                </a:cubicBezTo>
                <a:cubicBezTo>
                  <a:pt x="1603" y="65"/>
                  <a:pt x="1603" y="65"/>
                  <a:pt x="1603" y="65"/>
                </a:cubicBezTo>
                <a:cubicBezTo>
                  <a:pt x="1603" y="29"/>
                  <a:pt x="1574" y="0"/>
                  <a:pt x="1538" y="0"/>
                </a:cubicBezTo>
                <a:cubicBezTo>
                  <a:pt x="655" y="0"/>
                  <a:pt x="655" y="0"/>
                  <a:pt x="655" y="0"/>
                </a:cubicBezTo>
                <a:cubicBezTo>
                  <a:pt x="619" y="0"/>
                  <a:pt x="590" y="29"/>
                  <a:pt x="590" y="65"/>
                </a:cubicBezTo>
                <a:cubicBezTo>
                  <a:pt x="590" y="218"/>
                  <a:pt x="590" y="218"/>
                  <a:pt x="590" y="218"/>
                </a:cubicBezTo>
                <a:cubicBezTo>
                  <a:pt x="590" y="254"/>
                  <a:pt x="619" y="282"/>
                  <a:pt x="655" y="282"/>
                </a:cubicBezTo>
                <a:close/>
                <a:moveTo>
                  <a:pt x="1464" y="90"/>
                </a:moveTo>
                <a:cubicBezTo>
                  <a:pt x="1492" y="90"/>
                  <a:pt x="1515" y="113"/>
                  <a:pt x="1515" y="141"/>
                </a:cubicBezTo>
                <a:cubicBezTo>
                  <a:pt x="1515" y="170"/>
                  <a:pt x="1492" y="192"/>
                  <a:pt x="1464" y="192"/>
                </a:cubicBezTo>
                <a:cubicBezTo>
                  <a:pt x="1436" y="192"/>
                  <a:pt x="1413" y="170"/>
                  <a:pt x="1413" y="141"/>
                </a:cubicBezTo>
                <a:cubicBezTo>
                  <a:pt x="1413" y="113"/>
                  <a:pt x="1436" y="90"/>
                  <a:pt x="1464" y="90"/>
                </a:cubicBezTo>
                <a:close/>
                <a:moveTo>
                  <a:pt x="1100" y="52"/>
                </a:moveTo>
                <a:cubicBezTo>
                  <a:pt x="1140" y="52"/>
                  <a:pt x="1140" y="52"/>
                  <a:pt x="1140" y="52"/>
                </a:cubicBezTo>
                <a:cubicBezTo>
                  <a:pt x="1140" y="92"/>
                  <a:pt x="1140" y="92"/>
                  <a:pt x="1140" y="92"/>
                </a:cubicBezTo>
                <a:cubicBezTo>
                  <a:pt x="1100" y="92"/>
                  <a:pt x="1100" y="92"/>
                  <a:pt x="1100" y="92"/>
                </a:cubicBezTo>
                <a:lnTo>
                  <a:pt x="1100" y="52"/>
                </a:lnTo>
                <a:close/>
                <a:moveTo>
                  <a:pt x="1100" y="123"/>
                </a:moveTo>
                <a:cubicBezTo>
                  <a:pt x="1140" y="123"/>
                  <a:pt x="1140" y="123"/>
                  <a:pt x="1140" y="123"/>
                </a:cubicBezTo>
                <a:cubicBezTo>
                  <a:pt x="1140" y="163"/>
                  <a:pt x="1140" y="163"/>
                  <a:pt x="1140" y="163"/>
                </a:cubicBezTo>
                <a:cubicBezTo>
                  <a:pt x="1100" y="163"/>
                  <a:pt x="1100" y="163"/>
                  <a:pt x="1100" y="163"/>
                </a:cubicBezTo>
                <a:lnTo>
                  <a:pt x="1100" y="123"/>
                </a:lnTo>
                <a:close/>
                <a:moveTo>
                  <a:pt x="1100" y="191"/>
                </a:moveTo>
                <a:cubicBezTo>
                  <a:pt x="1140" y="191"/>
                  <a:pt x="1140" y="191"/>
                  <a:pt x="1140" y="191"/>
                </a:cubicBezTo>
                <a:cubicBezTo>
                  <a:pt x="1140" y="231"/>
                  <a:pt x="1140" y="231"/>
                  <a:pt x="1140" y="231"/>
                </a:cubicBezTo>
                <a:cubicBezTo>
                  <a:pt x="1100" y="231"/>
                  <a:pt x="1100" y="231"/>
                  <a:pt x="1100" y="231"/>
                </a:cubicBezTo>
                <a:lnTo>
                  <a:pt x="1100" y="191"/>
                </a:lnTo>
                <a:close/>
                <a:moveTo>
                  <a:pt x="1025" y="52"/>
                </a:moveTo>
                <a:cubicBezTo>
                  <a:pt x="1066" y="52"/>
                  <a:pt x="1066" y="52"/>
                  <a:pt x="1066" y="52"/>
                </a:cubicBezTo>
                <a:cubicBezTo>
                  <a:pt x="1066" y="92"/>
                  <a:pt x="1066" y="92"/>
                  <a:pt x="1066" y="92"/>
                </a:cubicBezTo>
                <a:cubicBezTo>
                  <a:pt x="1025" y="92"/>
                  <a:pt x="1025" y="92"/>
                  <a:pt x="1025" y="92"/>
                </a:cubicBezTo>
                <a:lnTo>
                  <a:pt x="1025" y="52"/>
                </a:lnTo>
                <a:close/>
                <a:moveTo>
                  <a:pt x="1025" y="123"/>
                </a:moveTo>
                <a:cubicBezTo>
                  <a:pt x="1066" y="123"/>
                  <a:pt x="1066" y="123"/>
                  <a:pt x="1066" y="123"/>
                </a:cubicBezTo>
                <a:cubicBezTo>
                  <a:pt x="1066" y="163"/>
                  <a:pt x="1066" y="163"/>
                  <a:pt x="1066" y="163"/>
                </a:cubicBezTo>
                <a:cubicBezTo>
                  <a:pt x="1025" y="163"/>
                  <a:pt x="1025" y="163"/>
                  <a:pt x="1025" y="163"/>
                </a:cubicBezTo>
                <a:lnTo>
                  <a:pt x="1025" y="123"/>
                </a:lnTo>
                <a:close/>
                <a:moveTo>
                  <a:pt x="1025" y="191"/>
                </a:moveTo>
                <a:cubicBezTo>
                  <a:pt x="1066" y="191"/>
                  <a:pt x="1066" y="191"/>
                  <a:pt x="1066" y="191"/>
                </a:cubicBezTo>
                <a:cubicBezTo>
                  <a:pt x="1066" y="231"/>
                  <a:pt x="1066" y="231"/>
                  <a:pt x="1066" y="231"/>
                </a:cubicBezTo>
                <a:cubicBezTo>
                  <a:pt x="1025" y="231"/>
                  <a:pt x="1025" y="231"/>
                  <a:pt x="1025" y="231"/>
                </a:cubicBezTo>
                <a:lnTo>
                  <a:pt x="1025" y="191"/>
                </a:lnTo>
                <a:close/>
                <a:moveTo>
                  <a:pt x="951" y="52"/>
                </a:moveTo>
                <a:cubicBezTo>
                  <a:pt x="992" y="52"/>
                  <a:pt x="992" y="52"/>
                  <a:pt x="992" y="52"/>
                </a:cubicBezTo>
                <a:cubicBezTo>
                  <a:pt x="992" y="92"/>
                  <a:pt x="992" y="92"/>
                  <a:pt x="992" y="92"/>
                </a:cubicBezTo>
                <a:cubicBezTo>
                  <a:pt x="951" y="92"/>
                  <a:pt x="951" y="92"/>
                  <a:pt x="951" y="92"/>
                </a:cubicBezTo>
                <a:lnTo>
                  <a:pt x="951" y="52"/>
                </a:lnTo>
                <a:close/>
                <a:moveTo>
                  <a:pt x="951" y="123"/>
                </a:moveTo>
                <a:cubicBezTo>
                  <a:pt x="992" y="123"/>
                  <a:pt x="992" y="123"/>
                  <a:pt x="992" y="123"/>
                </a:cubicBezTo>
                <a:cubicBezTo>
                  <a:pt x="992" y="163"/>
                  <a:pt x="992" y="163"/>
                  <a:pt x="992" y="163"/>
                </a:cubicBezTo>
                <a:cubicBezTo>
                  <a:pt x="951" y="163"/>
                  <a:pt x="951" y="163"/>
                  <a:pt x="951" y="163"/>
                </a:cubicBezTo>
                <a:lnTo>
                  <a:pt x="951" y="123"/>
                </a:lnTo>
                <a:close/>
                <a:moveTo>
                  <a:pt x="951" y="191"/>
                </a:moveTo>
                <a:cubicBezTo>
                  <a:pt x="992" y="191"/>
                  <a:pt x="992" y="191"/>
                  <a:pt x="992" y="191"/>
                </a:cubicBezTo>
                <a:cubicBezTo>
                  <a:pt x="992" y="231"/>
                  <a:pt x="992" y="231"/>
                  <a:pt x="992" y="231"/>
                </a:cubicBezTo>
                <a:cubicBezTo>
                  <a:pt x="951" y="231"/>
                  <a:pt x="951" y="231"/>
                  <a:pt x="951" y="231"/>
                </a:cubicBezTo>
                <a:lnTo>
                  <a:pt x="951" y="191"/>
                </a:lnTo>
                <a:close/>
                <a:moveTo>
                  <a:pt x="877" y="52"/>
                </a:moveTo>
                <a:cubicBezTo>
                  <a:pt x="917" y="52"/>
                  <a:pt x="917" y="52"/>
                  <a:pt x="917" y="52"/>
                </a:cubicBezTo>
                <a:cubicBezTo>
                  <a:pt x="917" y="92"/>
                  <a:pt x="917" y="92"/>
                  <a:pt x="917" y="92"/>
                </a:cubicBezTo>
                <a:cubicBezTo>
                  <a:pt x="877" y="92"/>
                  <a:pt x="877" y="92"/>
                  <a:pt x="877" y="92"/>
                </a:cubicBezTo>
                <a:lnTo>
                  <a:pt x="877" y="52"/>
                </a:lnTo>
                <a:close/>
                <a:moveTo>
                  <a:pt x="877" y="123"/>
                </a:moveTo>
                <a:cubicBezTo>
                  <a:pt x="917" y="123"/>
                  <a:pt x="917" y="123"/>
                  <a:pt x="917" y="123"/>
                </a:cubicBezTo>
                <a:cubicBezTo>
                  <a:pt x="917" y="163"/>
                  <a:pt x="917" y="163"/>
                  <a:pt x="917" y="163"/>
                </a:cubicBezTo>
                <a:cubicBezTo>
                  <a:pt x="877" y="163"/>
                  <a:pt x="877" y="163"/>
                  <a:pt x="877" y="163"/>
                </a:cubicBezTo>
                <a:lnTo>
                  <a:pt x="877" y="123"/>
                </a:lnTo>
                <a:close/>
                <a:moveTo>
                  <a:pt x="877" y="191"/>
                </a:moveTo>
                <a:cubicBezTo>
                  <a:pt x="917" y="191"/>
                  <a:pt x="917" y="191"/>
                  <a:pt x="917" y="191"/>
                </a:cubicBezTo>
                <a:cubicBezTo>
                  <a:pt x="917" y="231"/>
                  <a:pt x="917" y="231"/>
                  <a:pt x="917" y="231"/>
                </a:cubicBezTo>
                <a:cubicBezTo>
                  <a:pt x="877" y="231"/>
                  <a:pt x="877" y="231"/>
                  <a:pt x="877" y="231"/>
                </a:cubicBezTo>
                <a:lnTo>
                  <a:pt x="877" y="191"/>
                </a:lnTo>
                <a:close/>
                <a:moveTo>
                  <a:pt x="802" y="52"/>
                </a:moveTo>
                <a:cubicBezTo>
                  <a:pt x="842" y="52"/>
                  <a:pt x="842" y="52"/>
                  <a:pt x="842" y="52"/>
                </a:cubicBezTo>
                <a:cubicBezTo>
                  <a:pt x="842" y="92"/>
                  <a:pt x="842" y="92"/>
                  <a:pt x="842" y="92"/>
                </a:cubicBezTo>
                <a:cubicBezTo>
                  <a:pt x="802" y="92"/>
                  <a:pt x="802" y="92"/>
                  <a:pt x="802" y="92"/>
                </a:cubicBezTo>
                <a:lnTo>
                  <a:pt x="802" y="52"/>
                </a:lnTo>
                <a:close/>
                <a:moveTo>
                  <a:pt x="802" y="123"/>
                </a:moveTo>
                <a:cubicBezTo>
                  <a:pt x="842" y="123"/>
                  <a:pt x="842" y="123"/>
                  <a:pt x="842" y="123"/>
                </a:cubicBezTo>
                <a:cubicBezTo>
                  <a:pt x="842" y="163"/>
                  <a:pt x="842" y="163"/>
                  <a:pt x="842" y="163"/>
                </a:cubicBezTo>
                <a:cubicBezTo>
                  <a:pt x="802" y="163"/>
                  <a:pt x="802" y="163"/>
                  <a:pt x="802" y="163"/>
                </a:cubicBezTo>
                <a:lnTo>
                  <a:pt x="802" y="123"/>
                </a:lnTo>
                <a:close/>
                <a:moveTo>
                  <a:pt x="802" y="191"/>
                </a:moveTo>
                <a:cubicBezTo>
                  <a:pt x="842" y="191"/>
                  <a:pt x="842" y="191"/>
                  <a:pt x="842" y="191"/>
                </a:cubicBezTo>
                <a:cubicBezTo>
                  <a:pt x="842" y="231"/>
                  <a:pt x="842" y="231"/>
                  <a:pt x="842" y="231"/>
                </a:cubicBezTo>
                <a:cubicBezTo>
                  <a:pt x="802" y="231"/>
                  <a:pt x="802" y="231"/>
                  <a:pt x="802" y="231"/>
                </a:cubicBezTo>
                <a:lnTo>
                  <a:pt x="802" y="191"/>
                </a:lnTo>
                <a:close/>
                <a:moveTo>
                  <a:pt x="727" y="52"/>
                </a:moveTo>
                <a:cubicBezTo>
                  <a:pt x="768" y="52"/>
                  <a:pt x="768" y="52"/>
                  <a:pt x="768" y="52"/>
                </a:cubicBezTo>
                <a:cubicBezTo>
                  <a:pt x="768" y="92"/>
                  <a:pt x="768" y="92"/>
                  <a:pt x="768" y="92"/>
                </a:cubicBezTo>
                <a:cubicBezTo>
                  <a:pt x="727" y="92"/>
                  <a:pt x="727" y="92"/>
                  <a:pt x="727" y="92"/>
                </a:cubicBezTo>
                <a:lnTo>
                  <a:pt x="727" y="52"/>
                </a:lnTo>
                <a:close/>
                <a:moveTo>
                  <a:pt x="727" y="123"/>
                </a:moveTo>
                <a:cubicBezTo>
                  <a:pt x="768" y="123"/>
                  <a:pt x="768" y="123"/>
                  <a:pt x="768" y="123"/>
                </a:cubicBezTo>
                <a:cubicBezTo>
                  <a:pt x="768" y="163"/>
                  <a:pt x="768" y="163"/>
                  <a:pt x="768" y="163"/>
                </a:cubicBezTo>
                <a:cubicBezTo>
                  <a:pt x="727" y="163"/>
                  <a:pt x="727" y="163"/>
                  <a:pt x="727" y="163"/>
                </a:cubicBezTo>
                <a:lnTo>
                  <a:pt x="727" y="123"/>
                </a:lnTo>
                <a:close/>
                <a:moveTo>
                  <a:pt x="727" y="191"/>
                </a:moveTo>
                <a:cubicBezTo>
                  <a:pt x="768" y="191"/>
                  <a:pt x="768" y="191"/>
                  <a:pt x="768" y="191"/>
                </a:cubicBezTo>
                <a:cubicBezTo>
                  <a:pt x="768" y="231"/>
                  <a:pt x="768" y="231"/>
                  <a:pt x="768" y="231"/>
                </a:cubicBezTo>
                <a:cubicBezTo>
                  <a:pt x="727" y="231"/>
                  <a:pt x="727" y="231"/>
                  <a:pt x="727" y="231"/>
                </a:cubicBezTo>
                <a:lnTo>
                  <a:pt x="727" y="191"/>
                </a:lnTo>
                <a:close/>
                <a:moveTo>
                  <a:pt x="653" y="52"/>
                </a:moveTo>
                <a:cubicBezTo>
                  <a:pt x="693" y="52"/>
                  <a:pt x="693" y="52"/>
                  <a:pt x="693" y="52"/>
                </a:cubicBezTo>
                <a:cubicBezTo>
                  <a:pt x="693" y="92"/>
                  <a:pt x="693" y="92"/>
                  <a:pt x="693" y="92"/>
                </a:cubicBezTo>
                <a:cubicBezTo>
                  <a:pt x="653" y="92"/>
                  <a:pt x="653" y="92"/>
                  <a:pt x="653" y="92"/>
                </a:cubicBezTo>
                <a:lnTo>
                  <a:pt x="653" y="52"/>
                </a:lnTo>
                <a:close/>
                <a:moveTo>
                  <a:pt x="653" y="123"/>
                </a:moveTo>
                <a:cubicBezTo>
                  <a:pt x="693" y="123"/>
                  <a:pt x="693" y="123"/>
                  <a:pt x="693" y="123"/>
                </a:cubicBezTo>
                <a:cubicBezTo>
                  <a:pt x="693" y="163"/>
                  <a:pt x="693" y="163"/>
                  <a:pt x="693" y="163"/>
                </a:cubicBezTo>
                <a:cubicBezTo>
                  <a:pt x="653" y="163"/>
                  <a:pt x="653" y="163"/>
                  <a:pt x="653" y="163"/>
                </a:cubicBezTo>
                <a:lnTo>
                  <a:pt x="653" y="123"/>
                </a:lnTo>
                <a:close/>
                <a:moveTo>
                  <a:pt x="653" y="191"/>
                </a:moveTo>
                <a:cubicBezTo>
                  <a:pt x="693" y="191"/>
                  <a:pt x="693" y="191"/>
                  <a:pt x="693" y="191"/>
                </a:cubicBezTo>
                <a:cubicBezTo>
                  <a:pt x="693" y="231"/>
                  <a:pt x="693" y="231"/>
                  <a:pt x="693" y="231"/>
                </a:cubicBezTo>
                <a:cubicBezTo>
                  <a:pt x="653" y="231"/>
                  <a:pt x="653" y="231"/>
                  <a:pt x="653" y="231"/>
                </a:cubicBezTo>
                <a:lnTo>
                  <a:pt x="653" y="191"/>
                </a:lnTo>
                <a:close/>
                <a:moveTo>
                  <a:pt x="1345" y="2036"/>
                </a:moveTo>
                <a:cubicBezTo>
                  <a:pt x="1339" y="2029"/>
                  <a:pt x="1325" y="2023"/>
                  <a:pt x="1315" y="2023"/>
                </a:cubicBezTo>
                <a:cubicBezTo>
                  <a:pt x="878" y="2023"/>
                  <a:pt x="878" y="2023"/>
                  <a:pt x="878" y="2023"/>
                </a:cubicBezTo>
                <a:cubicBezTo>
                  <a:pt x="868" y="2023"/>
                  <a:pt x="855" y="2029"/>
                  <a:pt x="848" y="2036"/>
                </a:cubicBezTo>
                <a:cubicBezTo>
                  <a:pt x="761" y="2138"/>
                  <a:pt x="761" y="2138"/>
                  <a:pt x="761" y="2138"/>
                </a:cubicBezTo>
                <a:cubicBezTo>
                  <a:pt x="755" y="2146"/>
                  <a:pt x="749" y="2160"/>
                  <a:pt x="749" y="2170"/>
                </a:cubicBezTo>
                <a:cubicBezTo>
                  <a:pt x="749" y="2179"/>
                  <a:pt x="749" y="2179"/>
                  <a:pt x="749" y="2179"/>
                </a:cubicBezTo>
                <a:cubicBezTo>
                  <a:pt x="749" y="2189"/>
                  <a:pt x="757" y="2197"/>
                  <a:pt x="767" y="2197"/>
                </a:cubicBezTo>
                <a:cubicBezTo>
                  <a:pt x="1426" y="2197"/>
                  <a:pt x="1426" y="2197"/>
                  <a:pt x="1426" y="2197"/>
                </a:cubicBezTo>
                <a:cubicBezTo>
                  <a:pt x="1436" y="2197"/>
                  <a:pt x="1444" y="2189"/>
                  <a:pt x="1444" y="2179"/>
                </a:cubicBezTo>
                <a:cubicBezTo>
                  <a:pt x="1444" y="2170"/>
                  <a:pt x="1444" y="2170"/>
                  <a:pt x="1444" y="2170"/>
                </a:cubicBezTo>
                <a:cubicBezTo>
                  <a:pt x="1444" y="2160"/>
                  <a:pt x="1439" y="2146"/>
                  <a:pt x="1432" y="2138"/>
                </a:cubicBezTo>
                <a:lnTo>
                  <a:pt x="1345" y="2036"/>
                </a:lnTo>
                <a:close/>
                <a:moveTo>
                  <a:pt x="2182" y="1590"/>
                </a:moveTo>
                <a:cubicBezTo>
                  <a:pt x="2095" y="1488"/>
                  <a:pt x="2095" y="1488"/>
                  <a:pt x="2095" y="1488"/>
                </a:cubicBezTo>
                <a:cubicBezTo>
                  <a:pt x="2088" y="1480"/>
                  <a:pt x="2075" y="1474"/>
                  <a:pt x="2065" y="1474"/>
                </a:cubicBezTo>
                <a:cubicBezTo>
                  <a:pt x="1627" y="1474"/>
                  <a:pt x="1627" y="1474"/>
                  <a:pt x="1627" y="1474"/>
                </a:cubicBezTo>
                <a:cubicBezTo>
                  <a:pt x="1617" y="1474"/>
                  <a:pt x="1604" y="1480"/>
                  <a:pt x="1597" y="1488"/>
                </a:cubicBezTo>
                <a:cubicBezTo>
                  <a:pt x="1510" y="1590"/>
                  <a:pt x="1510" y="1590"/>
                  <a:pt x="1510" y="1590"/>
                </a:cubicBezTo>
                <a:cubicBezTo>
                  <a:pt x="1504" y="1598"/>
                  <a:pt x="1499" y="1612"/>
                  <a:pt x="1499" y="1622"/>
                </a:cubicBezTo>
                <a:cubicBezTo>
                  <a:pt x="1499" y="1630"/>
                  <a:pt x="1499" y="1630"/>
                  <a:pt x="1499" y="1630"/>
                </a:cubicBezTo>
                <a:cubicBezTo>
                  <a:pt x="1499" y="1640"/>
                  <a:pt x="1507" y="1649"/>
                  <a:pt x="1517" y="1649"/>
                </a:cubicBezTo>
                <a:cubicBezTo>
                  <a:pt x="2175" y="1649"/>
                  <a:pt x="2175" y="1649"/>
                  <a:pt x="2175" y="1649"/>
                </a:cubicBezTo>
                <a:cubicBezTo>
                  <a:pt x="2185" y="1649"/>
                  <a:pt x="2193" y="1640"/>
                  <a:pt x="2193" y="1630"/>
                </a:cubicBezTo>
                <a:cubicBezTo>
                  <a:pt x="2193" y="1622"/>
                  <a:pt x="2193" y="1622"/>
                  <a:pt x="2193" y="1622"/>
                </a:cubicBezTo>
                <a:cubicBezTo>
                  <a:pt x="2193" y="1612"/>
                  <a:pt x="2188" y="1598"/>
                  <a:pt x="2182" y="1590"/>
                </a:cubicBezTo>
                <a:close/>
                <a:moveTo>
                  <a:pt x="176" y="1449"/>
                </a:moveTo>
                <a:cubicBezTo>
                  <a:pt x="519" y="1449"/>
                  <a:pt x="519" y="1449"/>
                  <a:pt x="519" y="1449"/>
                </a:cubicBezTo>
                <a:cubicBezTo>
                  <a:pt x="559" y="1449"/>
                  <a:pt x="591" y="1417"/>
                  <a:pt x="591" y="1377"/>
                </a:cubicBezTo>
                <a:cubicBezTo>
                  <a:pt x="591" y="1322"/>
                  <a:pt x="591" y="1322"/>
                  <a:pt x="591" y="1322"/>
                </a:cubicBezTo>
                <a:cubicBezTo>
                  <a:pt x="920" y="1322"/>
                  <a:pt x="920" y="1322"/>
                  <a:pt x="920" y="1322"/>
                </a:cubicBezTo>
                <a:cubicBezTo>
                  <a:pt x="936" y="1388"/>
                  <a:pt x="990" y="1440"/>
                  <a:pt x="1057" y="1455"/>
                </a:cubicBezTo>
                <a:cubicBezTo>
                  <a:pt x="1057" y="1617"/>
                  <a:pt x="1057" y="1617"/>
                  <a:pt x="1057" y="1617"/>
                </a:cubicBezTo>
                <a:cubicBezTo>
                  <a:pt x="925" y="1617"/>
                  <a:pt x="925" y="1617"/>
                  <a:pt x="925" y="1617"/>
                </a:cubicBezTo>
                <a:cubicBezTo>
                  <a:pt x="885" y="1617"/>
                  <a:pt x="853" y="1650"/>
                  <a:pt x="853" y="1690"/>
                </a:cubicBezTo>
                <a:cubicBezTo>
                  <a:pt x="853" y="1925"/>
                  <a:pt x="853" y="1925"/>
                  <a:pt x="853" y="1925"/>
                </a:cubicBezTo>
                <a:cubicBezTo>
                  <a:pt x="853" y="1965"/>
                  <a:pt x="885" y="1997"/>
                  <a:pt x="925" y="1997"/>
                </a:cubicBezTo>
                <a:cubicBezTo>
                  <a:pt x="1268" y="1997"/>
                  <a:pt x="1268" y="1997"/>
                  <a:pt x="1268" y="1997"/>
                </a:cubicBezTo>
                <a:cubicBezTo>
                  <a:pt x="1308" y="1997"/>
                  <a:pt x="1341" y="1965"/>
                  <a:pt x="1341" y="1925"/>
                </a:cubicBezTo>
                <a:cubicBezTo>
                  <a:pt x="1341" y="1690"/>
                  <a:pt x="1341" y="1690"/>
                  <a:pt x="1341" y="1690"/>
                </a:cubicBezTo>
                <a:cubicBezTo>
                  <a:pt x="1341" y="1650"/>
                  <a:pt x="1308" y="1617"/>
                  <a:pt x="1268" y="1617"/>
                </a:cubicBezTo>
                <a:cubicBezTo>
                  <a:pt x="1137" y="1617"/>
                  <a:pt x="1137" y="1617"/>
                  <a:pt x="1137" y="1617"/>
                </a:cubicBezTo>
                <a:cubicBezTo>
                  <a:pt x="1137" y="1455"/>
                  <a:pt x="1137" y="1455"/>
                  <a:pt x="1137" y="1455"/>
                </a:cubicBezTo>
                <a:cubicBezTo>
                  <a:pt x="1204" y="1440"/>
                  <a:pt x="1257" y="1388"/>
                  <a:pt x="1273" y="1322"/>
                </a:cubicBezTo>
                <a:cubicBezTo>
                  <a:pt x="1602" y="1322"/>
                  <a:pt x="1602" y="1322"/>
                  <a:pt x="1602" y="1322"/>
                </a:cubicBezTo>
                <a:cubicBezTo>
                  <a:pt x="1602" y="1377"/>
                  <a:pt x="1602" y="1377"/>
                  <a:pt x="1602" y="1377"/>
                </a:cubicBezTo>
                <a:cubicBezTo>
                  <a:pt x="1602" y="1417"/>
                  <a:pt x="1634" y="1449"/>
                  <a:pt x="1675" y="1449"/>
                </a:cubicBezTo>
                <a:cubicBezTo>
                  <a:pt x="2018" y="1449"/>
                  <a:pt x="2018" y="1449"/>
                  <a:pt x="2018" y="1449"/>
                </a:cubicBezTo>
                <a:cubicBezTo>
                  <a:pt x="2058" y="1449"/>
                  <a:pt x="2090" y="1417"/>
                  <a:pt x="2090" y="1377"/>
                </a:cubicBezTo>
                <a:cubicBezTo>
                  <a:pt x="2090" y="1142"/>
                  <a:pt x="2090" y="1142"/>
                  <a:pt x="2090" y="1142"/>
                </a:cubicBezTo>
                <a:cubicBezTo>
                  <a:pt x="2090" y="1102"/>
                  <a:pt x="2058" y="1069"/>
                  <a:pt x="2018" y="1069"/>
                </a:cubicBezTo>
                <a:cubicBezTo>
                  <a:pt x="1675" y="1069"/>
                  <a:pt x="1675" y="1069"/>
                  <a:pt x="1675" y="1069"/>
                </a:cubicBezTo>
                <a:cubicBezTo>
                  <a:pt x="1634" y="1069"/>
                  <a:pt x="1602" y="1102"/>
                  <a:pt x="1602" y="1142"/>
                </a:cubicBezTo>
                <a:cubicBezTo>
                  <a:pt x="1602" y="1242"/>
                  <a:pt x="1602" y="1242"/>
                  <a:pt x="1602" y="1242"/>
                </a:cubicBezTo>
                <a:cubicBezTo>
                  <a:pt x="1275" y="1242"/>
                  <a:pt x="1275" y="1242"/>
                  <a:pt x="1275" y="1242"/>
                </a:cubicBezTo>
                <a:cubicBezTo>
                  <a:pt x="1262" y="1176"/>
                  <a:pt x="1214" y="1122"/>
                  <a:pt x="1150" y="1103"/>
                </a:cubicBezTo>
                <a:cubicBezTo>
                  <a:pt x="1150" y="908"/>
                  <a:pt x="1150" y="908"/>
                  <a:pt x="1150" y="908"/>
                </a:cubicBezTo>
                <a:cubicBezTo>
                  <a:pt x="1538" y="908"/>
                  <a:pt x="1538" y="908"/>
                  <a:pt x="1538" y="908"/>
                </a:cubicBezTo>
                <a:cubicBezTo>
                  <a:pt x="1574" y="908"/>
                  <a:pt x="1603" y="879"/>
                  <a:pt x="1603" y="843"/>
                </a:cubicBezTo>
                <a:cubicBezTo>
                  <a:pt x="1603" y="690"/>
                  <a:pt x="1603" y="690"/>
                  <a:pt x="1603" y="690"/>
                </a:cubicBezTo>
                <a:cubicBezTo>
                  <a:pt x="1603" y="654"/>
                  <a:pt x="1574" y="625"/>
                  <a:pt x="1538" y="625"/>
                </a:cubicBezTo>
                <a:cubicBezTo>
                  <a:pt x="655" y="625"/>
                  <a:pt x="655" y="625"/>
                  <a:pt x="655" y="625"/>
                </a:cubicBezTo>
                <a:cubicBezTo>
                  <a:pt x="619" y="625"/>
                  <a:pt x="590" y="654"/>
                  <a:pt x="590" y="690"/>
                </a:cubicBezTo>
                <a:cubicBezTo>
                  <a:pt x="590" y="843"/>
                  <a:pt x="590" y="843"/>
                  <a:pt x="590" y="843"/>
                </a:cubicBezTo>
                <a:cubicBezTo>
                  <a:pt x="590" y="879"/>
                  <a:pt x="619" y="908"/>
                  <a:pt x="655" y="908"/>
                </a:cubicBezTo>
                <a:cubicBezTo>
                  <a:pt x="1043" y="908"/>
                  <a:pt x="1043" y="908"/>
                  <a:pt x="1043" y="908"/>
                </a:cubicBezTo>
                <a:cubicBezTo>
                  <a:pt x="1043" y="1103"/>
                  <a:pt x="1043" y="1103"/>
                  <a:pt x="1043" y="1103"/>
                </a:cubicBezTo>
                <a:cubicBezTo>
                  <a:pt x="980" y="1122"/>
                  <a:pt x="931" y="1176"/>
                  <a:pt x="918" y="1242"/>
                </a:cubicBezTo>
                <a:cubicBezTo>
                  <a:pt x="591" y="1242"/>
                  <a:pt x="591" y="1242"/>
                  <a:pt x="591" y="1242"/>
                </a:cubicBezTo>
                <a:cubicBezTo>
                  <a:pt x="591" y="1142"/>
                  <a:pt x="591" y="1142"/>
                  <a:pt x="591" y="1142"/>
                </a:cubicBezTo>
                <a:cubicBezTo>
                  <a:pt x="591" y="1102"/>
                  <a:pt x="559" y="1069"/>
                  <a:pt x="519" y="1069"/>
                </a:cubicBezTo>
                <a:cubicBezTo>
                  <a:pt x="176" y="1069"/>
                  <a:pt x="176" y="1069"/>
                  <a:pt x="176" y="1069"/>
                </a:cubicBezTo>
                <a:cubicBezTo>
                  <a:pt x="136" y="1069"/>
                  <a:pt x="103" y="1102"/>
                  <a:pt x="103" y="1142"/>
                </a:cubicBezTo>
                <a:cubicBezTo>
                  <a:pt x="103" y="1377"/>
                  <a:pt x="103" y="1377"/>
                  <a:pt x="103" y="1377"/>
                </a:cubicBezTo>
                <a:cubicBezTo>
                  <a:pt x="103" y="1417"/>
                  <a:pt x="136" y="1449"/>
                  <a:pt x="176" y="1449"/>
                </a:cubicBezTo>
                <a:close/>
                <a:moveTo>
                  <a:pt x="1644" y="1142"/>
                </a:moveTo>
                <a:cubicBezTo>
                  <a:pt x="1644" y="1125"/>
                  <a:pt x="1658" y="1111"/>
                  <a:pt x="1675" y="1111"/>
                </a:cubicBezTo>
                <a:cubicBezTo>
                  <a:pt x="2018" y="1111"/>
                  <a:pt x="2018" y="1111"/>
                  <a:pt x="2018" y="1111"/>
                </a:cubicBezTo>
                <a:cubicBezTo>
                  <a:pt x="2034" y="1111"/>
                  <a:pt x="2048" y="1125"/>
                  <a:pt x="2048" y="1142"/>
                </a:cubicBezTo>
                <a:cubicBezTo>
                  <a:pt x="2048" y="1377"/>
                  <a:pt x="2048" y="1377"/>
                  <a:pt x="2048" y="1377"/>
                </a:cubicBezTo>
                <a:cubicBezTo>
                  <a:pt x="2048" y="1393"/>
                  <a:pt x="2034" y="1407"/>
                  <a:pt x="2018" y="1407"/>
                </a:cubicBezTo>
                <a:cubicBezTo>
                  <a:pt x="1675" y="1407"/>
                  <a:pt x="1675" y="1407"/>
                  <a:pt x="1675" y="1407"/>
                </a:cubicBezTo>
                <a:cubicBezTo>
                  <a:pt x="1658" y="1407"/>
                  <a:pt x="1644" y="1393"/>
                  <a:pt x="1644" y="1377"/>
                </a:cubicBezTo>
                <a:lnTo>
                  <a:pt x="1644" y="1142"/>
                </a:lnTo>
                <a:close/>
                <a:moveTo>
                  <a:pt x="1464" y="715"/>
                </a:moveTo>
                <a:cubicBezTo>
                  <a:pt x="1492" y="715"/>
                  <a:pt x="1515" y="738"/>
                  <a:pt x="1515" y="766"/>
                </a:cubicBezTo>
                <a:cubicBezTo>
                  <a:pt x="1515" y="795"/>
                  <a:pt x="1492" y="818"/>
                  <a:pt x="1464" y="818"/>
                </a:cubicBezTo>
                <a:cubicBezTo>
                  <a:pt x="1436" y="818"/>
                  <a:pt x="1413" y="795"/>
                  <a:pt x="1413" y="766"/>
                </a:cubicBezTo>
                <a:cubicBezTo>
                  <a:pt x="1413" y="738"/>
                  <a:pt x="1436" y="715"/>
                  <a:pt x="1464" y="715"/>
                </a:cubicBezTo>
                <a:close/>
                <a:moveTo>
                  <a:pt x="1268" y="1660"/>
                </a:moveTo>
                <a:cubicBezTo>
                  <a:pt x="1285" y="1660"/>
                  <a:pt x="1298" y="1673"/>
                  <a:pt x="1298" y="1690"/>
                </a:cubicBezTo>
                <a:cubicBezTo>
                  <a:pt x="1298" y="1925"/>
                  <a:pt x="1298" y="1925"/>
                  <a:pt x="1298" y="1925"/>
                </a:cubicBezTo>
                <a:cubicBezTo>
                  <a:pt x="1298" y="1942"/>
                  <a:pt x="1285" y="1955"/>
                  <a:pt x="1268" y="1955"/>
                </a:cubicBezTo>
                <a:cubicBezTo>
                  <a:pt x="925" y="1955"/>
                  <a:pt x="925" y="1955"/>
                  <a:pt x="925" y="1955"/>
                </a:cubicBezTo>
                <a:cubicBezTo>
                  <a:pt x="908" y="1955"/>
                  <a:pt x="895" y="1942"/>
                  <a:pt x="895" y="1925"/>
                </a:cubicBezTo>
                <a:cubicBezTo>
                  <a:pt x="895" y="1690"/>
                  <a:pt x="895" y="1690"/>
                  <a:pt x="895" y="1690"/>
                </a:cubicBezTo>
                <a:cubicBezTo>
                  <a:pt x="895" y="1673"/>
                  <a:pt x="908" y="1660"/>
                  <a:pt x="925" y="1660"/>
                </a:cubicBezTo>
                <a:lnTo>
                  <a:pt x="1268" y="1660"/>
                </a:lnTo>
                <a:close/>
                <a:moveTo>
                  <a:pt x="1100" y="677"/>
                </a:moveTo>
                <a:cubicBezTo>
                  <a:pt x="1140" y="677"/>
                  <a:pt x="1140" y="677"/>
                  <a:pt x="1140" y="677"/>
                </a:cubicBezTo>
                <a:cubicBezTo>
                  <a:pt x="1140" y="717"/>
                  <a:pt x="1140" y="717"/>
                  <a:pt x="1140" y="717"/>
                </a:cubicBezTo>
                <a:cubicBezTo>
                  <a:pt x="1100" y="717"/>
                  <a:pt x="1100" y="717"/>
                  <a:pt x="1100" y="717"/>
                </a:cubicBezTo>
                <a:lnTo>
                  <a:pt x="1100" y="677"/>
                </a:lnTo>
                <a:close/>
                <a:moveTo>
                  <a:pt x="1100" y="748"/>
                </a:moveTo>
                <a:cubicBezTo>
                  <a:pt x="1140" y="748"/>
                  <a:pt x="1140" y="748"/>
                  <a:pt x="1140" y="748"/>
                </a:cubicBezTo>
                <a:cubicBezTo>
                  <a:pt x="1140" y="788"/>
                  <a:pt x="1140" y="788"/>
                  <a:pt x="1140" y="788"/>
                </a:cubicBezTo>
                <a:cubicBezTo>
                  <a:pt x="1100" y="788"/>
                  <a:pt x="1100" y="788"/>
                  <a:pt x="1100" y="788"/>
                </a:cubicBezTo>
                <a:lnTo>
                  <a:pt x="1100" y="748"/>
                </a:lnTo>
                <a:close/>
                <a:moveTo>
                  <a:pt x="1100" y="816"/>
                </a:moveTo>
                <a:cubicBezTo>
                  <a:pt x="1140" y="816"/>
                  <a:pt x="1140" y="816"/>
                  <a:pt x="1140" y="816"/>
                </a:cubicBezTo>
                <a:cubicBezTo>
                  <a:pt x="1140" y="856"/>
                  <a:pt x="1140" y="856"/>
                  <a:pt x="1140" y="856"/>
                </a:cubicBezTo>
                <a:cubicBezTo>
                  <a:pt x="1100" y="856"/>
                  <a:pt x="1100" y="856"/>
                  <a:pt x="1100" y="856"/>
                </a:cubicBezTo>
                <a:lnTo>
                  <a:pt x="1100" y="816"/>
                </a:lnTo>
                <a:close/>
                <a:moveTo>
                  <a:pt x="1025" y="677"/>
                </a:moveTo>
                <a:cubicBezTo>
                  <a:pt x="1066" y="677"/>
                  <a:pt x="1066" y="677"/>
                  <a:pt x="1066" y="677"/>
                </a:cubicBezTo>
                <a:cubicBezTo>
                  <a:pt x="1066" y="717"/>
                  <a:pt x="1066" y="717"/>
                  <a:pt x="1066" y="717"/>
                </a:cubicBezTo>
                <a:cubicBezTo>
                  <a:pt x="1025" y="717"/>
                  <a:pt x="1025" y="717"/>
                  <a:pt x="1025" y="717"/>
                </a:cubicBezTo>
                <a:lnTo>
                  <a:pt x="1025" y="677"/>
                </a:lnTo>
                <a:close/>
                <a:moveTo>
                  <a:pt x="1025" y="748"/>
                </a:moveTo>
                <a:cubicBezTo>
                  <a:pt x="1066" y="748"/>
                  <a:pt x="1066" y="748"/>
                  <a:pt x="1066" y="748"/>
                </a:cubicBezTo>
                <a:cubicBezTo>
                  <a:pt x="1066" y="788"/>
                  <a:pt x="1066" y="788"/>
                  <a:pt x="1066" y="788"/>
                </a:cubicBezTo>
                <a:cubicBezTo>
                  <a:pt x="1025" y="788"/>
                  <a:pt x="1025" y="788"/>
                  <a:pt x="1025" y="788"/>
                </a:cubicBezTo>
                <a:lnTo>
                  <a:pt x="1025" y="748"/>
                </a:lnTo>
                <a:close/>
                <a:moveTo>
                  <a:pt x="693" y="856"/>
                </a:moveTo>
                <a:cubicBezTo>
                  <a:pt x="653" y="856"/>
                  <a:pt x="653" y="856"/>
                  <a:pt x="653" y="856"/>
                </a:cubicBezTo>
                <a:cubicBezTo>
                  <a:pt x="653" y="816"/>
                  <a:pt x="653" y="816"/>
                  <a:pt x="653" y="816"/>
                </a:cubicBezTo>
                <a:cubicBezTo>
                  <a:pt x="693" y="816"/>
                  <a:pt x="693" y="816"/>
                  <a:pt x="693" y="816"/>
                </a:cubicBezTo>
                <a:lnTo>
                  <a:pt x="693" y="856"/>
                </a:lnTo>
                <a:close/>
                <a:moveTo>
                  <a:pt x="693" y="788"/>
                </a:moveTo>
                <a:cubicBezTo>
                  <a:pt x="653" y="788"/>
                  <a:pt x="653" y="788"/>
                  <a:pt x="653" y="788"/>
                </a:cubicBezTo>
                <a:cubicBezTo>
                  <a:pt x="653" y="748"/>
                  <a:pt x="653" y="748"/>
                  <a:pt x="653" y="748"/>
                </a:cubicBezTo>
                <a:cubicBezTo>
                  <a:pt x="693" y="748"/>
                  <a:pt x="693" y="748"/>
                  <a:pt x="693" y="748"/>
                </a:cubicBezTo>
                <a:lnTo>
                  <a:pt x="693" y="788"/>
                </a:lnTo>
                <a:close/>
                <a:moveTo>
                  <a:pt x="693" y="717"/>
                </a:moveTo>
                <a:cubicBezTo>
                  <a:pt x="653" y="717"/>
                  <a:pt x="653" y="717"/>
                  <a:pt x="653" y="717"/>
                </a:cubicBezTo>
                <a:cubicBezTo>
                  <a:pt x="653" y="677"/>
                  <a:pt x="653" y="677"/>
                  <a:pt x="653" y="677"/>
                </a:cubicBezTo>
                <a:cubicBezTo>
                  <a:pt x="693" y="677"/>
                  <a:pt x="693" y="677"/>
                  <a:pt x="693" y="677"/>
                </a:cubicBezTo>
                <a:lnTo>
                  <a:pt x="693" y="717"/>
                </a:lnTo>
                <a:close/>
                <a:moveTo>
                  <a:pt x="768" y="856"/>
                </a:moveTo>
                <a:cubicBezTo>
                  <a:pt x="727" y="856"/>
                  <a:pt x="727" y="856"/>
                  <a:pt x="727" y="856"/>
                </a:cubicBezTo>
                <a:cubicBezTo>
                  <a:pt x="727" y="816"/>
                  <a:pt x="727" y="816"/>
                  <a:pt x="727" y="816"/>
                </a:cubicBezTo>
                <a:cubicBezTo>
                  <a:pt x="768" y="816"/>
                  <a:pt x="768" y="816"/>
                  <a:pt x="768" y="816"/>
                </a:cubicBezTo>
                <a:lnTo>
                  <a:pt x="768" y="856"/>
                </a:lnTo>
                <a:close/>
                <a:moveTo>
                  <a:pt x="768" y="788"/>
                </a:moveTo>
                <a:cubicBezTo>
                  <a:pt x="727" y="788"/>
                  <a:pt x="727" y="788"/>
                  <a:pt x="727" y="788"/>
                </a:cubicBezTo>
                <a:cubicBezTo>
                  <a:pt x="727" y="748"/>
                  <a:pt x="727" y="748"/>
                  <a:pt x="727" y="748"/>
                </a:cubicBezTo>
                <a:cubicBezTo>
                  <a:pt x="768" y="748"/>
                  <a:pt x="768" y="748"/>
                  <a:pt x="768" y="748"/>
                </a:cubicBezTo>
                <a:lnTo>
                  <a:pt x="768" y="788"/>
                </a:lnTo>
                <a:close/>
                <a:moveTo>
                  <a:pt x="768" y="717"/>
                </a:moveTo>
                <a:cubicBezTo>
                  <a:pt x="727" y="717"/>
                  <a:pt x="727" y="717"/>
                  <a:pt x="727" y="717"/>
                </a:cubicBezTo>
                <a:cubicBezTo>
                  <a:pt x="727" y="677"/>
                  <a:pt x="727" y="677"/>
                  <a:pt x="727" y="677"/>
                </a:cubicBezTo>
                <a:cubicBezTo>
                  <a:pt x="768" y="677"/>
                  <a:pt x="768" y="677"/>
                  <a:pt x="768" y="677"/>
                </a:cubicBezTo>
                <a:lnTo>
                  <a:pt x="768" y="717"/>
                </a:lnTo>
                <a:close/>
                <a:moveTo>
                  <a:pt x="842" y="856"/>
                </a:moveTo>
                <a:cubicBezTo>
                  <a:pt x="802" y="856"/>
                  <a:pt x="802" y="856"/>
                  <a:pt x="802" y="856"/>
                </a:cubicBezTo>
                <a:cubicBezTo>
                  <a:pt x="802" y="816"/>
                  <a:pt x="802" y="816"/>
                  <a:pt x="802" y="816"/>
                </a:cubicBezTo>
                <a:cubicBezTo>
                  <a:pt x="842" y="816"/>
                  <a:pt x="842" y="816"/>
                  <a:pt x="842" y="816"/>
                </a:cubicBezTo>
                <a:lnTo>
                  <a:pt x="842" y="856"/>
                </a:lnTo>
                <a:close/>
                <a:moveTo>
                  <a:pt x="842" y="788"/>
                </a:moveTo>
                <a:cubicBezTo>
                  <a:pt x="802" y="788"/>
                  <a:pt x="802" y="788"/>
                  <a:pt x="802" y="788"/>
                </a:cubicBezTo>
                <a:cubicBezTo>
                  <a:pt x="802" y="748"/>
                  <a:pt x="802" y="748"/>
                  <a:pt x="802" y="748"/>
                </a:cubicBezTo>
                <a:cubicBezTo>
                  <a:pt x="842" y="748"/>
                  <a:pt x="842" y="748"/>
                  <a:pt x="842" y="748"/>
                </a:cubicBezTo>
                <a:lnTo>
                  <a:pt x="842" y="788"/>
                </a:lnTo>
                <a:close/>
                <a:moveTo>
                  <a:pt x="842" y="717"/>
                </a:moveTo>
                <a:cubicBezTo>
                  <a:pt x="802" y="717"/>
                  <a:pt x="802" y="717"/>
                  <a:pt x="802" y="717"/>
                </a:cubicBezTo>
                <a:cubicBezTo>
                  <a:pt x="802" y="677"/>
                  <a:pt x="802" y="677"/>
                  <a:pt x="802" y="677"/>
                </a:cubicBezTo>
                <a:cubicBezTo>
                  <a:pt x="842" y="677"/>
                  <a:pt x="842" y="677"/>
                  <a:pt x="842" y="677"/>
                </a:cubicBezTo>
                <a:lnTo>
                  <a:pt x="842" y="717"/>
                </a:lnTo>
                <a:close/>
                <a:moveTo>
                  <a:pt x="917" y="856"/>
                </a:moveTo>
                <a:cubicBezTo>
                  <a:pt x="877" y="856"/>
                  <a:pt x="877" y="856"/>
                  <a:pt x="877" y="856"/>
                </a:cubicBezTo>
                <a:cubicBezTo>
                  <a:pt x="877" y="816"/>
                  <a:pt x="877" y="816"/>
                  <a:pt x="877" y="816"/>
                </a:cubicBezTo>
                <a:cubicBezTo>
                  <a:pt x="917" y="816"/>
                  <a:pt x="917" y="816"/>
                  <a:pt x="917" y="816"/>
                </a:cubicBezTo>
                <a:lnTo>
                  <a:pt x="917" y="856"/>
                </a:lnTo>
                <a:close/>
                <a:moveTo>
                  <a:pt x="917" y="788"/>
                </a:moveTo>
                <a:cubicBezTo>
                  <a:pt x="877" y="788"/>
                  <a:pt x="877" y="788"/>
                  <a:pt x="877" y="788"/>
                </a:cubicBezTo>
                <a:cubicBezTo>
                  <a:pt x="877" y="748"/>
                  <a:pt x="877" y="748"/>
                  <a:pt x="877" y="748"/>
                </a:cubicBezTo>
                <a:cubicBezTo>
                  <a:pt x="917" y="748"/>
                  <a:pt x="917" y="748"/>
                  <a:pt x="917" y="748"/>
                </a:cubicBezTo>
                <a:lnTo>
                  <a:pt x="917" y="788"/>
                </a:lnTo>
                <a:close/>
                <a:moveTo>
                  <a:pt x="917" y="717"/>
                </a:moveTo>
                <a:cubicBezTo>
                  <a:pt x="877" y="717"/>
                  <a:pt x="877" y="717"/>
                  <a:pt x="877" y="717"/>
                </a:cubicBezTo>
                <a:cubicBezTo>
                  <a:pt x="877" y="677"/>
                  <a:pt x="877" y="677"/>
                  <a:pt x="877" y="677"/>
                </a:cubicBezTo>
                <a:cubicBezTo>
                  <a:pt x="917" y="677"/>
                  <a:pt x="917" y="677"/>
                  <a:pt x="917" y="677"/>
                </a:cubicBezTo>
                <a:lnTo>
                  <a:pt x="917" y="717"/>
                </a:lnTo>
                <a:close/>
                <a:moveTo>
                  <a:pt x="992" y="856"/>
                </a:moveTo>
                <a:cubicBezTo>
                  <a:pt x="951" y="856"/>
                  <a:pt x="951" y="856"/>
                  <a:pt x="951" y="856"/>
                </a:cubicBezTo>
                <a:cubicBezTo>
                  <a:pt x="951" y="816"/>
                  <a:pt x="951" y="816"/>
                  <a:pt x="951" y="816"/>
                </a:cubicBezTo>
                <a:cubicBezTo>
                  <a:pt x="992" y="816"/>
                  <a:pt x="992" y="816"/>
                  <a:pt x="992" y="816"/>
                </a:cubicBezTo>
                <a:lnTo>
                  <a:pt x="992" y="856"/>
                </a:lnTo>
                <a:close/>
                <a:moveTo>
                  <a:pt x="992" y="788"/>
                </a:moveTo>
                <a:cubicBezTo>
                  <a:pt x="951" y="788"/>
                  <a:pt x="951" y="788"/>
                  <a:pt x="951" y="788"/>
                </a:cubicBezTo>
                <a:cubicBezTo>
                  <a:pt x="951" y="748"/>
                  <a:pt x="951" y="748"/>
                  <a:pt x="951" y="748"/>
                </a:cubicBezTo>
                <a:cubicBezTo>
                  <a:pt x="992" y="748"/>
                  <a:pt x="992" y="748"/>
                  <a:pt x="992" y="748"/>
                </a:cubicBezTo>
                <a:lnTo>
                  <a:pt x="992" y="788"/>
                </a:lnTo>
                <a:close/>
                <a:moveTo>
                  <a:pt x="992" y="717"/>
                </a:moveTo>
                <a:cubicBezTo>
                  <a:pt x="951" y="717"/>
                  <a:pt x="951" y="717"/>
                  <a:pt x="951" y="717"/>
                </a:cubicBezTo>
                <a:cubicBezTo>
                  <a:pt x="951" y="677"/>
                  <a:pt x="951" y="677"/>
                  <a:pt x="951" y="677"/>
                </a:cubicBezTo>
                <a:cubicBezTo>
                  <a:pt x="992" y="677"/>
                  <a:pt x="992" y="677"/>
                  <a:pt x="992" y="677"/>
                </a:cubicBezTo>
                <a:lnTo>
                  <a:pt x="992" y="717"/>
                </a:lnTo>
                <a:close/>
                <a:moveTo>
                  <a:pt x="1025" y="856"/>
                </a:moveTo>
                <a:cubicBezTo>
                  <a:pt x="1025" y="816"/>
                  <a:pt x="1025" y="816"/>
                  <a:pt x="1025" y="816"/>
                </a:cubicBezTo>
                <a:cubicBezTo>
                  <a:pt x="1066" y="816"/>
                  <a:pt x="1066" y="816"/>
                  <a:pt x="1066" y="816"/>
                </a:cubicBezTo>
                <a:cubicBezTo>
                  <a:pt x="1066" y="856"/>
                  <a:pt x="1066" y="856"/>
                  <a:pt x="1066" y="856"/>
                </a:cubicBezTo>
                <a:lnTo>
                  <a:pt x="1025" y="856"/>
                </a:lnTo>
                <a:close/>
                <a:moveTo>
                  <a:pt x="145" y="1142"/>
                </a:moveTo>
                <a:cubicBezTo>
                  <a:pt x="145" y="1125"/>
                  <a:pt x="159" y="1111"/>
                  <a:pt x="176" y="1111"/>
                </a:cubicBezTo>
                <a:cubicBezTo>
                  <a:pt x="519" y="1111"/>
                  <a:pt x="519" y="1111"/>
                  <a:pt x="519" y="1111"/>
                </a:cubicBezTo>
                <a:cubicBezTo>
                  <a:pt x="535" y="1111"/>
                  <a:pt x="549" y="1125"/>
                  <a:pt x="549" y="1142"/>
                </a:cubicBezTo>
                <a:cubicBezTo>
                  <a:pt x="549" y="1377"/>
                  <a:pt x="549" y="1377"/>
                  <a:pt x="549" y="1377"/>
                </a:cubicBezTo>
                <a:cubicBezTo>
                  <a:pt x="549" y="1393"/>
                  <a:pt x="535" y="1407"/>
                  <a:pt x="519" y="1407"/>
                </a:cubicBezTo>
                <a:cubicBezTo>
                  <a:pt x="176" y="1407"/>
                  <a:pt x="176" y="1407"/>
                  <a:pt x="176" y="1407"/>
                </a:cubicBezTo>
                <a:cubicBezTo>
                  <a:pt x="159" y="1407"/>
                  <a:pt x="145" y="1393"/>
                  <a:pt x="145" y="1377"/>
                </a:cubicBezTo>
                <a:lnTo>
                  <a:pt x="145" y="1142"/>
                </a:lnTo>
                <a:close/>
                <a:moveTo>
                  <a:pt x="596" y="1488"/>
                </a:moveTo>
                <a:cubicBezTo>
                  <a:pt x="589" y="1480"/>
                  <a:pt x="576" y="1474"/>
                  <a:pt x="566" y="1474"/>
                </a:cubicBezTo>
                <a:cubicBezTo>
                  <a:pt x="128" y="1474"/>
                  <a:pt x="128" y="1474"/>
                  <a:pt x="128" y="1474"/>
                </a:cubicBezTo>
                <a:cubicBezTo>
                  <a:pt x="118" y="1474"/>
                  <a:pt x="105" y="1480"/>
                  <a:pt x="99" y="1488"/>
                </a:cubicBezTo>
                <a:cubicBezTo>
                  <a:pt x="12" y="1590"/>
                  <a:pt x="12" y="1590"/>
                  <a:pt x="12" y="1590"/>
                </a:cubicBezTo>
                <a:cubicBezTo>
                  <a:pt x="5" y="1598"/>
                  <a:pt x="0" y="1612"/>
                  <a:pt x="0" y="1622"/>
                </a:cubicBezTo>
                <a:cubicBezTo>
                  <a:pt x="0" y="1630"/>
                  <a:pt x="0" y="1630"/>
                  <a:pt x="0" y="1630"/>
                </a:cubicBezTo>
                <a:cubicBezTo>
                  <a:pt x="0" y="1640"/>
                  <a:pt x="8" y="1649"/>
                  <a:pt x="18" y="1649"/>
                </a:cubicBezTo>
                <a:cubicBezTo>
                  <a:pt x="676" y="1649"/>
                  <a:pt x="676" y="1649"/>
                  <a:pt x="676" y="1649"/>
                </a:cubicBezTo>
                <a:cubicBezTo>
                  <a:pt x="686" y="1649"/>
                  <a:pt x="694" y="1640"/>
                  <a:pt x="694" y="1630"/>
                </a:cubicBezTo>
                <a:cubicBezTo>
                  <a:pt x="694" y="1622"/>
                  <a:pt x="694" y="1622"/>
                  <a:pt x="694" y="1622"/>
                </a:cubicBezTo>
                <a:cubicBezTo>
                  <a:pt x="694" y="1612"/>
                  <a:pt x="689" y="1598"/>
                  <a:pt x="683" y="1590"/>
                </a:cubicBezTo>
                <a:lnTo>
                  <a:pt x="596" y="148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23" tIns="46611" rIns="93223" bIns="46611" numCol="1" anchor="t" anchorCtr="0" compatLnSpc="1"/>
          <a:lstStyle/>
          <a:p>
            <a:pPr defTabSz="93091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505050"/>
              </a:solidFill>
              <a:ea typeface="MS PGothic" panose="020B0600070205080204" pitchFamily="34" charset="-128"/>
            </a:endParaRPr>
          </a:p>
        </p:txBody>
      </p:sp>
      <p:sp>
        <p:nvSpPr>
          <p:cNvPr id="213" name="Freeform 24"/>
          <p:cNvSpPr>
            <a:spLocks noEditPoints="1"/>
          </p:cNvSpPr>
          <p:nvPr/>
        </p:nvSpPr>
        <p:spPr bwMode="black">
          <a:xfrm>
            <a:off x="6732240" y="1746887"/>
            <a:ext cx="835128" cy="645053"/>
          </a:xfrm>
          <a:custGeom>
            <a:avLst/>
            <a:gdLst>
              <a:gd name="T0" fmla="*/ 524 w 1369"/>
              <a:gd name="T1" fmla="*/ 115 h 1057"/>
              <a:gd name="T2" fmla="*/ 373 w 1369"/>
              <a:gd name="T3" fmla="*/ 228 h 1057"/>
              <a:gd name="T4" fmla="*/ 455 w 1369"/>
              <a:gd name="T5" fmla="*/ 153 h 1057"/>
              <a:gd name="T6" fmla="*/ 5 w 1369"/>
              <a:gd name="T7" fmla="*/ 634 h 1057"/>
              <a:gd name="T8" fmla="*/ 149 w 1369"/>
              <a:gd name="T9" fmla="*/ 320 h 1057"/>
              <a:gd name="T10" fmla="*/ 26 w 1369"/>
              <a:gd name="T11" fmla="*/ 509 h 1057"/>
              <a:gd name="T12" fmla="*/ 652 w 1369"/>
              <a:gd name="T13" fmla="*/ 75 h 1057"/>
              <a:gd name="T14" fmla="*/ 36 w 1369"/>
              <a:gd name="T15" fmla="*/ 435 h 1057"/>
              <a:gd name="T16" fmla="*/ 28 w 1369"/>
              <a:gd name="T17" fmla="*/ 478 h 1057"/>
              <a:gd name="T18" fmla="*/ 9 w 1369"/>
              <a:gd name="T19" fmla="*/ 353 h 1057"/>
              <a:gd name="T20" fmla="*/ 1045 w 1369"/>
              <a:gd name="T21" fmla="*/ 157 h 1057"/>
              <a:gd name="T22" fmla="*/ 1251 w 1369"/>
              <a:gd name="T23" fmla="*/ 278 h 1057"/>
              <a:gd name="T24" fmla="*/ 1184 w 1369"/>
              <a:gd name="T25" fmla="*/ 236 h 1057"/>
              <a:gd name="T26" fmla="*/ 1369 w 1369"/>
              <a:gd name="T27" fmla="*/ 439 h 1057"/>
              <a:gd name="T28" fmla="*/ 1349 w 1369"/>
              <a:gd name="T29" fmla="*/ 356 h 1057"/>
              <a:gd name="T30" fmla="*/ 1150 w 1369"/>
              <a:gd name="T31" fmla="*/ 216 h 1057"/>
              <a:gd name="T32" fmla="*/ 859 w 1369"/>
              <a:gd name="T33" fmla="*/ 52 h 1057"/>
              <a:gd name="T34" fmla="*/ 781 w 1369"/>
              <a:gd name="T35" fmla="*/ 39 h 1057"/>
              <a:gd name="T36" fmla="*/ 746 w 1369"/>
              <a:gd name="T37" fmla="*/ 26 h 1057"/>
              <a:gd name="T38" fmla="*/ 682 w 1369"/>
              <a:gd name="T39" fmla="*/ 56 h 1057"/>
              <a:gd name="T40" fmla="*/ 67 w 1369"/>
              <a:gd name="T41" fmla="*/ 682 h 1057"/>
              <a:gd name="T42" fmla="*/ 963 w 1369"/>
              <a:gd name="T43" fmla="*/ 142 h 1057"/>
              <a:gd name="T44" fmla="*/ 906 w 1369"/>
              <a:gd name="T45" fmla="*/ 82 h 1057"/>
              <a:gd name="T46" fmla="*/ 247 w 1369"/>
              <a:gd name="T47" fmla="*/ 268 h 1057"/>
              <a:gd name="T48" fmla="*/ 1073 w 1369"/>
              <a:gd name="T49" fmla="*/ 766 h 1057"/>
              <a:gd name="T50" fmla="*/ 974 w 1369"/>
              <a:gd name="T51" fmla="*/ 824 h 1057"/>
              <a:gd name="T52" fmla="*/ 1048 w 1369"/>
              <a:gd name="T53" fmla="*/ 780 h 1057"/>
              <a:gd name="T54" fmla="*/ 834 w 1369"/>
              <a:gd name="T55" fmla="*/ 948 h 1057"/>
              <a:gd name="T56" fmla="*/ 882 w 1369"/>
              <a:gd name="T57" fmla="*/ 910 h 1057"/>
              <a:gd name="T58" fmla="*/ 1199 w 1369"/>
              <a:gd name="T59" fmla="*/ 723 h 1057"/>
              <a:gd name="T60" fmla="*/ 61 w 1369"/>
              <a:gd name="T61" fmla="*/ 327 h 1057"/>
              <a:gd name="T62" fmla="*/ 1353 w 1369"/>
              <a:gd name="T63" fmla="*/ 606 h 1057"/>
              <a:gd name="T64" fmla="*/ 1342 w 1369"/>
              <a:gd name="T65" fmla="*/ 518 h 1057"/>
              <a:gd name="T66" fmla="*/ 789 w 1369"/>
              <a:gd name="T67" fmla="*/ 977 h 1057"/>
              <a:gd name="T68" fmla="*/ 791 w 1369"/>
              <a:gd name="T69" fmla="*/ 972 h 1057"/>
              <a:gd name="T70" fmla="*/ 1249 w 1369"/>
              <a:gd name="T71" fmla="*/ 662 h 1057"/>
              <a:gd name="T72" fmla="*/ 1318 w 1369"/>
              <a:gd name="T73" fmla="*/ 616 h 1057"/>
              <a:gd name="T74" fmla="*/ 357 w 1369"/>
              <a:gd name="T75" fmla="*/ 821 h 1057"/>
              <a:gd name="T76" fmla="*/ 249 w 1369"/>
              <a:gd name="T77" fmla="*/ 759 h 1057"/>
              <a:gd name="T78" fmla="*/ 179 w 1369"/>
              <a:gd name="T79" fmla="*/ 721 h 1057"/>
              <a:gd name="T80" fmla="*/ 133 w 1369"/>
              <a:gd name="T81" fmla="*/ 704 h 1057"/>
              <a:gd name="T82" fmla="*/ 139 w 1369"/>
              <a:gd name="T83" fmla="*/ 731 h 1057"/>
              <a:gd name="T84" fmla="*/ 711 w 1369"/>
              <a:gd name="T85" fmla="*/ 1056 h 1057"/>
              <a:gd name="T86" fmla="*/ 606 w 1369"/>
              <a:gd name="T87" fmla="*/ 984 h 1057"/>
              <a:gd name="T88" fmla="*/ 614 w 1369"/>
              <a:gd name="T89" fmla="*/ 998 h 1057"/>
              <a:gd name="T90" fmla="*/ 555 w 1369"/>
              <a:gd name="T91" fmla="*/ 933 h 1057"/>
              <a:gd name="T92" fmla="*/ 676 w 1369"/>
              <a:gd name="T93" fmla="*/ 1024 h 1057"/>
              <a:gd name="T94" fmla="*/ 489 w 1369"/>
              <a:gd name="T95" fmla="*/ 898 h 1057"/>
              <a:gd name="T96" fmla="*/ 1274 w 1369"/>
              <a:gd name="T97" fmla="*/ 378 h 1057"/>
              <a:gd name="T98" fmla="*/ 749 w 1369"/>
              <a:gd name="T99" fmla="*/ 729 h 1057"/>
              <a:gd name="T100" fmla="*/ 146 w 1369"/>
              <a:gd name="T101" fmla="*/ 631 h 1057"/>
              <a:gd name="T102" fmla="*/ 600 w 1369"/>
              <a:gd name="T103" fmla="*/ 889 h 1057"/>
              <a:gd name="T104" fmla="*/ 780 w 1369"/>
              <a:gd name="T105" fmla="*/ 741 h 1057"/>
              <a:gd name="T106" fmla="*/ 486 w 1369"/>
              <a:gd name="T107" fmla="*/ 685 h 1057"/>
              <a:gd name="T108" fmla="*/ 587 w 1369"/>
              <a:gd name="T109" fmla="*/ 850 h 1057"/>
              <a:gd name="T110" fmla="*/ 560 w 1369"/>
              <a:gd name="T111" fmla="*/ 881 h 1057"/>
              <a:gd name="T112" fmla="*/ 232 w 1369"/>
              <a:gd name="T113" fmla="*/ 509 h 1057"/>
              <a:gd name="T114" fmla="*/ 233 w 1369"/>
              <a:gd name="T115" fmla="*/ 619 h 10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69" h="1057">
                <a:moveTo>
                  <a:pt x="234" y="304"/>
                </a:moveTo>
                <a:cubicBezTo>
                  <a:pt x="234" y="304"/>
                  <a:pt x="234" y="304"/>
                  <a:pt x="234" y="304"/>
                </a:cubicBezTo>
                <a:cubicBezTo>
                  <a:pt x="190" y="329"/>
                  <a:pt x="190" y="329"/>
                  <a:pt x="190" y="329"/>
                </a:cubicBezTo>
                <a:cubicBezTo>
                  <a:pt x="178" y="305"/>
                  <a:pt x="178" y="305"/>
                  <a:pt x="178" y="305"/>
                </a:cubicBezTo>
                <a:cubicBezTo>
                  <a:pt x="222" y="280"/>
                  <a:pt x="222" y="280"/>
                  <a:pt x="222" y="280"/>
                </a:cubicBezTo>
                <a:cubicBezTo>
                  <a:pt x="234" y="304"/>
                  <a:pt x="234" y="304"/>
                  <a:pt x="234" y="304"/>
                </a:cubicBezTo>
                <a:close/>
                <a:moveTo>
                  <a:pt x="581" y="113"/>
                </a:moveTo>
                <a:cubicBezTo>
                  <a:pt x="569" y="91"/>
                  <a:pt x="569" y="91"/>
                  <a:pt x="569" y="91"/>
                </a:cubicBezTo>
                <a:cubicBezTo>
                  <a:pt x="524" y="115"/>
                  <a:pt x="524" y="115"/>
                  <a:pt x="524" y="115"/>
                </a:cubicBezTo>
                <a:cubicBezTo>
                  <a:pt x="537" y="138"/>
                  <a:pt x="537" y="138"/>
                  <a:pt x="537" y="138"/>
                </a:cubicBezTo>
                <a:cubicBezTo>
                  <a:pt x="581" y="113"/>
                  <a:pt x="581" y="113"/>
                  <a:pt x="581" y="113"/>
                </a:cubicBezTo>
                <a:cubicBezTo>
                  <a:pt x="581" y="113"/>
                  <a:pt x="581" y="113"/>
                  <a:pt x="581" y="113"/>
                </a:cubicBezTo>
                <a:close/>
                <a:moveTo>
                  <a:pt x="373" y="228"/>
                </a:moveTo>
                <a:cubicBezTo>
                  <a:pt x="360" y="205"/>
                  <a:pt x="360" y="205"/>
                  <a:pt x="360" y="205"/>
                </a:cubicBezTo>
                <a:cubicBezTo>
                  <a:pt x="316" y="230"/>
                  <a:pt x="316" y="230"/>
                  <a:pt x="316" y="230"/>
                </a:cubicBezTo>
                <a:cubicBezTo>
                  <a:pt x="329" y="252"/>
                  <a:pt x="329" y="252"/>
                  <a:pt x="329" y="252"/>
                </a:cubicBezTo>
                <a:cubicBezTo>
                  <a:pt x="373" y="228"/>
                  <a:pt x="373" y="228"/>
                  <a:pt x="373" y="228"/>
                </a:cubicBezTo>
                <a:cubicBezTo>
                  <a:pt x="373" y="228"/>
                  <a:pt x="373" y="228"/>
                  <a:pt x="373" y="228"/>
                </a:cubicBezTo>
                <a:close/>
                <a:moveTo>
                  <a:pt x="443" y="190"/>
                </a:moveTo>
                <a:cubicBezTo>
                  <a:pt x="430" y="167"/>
                  <a:pt x="430" y="167"/>
                  <a:pt x="430" y="167"/>
                </a:cubicBezTo>
                <a:cubicBezTo>
                  <a:pt x="385" y="190"/>
                  <a:pt x="385" y="190"/>
                  <a:pt x="385" y="190"/>
                </a:cubicBezTo>
                <a:cubicBezTo>
                  <a:pt x="398" y="214"/>
                  <a:pt x="398" y="214"/>
                  <a:pt x="398" y="214"/>
                </a:cubicBezTo>
                <a:cubicBezTo>
                  <a:pt x="443" y="190"/>
                  <a:pt x="443" y="190"/>
                  <a:pt x="443" y="190"/>
                </a:cubicBezTo>
                <a:cubicBezTo>
                  <a:pt x="443" y="190"/>
                  <a:pt x="443" y="190"/>
                  <a:pt x="443" y="190"/>
                </a:cubicBezTo>
                <a:close/>
                <a:moveTo>
                  <a:pt x="513" y="151"/>
                </a:moveTo>
                <a:cubicBezTo>
                  <a:pt x="501" y="129"/>
                  <a:pt x="501" y="129"/>
                  <a:pt x="501" y="129"/>
                </a:cubicBezTo>
                <a:cubicBezTo>
                  <a:pt x="455" y="153"/>
                  <a:pt x="455" y="153"/>
                  <a:pt x="455" y="153"/>
                </a:cubicBezTo>
                <a:cubicBezTo>
                  <a:pt x="468" y="176"/>
                  <a:pt x="468" y="176"/>
                  <a:pt x="468" y="176"/>
                </a:cubicBezTo>
                <a:cubicBezTo>
                  <a:pt x="513" y="151"/>
                  <a:pt x="513" y="151"/>
                  <a:pt x="513" y="151"/>
                </a:cubicBezTo>
                <a:cubicBezTo>
                  <a:pt x="513" y="151"/>
                  <a:pt x="513" y="151"/>
                  <a:pt x="513" y="151"/>
                </a:cubicBezTo>
                <a:close/>
                <a:moveTo>
                  <a:pt x="32" y="631"/>
                </a:moveTo>
                <a:cubicBezTo>
                  <a:pt x="30" y="620"/>
                  <a:pt x="30" y="607"/>
                  <a:pt x="29" y="592"/>
                </a:cubicBezTo>
                <a:cubicBezTo>
                  <a:pt x="28" y="587"/>
                  <a:pt x="28" y="587"/>
                  <a:pt x="28" y="587"/>
                </a:cubicBezTo>
                <a:cubicBezTo>
                  <a:pt x="1" y="589"/>
                  <a:pt x="1" y="589"/>
                  <a:pt x="1" y="589"/>
                </a:cubicBezTo>
                <a:cubicBezTo>
                  <a:pt x="1" y="595"/>
                  <a:pt x="1" y="595"/>
                  <a:pt x="1" y="595"/>
                </a:cubicBezTo>
                <a:cubicBezTo>
                  <a:pt x="3" y="608"/>
                  <a:pt x="3" y="622"/>
                  <a:pt x="5" y="634"/>
                </a:cubicBezTo>
                <a:cubicBezTo>
                  <a:pt x="6" y="639"/>
                  <a:pt x="6" y="639"/>
                  <a:pt x="6" y="639"/>
                </a:cubicBezTo>
                <a:cubicBezTo>
                  <a:pt x="33" y="636"/>
                  <a:pt x="33" y="636"/>
                  <a:pt x="33" y="636"/>
                </a:cubicBezTo>
                <a:cubicBezTo>
                  <a:pt x="32" y="631"/>
                  <a:pt x="32" y="631"/>
                  <a:pt x="32" y="631"/>
                </a:cubicBezTo>
                <a:cubicBezTo>
                  <a:pt x="32" y="631"/>
                  <a:pt x="32" y="631"/>
                  <a:pt x="32" y="631"/>
                </a:cubicBezTo>
                <a:close/>
                <a:moveTo>
                  <a:pt x="143" y="346"/>
                </a:moveTo>
                <a:cubicBezTo>
                  <a:pt x="148" y="346"/>
                  <a:pt x="152" y="346"/>
                  <a:pt x="157" y="344"/>
                </a:cubicBezTo>
                <a:cubicBezTo>
                  <a:pt x="162" y="343"/>
                  <a:pt x="162" y="343"/>
                  <a:pt x="162" y="343"/>
                </a:cubicBezTo>
                <a:cubicBezTo>
                  <a:pt x="154" y="318"/>
                  <a:pt x="154" y="318"/>
                  <a:pt x="154" y="318"/>
                </a:cubicBezTo>
                <a:cubicBezTo>
                  <a:pt x="149" y="320"/>
                  <a:pt x="149" y="320"/>
                  <a:pt x="149" y="320"/>
                </a:cubicBezTo>
                <a:cubicBezTo>
                  <a:pt x="143" y="322"/>
                  <a:pt x="133" y="320"/>
                  <a:pt x="118" y="316"/>
                </a:cubicBezTo>
                <a:cubicBezTo>
                  <a:pt x="113" y="315"/>
                  <a:pt x="113" y="315"/>
                  <a:pt x="113" y="315"/>
                </a:cubicBezTo>
                <a:cubicBezTo>
                  <a:pt x="105" y="338"/>
                  <a:pt x="105" y="338"/>
                  <a:pt x="105" y="338"/>
                </a:cubicBezTo>
                <a:cubicBezTo>
                  <a:pt x="110" y="341"/>
                  <a:pt x="110" y="341"/>
                  <a:pt x="110" y="341"/>
                </a:cubicBezTo>
                <a:cubicBezTo>
                  <a:pt x="124" y="344"/>
                  <a:pt x="134" y="346"/>
                  <a:pt x="143" y="346"/>
                </a:cubicBezTo>
                <a:close/>
                <a:moveTo>
                  <a:pt x="26" y="554"/>
                </a:moveTo>
                <a:cubicBezTo>
                  <a:pt x="26" y="543"/>
                  <a:pt x="26" y="534"/>
                  <a:pt x="26" y="525"/>
                </a:cubicBezTo>
                <a:cubicBezTo>
                  <a:pt x="26" y="521"/>
                  <a:pt x="26" y="518"/>
                  <a:pt x="26" y="514"/>
                </a:cubicBezTo>
                <a:cubicBezTo>
                  <a:pt x="26" y="509"/>
                  <a:pt x="26" y="509"/>
                  <a:pt x="26" y="509"/>
                </a:cubicBezTo>
                <a:cubicBezTo>
                  <a:pt x="0" y="509"/>
                  <a:pt x="0" y="509"/>
                  <a:pt x="0" y="509"/>
                </a:cubicBezTo>
                <a:cubicBezTo>
                  <a:pt x="0" y="514"/>
                  <a:pt x="0" y="514"/>
                  <a:pt x="0" y="514"/>
                </a:cubicBezTo>
                <a:cubicBezTo>
                  <a:pt x="0" y="517"/>
                  <a:pt x="0" y="521"/>
                  <a:pt x="0" y="525"/>
                </a:cubicBezTo>
                <a:cubicBezTo>
                  <a:pt x="0" y="534"/>
                  <a:pt x="0" y="544"/>
                  <a:pt x="0" y="554"/>
                </a:cubicBezTo>
                <a:cubicBezTo>
                  <a:pt x="0" y="560"/>
                  <a:pt x="0" y="560"/>
                  <a:pt x="0" y="560"/>
                </a:cubicBezTo>
                <a:cubicBezTo>
                  <a:pt x="26" y="559"/>
                  <a:pt x="26" y="559"/>
                  <a:pt x="26" y="559"/>
                </a:cubicBezTo>
                <a:cubicBezTo>
                  <a:pt x="26" y="554"/>
                  <a:pt x="26" y="554"/>
                  <a:pt x="26" y="554"/>
                </a:cubicBezTo>
                <a:cubicBezTo>
                  <a:pt x="26" y="554"/>
                  <a:pt x="26" y="554"/>
                  <a:pt x="26" y="554"/>
                </a:cubicBezTo>
                <a:close/>
                <a:moveTo>
                  <a:pt x="652" y="75"/>
                </a:moveTo>
                <a:cubicBezTo>
                  <a:pt x="639" y="54"/>
                  <a:pt x="639" y="54"/>
                  <a:pt x="639" y="54"/>
                </a:cubicBezTo>
                <a:cubicBezTo>
                  <a:pt x="594" y="77"/>
                  <a:pt x="594" y="77"/>
                  <a:pt x="594" y="77"/>
                </a:cubicBezTo>
                <a:cubicBezTo>
                  <a:pt x="606" y="101"/>
                  <a:pt x="606" y="101"/>
                  <a:pt x="606" y="101"/>
                </a:cubicBezTo>
                <a:cubicBezTo>
                  <a:pt x="652" y="75"/>
                  <a:pt x="652" y="75"/>
                  <a:pt x="652" y="75"/>
                </a:cubicBezTo>
                <a:cubicBezTo>
                  <a:pt x="652" y="75"/>
                  <a:pt x="652" y="75"/>
                  <a:pt x="652" y="75"/>
                </a:cubicBezTo>
                <a:close/>
                <a:moveTo>
                  <a:pt x="28" y="478"/>
                </a:moveTo>
                <a:cubicBezTo>
                  <a:pt x="29" y="476"/>
                  <a:pt x="29" y="475"/>
                  <a:pt x="29" y="475"/>
                </a:cubicBezTo>
                <a:cubicBezTo>
                  <a:pt x="34" y="468"/>
                  <a:pt x="36" y="458"/>
                  <a:pt x="36" y="446"/>
                </a:cubicBezTo>
                <a:cubicBezTo>
                  <a:pt x="36" y="443"/>
                  <a:pt x="36" y="439"/>
                  <a:pt x="36" y="435"/>
                </a:cubicBezTo>
                <a:cubicBezTo>
                  <a:pt x="35" y="430"/>
                  <a:pt x="35" y="430"/>
                  <a:pt x="35" y="430"/>
                </a:cubicBezTo>
                <a:cubicBezTo>
                  <a:pt x="9" y="431"/>
                  <a:pt x="9" y="431"/>
                  <a:pt x="9" y="431"/>
                </a:cubicBezTo>
                <a:cubicBezTo>
                  <a:pt x="9" y="437"/>
                  <a:pt x="9" y="437"/>
                  <a:pt x="9" y="437"/>
                </a:cubicBezTo>
                <a:cubicBezTo>
                  <a:pt x="9" y="440"/>
                  <a:pt x="9" y="443"/>
                  <a:pt x="9" y="446"/>
                </a:cubicBezTo>
                <a:cubicBezTo>
                  <a:pt x="9" y="456"/>
                  <a:pt x="8" y="460"/>
                  <a:pt x="7" y="461"/>
                </a:cubicBezTo>
                <a:cubicBezTo>
                  <a:pt x="5" y="464"/>
                  <a:pt x="3" y="467"/>
                  <a:pt x="2" y="472"/>
                </a:cubicBezTo>
                <a:cubicBezTo>
                  <a:pt x="1" y="477"/>
                  <a:pt x="1" y="477"/>
                  <a:pt x="1" y="477"/>
                </a:cubicBezTo>
                <a:cubicBezTo>
                  <a:pt x="27" y="484"/>
                  <a:pt x="27" y="484"/>
                  <a:pt x="27" y="484"/>
                </a:cubicBezTo>
                <a:cubicBezTo>
                  <a:pt x="28" y="478"/>
                  <a:pt x="28" y="478"/>
                  <a:pt x="28" y="478"/>
                </a:cubicBezTo>
                <a:cubicBezTo>
                  <a:pt x="28" y="478"/>
                  <a:pt x="28" y="478"/>
                  <a:pt x="28" y="478"/>
                </a:cubicBezTo>
                <a:close/>
                <a:moveTo>
                  <a:pt x="5" y="404"/>
                </a:moveTo>
                <a:cubicBezTo>
                  <a:pt x="31" y="400"/>
                  <a:pt x="31" y="400"/>
                  <a:pt x="31" y="400"/>
                </a:cubicBezTo>
                <a:cubicBezTo>
                  <a:pt x="30" y="395"/>
                  <a:pt x="30" y="395"/>
                  <a:pt x="30" y="395"/>
                </a:cubicBezTo>
                <a:cubicBezTo>
                  <a:pt x="29" y="391"/>
                  <a:pt x="28" y="384"/>
                  <a:pt x="28" y="382"/>
                </a:cubicBezTo>
                <a:cubicBezTo>
                  <a:pt x="28" y="380"/>
                  <a:pt x="29" y="374"/>
                  <a:pt x="34" y="363"/>
                </a:cubicBezTo>
                <a:cubicBezTo>
                  <a:pt x="36" y="358"/>
                  <a:pt x="36" y="358"/>
                  <a:pt x="36" y="358"/>
                </a:cubicBezTo>
                <a:cubicBezTo>
                  <a:pt x="11" y="348"/>
                  <a:pt x="11" y="348"/>
                  <a:pt x="11" y="348"/>
                </a:cubicBezTo>
                <a:cubicBezTo>
                  <a:pt x="9" y="353"/>
                  <a:pt x="9" y="353"/>
                  <a:pt x="9" y="353"/>
                </a:cubicBezTo>
                <a:cubicBezTo>
                  <a:pt x="6" y="361"/>
                  <a:pt x="1" y="373"/>
                  <a:pt x="1" y="382"/>
                </a:cubicBezTo>
                <a:cubicBezTo>
                  <a:pt x="1" y="386"/>
                  <a:pt x="2" y="391"/>
                  <a:pt x="3" y="399"/>
                </a:cubicBezTo>
                <a:cubicBezTo>
                  <a:pt x="5" y="404"/>
                  <a:pt x="5" y="404"/>
                  <a:pt x="5" y="404"/>
                </a:cubicBezTo>
                <a:cubicBezTo>
                  <a:pt x="5" y="404"/>
                  <a:pt x="5" y="404"/>
                  <a:pt x="5" y="404"/>
                </a:cubicBezTo>
                <a:close/>
                <a:moveTo>
                  <a:pt x="1067" y="199"/>
                </a:moveTo>
                <a:cubicBezTo>
                  <a:pt x="1072" y="201"/>
                  <a:pt x="1072" y="201"/>
                  <a:pt x="1072" y="201"/>
                </a:cubicBezTo>
                <a:cubicBezTo>
                  <a:pt x="1085" y="179"/>
                  <a:pt x="1085" y="179"/>
                  <a:pt x="1085" y="179"/>
                </a:cubicBezTo>
                <a:cubicBezTo>
                  <a:pt x="1080" y="176"/>
                  <a:pt x="1080" y="176"/>
                  <a:pt x="1080" y="176"/>
                </a:cubicBezTo>
                <a:cubicBezTo>
                  <a:pt x="1068" y="170"/>
                  <a:pt x="1057" y="163"/>
                  <a:pt x="1045" y="157"/>
                </a:cubicBezTo>
                <a:cubicBezTo>
                  <a:pt x="1040" y="154"/>
                  <a:pt x="1040" y="154"/>
                  <a:pt x="1040" y="154"/>
                </a:cubicBezTo>
                <a:cubicBezTo>
                  <a:pt x="1027" y="177"/>
                  <a:pt x="1027" y="177"/>
                  <a:pt x="1027" y="177"/>
                </a:cubicBezTo>
                <a:cubicBezTo>
                  <a:pt x="1032" y="180"/>
                  <a:pt x="1032" y="180"/>
                  <a:pt x="1032" y="180"/>
                </a:cubicBezTo>
                <a:cubicBezTo>
                  <a:pt x="1045" y="187"/>
                  <a:pt x="1057" y="193"/>
                  <a:pt x="1067" y="199"/>
                </a:cubicBezTo>
                <a:close/>
                <a:moveTo>
                  <a:pt x="1270" y="323"/>
                </a:moveTo>
                <a:cubicBezTo>
                  <a:pt x="1275" y="326"/>
                  <a:pt x="1275" y="326"/>
                  <a:pt x="1275" y="326"/>
                </a:cubicBezTo>
                <a:cubicBezTo>
                  <a:pt x="1290" y="304"/>
                  <a:pt x="1290" y="304"/>
                  <a:pt x="1290" y="304"/>
                </a:cubicBezTo>
                <a:cubicBezTo>
                  <a:pt x="1286" y="301"/>
                  <a:pt x="1286" y="301"/>
                  <a:pt x="1286" y="301"/>
                </a:cubicBezTo>
                <a:cubicBezTo>
                  <a:pt x="1276" y="294"/>
                  <a:pt x="1264" y="287"/>
                  <a:pt x="1251" y="278"/>
                </a:cubicBezTo>
                <a:cubicBezTo>
                  <a:pt x="1246" y="275"/>
                  <a:pt x="1246" y="275"/>
                  <a:pt x="1246" y="275"/>
                </a:cubicBezTo>
                <a:cubicBezTo>
                  <a:pt x="1232" y="297"/>
                  <a:pt x="1232" y="297"/>
                  <a:pt x="1232" y="297"/>
                </a:cubicBezTo>
                <a:cubicBezTo>
                  <a:pt x="1237" y="300"/>
                  <a:pt x="1237" y="300"/>
                  <a:pt x="1237" y="300"/>
                </a:cubicBezTo>
                <a:cubicBezTo>
                  <a:pt x="1249" y="308"/>
                  <a:pt x="1261" y="316"/>
                  <a:pt x="1270" y="323"/>
                </a:cubicBezTo>
                <a:close/>
                <a:moveTo>
                  <a:pt x="1204" y="279"/>
                </a:moveTo>
                <a:cubicBezTo>
                  <a:pt x="1209" y="282"/>
                  <a:pt x="1209" y="282"/>
                  <a:pt x="1209" y="282"/>
                </a:cubicBezTo>
                <a:cubicBezTo>
                  <a:pt x="1223" y="259"/>
                  <a:pt x="1223" y="259"/>
                  <a:pt x="1223" y="259"/>
                </a:cubicBezTo>
                <a:cubicBezTo>
                  <a:pt x="1217" y="257"/>
                  <a:pt x="1217" y="257"/>
                  <a:pt x="1217" y="257"/>
                </a:cubicBezTo>
                <a:cubicBezTo>
                  <a:pt x="1207" y="250"/>
                  <a:pt x="1196" y="243"/>
                  <a:pt x="1184" y="236"/>
                </a:cubicBezTo>
                <a:cubicBezTo>
                  <a:pt x="1179" y="233"/>
                  <a:pt x="1179" y="233"/>
                  <a:pt x="1179" y="233"/>
                </a:cubicBezTo>
                <a:cubicBezTo>
                  <a:pt x="1166" y="256"/>
                  <a:pt x="1166" y="256"/>
                  <a:pt x="1166" y="256"/>
                </a:cubicBezTo>
                <a:cubicBezTo>
                  <a:pt x="1170" y="259"/>
                  <a:pt x="1170" y="259"/>
                  <a:pt x="1170" y="259"/>
                </a:cubicBezTo>
                <a:cubicBezTo>
                  <a:pt x="1183" y="265"/>
                  <a:pt x="1194" y="272"/>
                  <a:pt x="1204" y="279"/>
                </a:cubicBezTo>
                <a:close/>
                <a:moveTo>
                  <a:pt x="1337" y="403"/>
                </a:moveTo>
                <a:cubicBezTo>
                  <a:pt x="1340" y="414"/>
                  <a:pt x="1341" y="427"/>
                  <a:pt x="1343" y="441"/>
                </a:cubicBezTo>
                <a:cubicBezTo>
                  <a:pt x="1343" y="447"/>
                  <a:pt x="1343" y="447"/>
                  <a:pt x="1343" y="447"/>
                </a:cubicBezTo>
                <a:cubicBezTo>
                  <a:pt x="1369" y="445"/>
                  <a:pt x="1369" y="445"/>
                  <a:pt x="1369" y="445"/>
                </a:cubicBezTo>
                <a:cubicBezTo>
                  <a:pt x="1369" y="439"/>
                  <a:pt x="1369" y="439"/>
                  <a:pt x="1369" y="439"/>
                </a:cubicBezTo>
                <a:cubicBezTo>
                  <a:pt x="1367" y="424"/>
                  <a:pt x="1365" y="410"/>
                  <a:pt x="1363" y="397"/>
                </a:cubicBezTo>
                <a:cubicBezTo>
                  <a:pt x="1362" y="392"/>
                  <a:pt x="1362" y="392"/>
                  <a:pt x="1362" y="392"/>
                </a:cubicBezTo>
                <a:cubicBezTo>
                  <a:pt x="1336" y="397"/>
                  <a:pt x="1336" y="397"/>
                  <a:pt x="1336" y="397"/>
                </a:cubicBezTo>
                <a:cubicBezTo>
                  <a:pt x="1337" y="403"/>
                  <a:pt x="1337" y="403"/>
                  <a:pt x="1337" y="403"/>
                </a:cubicBezTo>
                <a:cubicBezTo>
                  <a:pt x="1337" y="403"/>
                  <a:pt x="1337" y="403"/>
                  <a:pt x="1337" y="403"/>
                </a:cubicBezTo>
                <a:close/>
                <a:moveTo>
                  <a:pt x="1325" y="369"/>
                </a:moveTo>
                <a:cubicBezTo>
                  <a:pt x="1328" y="373"/>
                  <a:pt x="1328" y="373"/>
                  <a:pt x="1328" y="373"/>
                </a:cubicBezTo>
                <a:cubicBezTo>
                  <a:pt x="1352" y="362"/>
                  <a:pt x="1352" y="362"/>
                  <a:pt x="1352" y="362"/>
                </a:cubicBezTo>
                <a:cubicBezTo>
                  <a:pt x="1349" y="356"/>
                  <a:pt x="1349" y="356"/>
                  <a:pt x="1349" y="356"/>
                </a:cubicBezTo>
                <a:cubicBezTo>
                  <a:pt x="1344" y="348"/>
                  <a:pt x="1334" y="338"/>
                  <a:pt x="1318" y="325"/>
                </a:cubicBezTo>
                <a:cubicBezTo>
                  <a:pt x="1313" y="321"/>
                  <a:pt x="1313" y="321"/>
                  <a:pt x="1313" y="321"/>
                </a:cubicBezTo>
                <a:cubicBezTo>
                  <a:pt x="1296" y="342"/>
                  <a:pt x="1296" y="342"/>
                  <a:pt x="1296" y="342"/>
                </a:cubicBezTo>
                <a:cubicBezTo>
                  <a:pt x="1301" y="345"/>
                  <a:pt x="1301" y="345"/>
                  <a:pt x="1301" y="345"/>
                </a:cubicBezTo>
                <a:cubicBezTo>
                  <a:pt x="1319" y="359"/>
                  <a:pt x="1324" y="367"/>
                  <a:pt x="1325" y="369"/>
                </a:cubicBezTo>
                <a:close/>
                <a:moveTo>
                  <a:pt x="1136" y="238"/>
                </a:moveTo>
                <a:cubicBezTo>
                  <a:pt x="1141" y="241"/>
                  <a:pt x="1141" y="241"/>
                  <a:pt x="1141" y="241"/>
                </a:cubicBezTo>
                <a:cubicBezTo>
                  <a:pt x="1155" y="219"/>
                  <a:pt x="1155" y="219"/>
                  <a:pt x="1155" y="219"/>
                </a:cubicBezTo>
                <a:cubicBezTo>
                  <a:pt x="1150" y="216"/>
                  <a:pt x="1150" y="216"/>
                  <a:pt x="1150" y="216"/>
                </a:cubicBezTo>
                <a:cubicBezTo>
                  <a:pt x="1138" y="210"/>
                  <a:pt x="1127" y="203"/>
                  <a:pt x="1115" y="196"/>
                </a:cubicBezTo>
                <a:cubicBezTo>
                  <a:pt x="1109" y="194"/>
                  <a:pt x="1109" y="194"/>
                  <a:pt x="1109" y="194"/>
                </a:cubicBezTo>
                <a:cubicBezTo>
                  <a:pt x="1096" y="216"/>
                  <a:pt x="1096" y="216"/>
                  <a:pt x="1096" y="216"/>
                </a:cubicBezTo>
                <a:cubicBezTo>
                  <a:pt x="1101" y="219"/>
                  <a:pt x="1101" y="219"/>
                  <a:pt x="1101" y="219"/>
                </a:cubicBezTo>
                <a:cubicBezTo>
                  <a:pt x="1113" y="225"/>
                  <a:pt x="1125" y="232"/>
                  <a:pt x="1136" y="238"/>
                </a:cubicBezTo>
                <a:close/>
                <a:moveTo>
                  <a:pt x="844" y="74"/>
                </a:moveTo>
                <a:cubicBezTo>
                  <a:pt x="849" y="77"/>
                  <a:pt x="849" y="77"/>
                  <a:pt x="849" y="77"/>
                </a:cubicBezTo>
                <a:cubicBezTo>
                  <a:pt x="863" y="55"/>
                  <a:pt x="863" y="55"/>
                  <a:pt x="863" y="55"/>
                </a:cubicBezTo>
                <a:cubicBezTo>
                  <a:pt x="859" y="52"/>
                  <a:pt x="859" y="52"/>
                  <a:pt x="859" y="52"/>
                </a:cubicBezTo>
                <a:cubicBezTo>
                  <a:pt x="846" y="44"/>
                  <a:pt x="834" y="37"/>
                  <a:pt x="823" y="31"/>
                </a:cubicBezTo>
                <a:cubicBezTo>
                  <a:pt x="819" y="28"/>
                  <a:pt x="819" y="28"/>
                  <a:pt x="819" y="28"/>
                </a:cubicBezTo>
                <a:cubicBezTo>
                  <a:pt x="805" y="51"/>
                  <a:pt x="805" y="51"/>
                  <a:pt x="805" y="51"/>
                </a:cubicBezTo>
                <a:cubicBezTo>
                  <a:pt x="810" y="54"/>
                  <a:pt x="810" y="54"/>
                  <a:pt x="810" y="54"/>
                </a:cubicBezTo>
                <a:cubicBezTo>
                  <a:pt x="821" y="59"/>
                  <a:pt x="832" y="66"/>
                  <a:pt x="844" y="74"/>
                </a:cubicBezTo>
                <a:close/>
                <a:moveTo>
                  <a:pt x="746" y="26"/>
                </a:moveTo>
                <a:cubicBezTo>
                  <a:pt x="747" y="26"/>
                  <a:pt x="748" y="26"/>
                  <a:pt x="750" y="26"/>
                </a:cubicBezTo>
                <a:cubicBezTo>
                  <a:pt x="753" y="27"/>
                  <a:pt x="761" y="29"/>
                  <a:pt x="776" y="36"/>
                </a:cubicBezTo>
                <a:cubicBezTo>
                  <a:pt x="781" y="39"/>
                  <a:pt x="781" y="39"/>
                  <a:pt x="781" y="39"/>
                </a:cubicBezTo>
                <a:cubicBezTo>
                  <a:pt x="792" y="15"/>
                  <a:pt x="792" y="15"/>
                  <a:pt x="792" y="15"/>
                </a:cubicBezTo>
                <a:cubicBezTo>
                  <a:pt x="787" y="13"/>
                  <a:pt x="787" y="13"/>
                  <a:pt x="787" y="13"/>
                </a:cubicBezTo>
                <a:cubicBezTo>
                  <a:pt x="772" y="5"/>
                  <a:pt x="761" y="1"/>
                  <a:pt x="753" y="0"/>
                </a:cubicBezTo>
                <a:cubicBezTo>
                  <a:pt x="750" y="0"/>
                  <a:pt x="748" y="0"/>
                  <a:pt x="746" y="0"/>
                </a:cubicBezTo>
                <a:cubicBezTo>
                  <a:pt x="746" y="0"/>
                  <a:pt x="746" y="0"/>
                  <a:pt x="746" y="0"/>
                </a:cubicBezTo>
                <a:cubicBezTo>
                  <a:pt x="739" y="0"/>
                  <a:pt x="739" y="0"/>
                  <a:pt x="739" y="0"/>
                </a:cubicBezTo>
                <a:cubicBezTo>
                  <a:pt x="739" y="26"/>
                  <a:pt x="739" y="26"/>
                  <a:pt x="739" y="26"/>
                </a:cubicBezTo>
                <a:cubicBezTo>
                  <a:pt x="746" y="26"/>
                  <a:pt x="746" y="26"/>
                  <a:pt x="746" y="26"/>
                </a:cubicBezTo>
                <a:cubicBezTo>
                  <a:pt x="746" y="26"/>
                  <a:pt x="746" y="26"/>
                  <a:pt x="746" y="26"/>
                </a:cubicBezTo>
                <a:close/>
                <a:moveTo>
                  <a:pt x="682" y="56"/>
                </a:moveTo>
                <a:cubicBezTo>
                  <a:pt x="689" y="51"/>
                  <a:pt x="700" y="43"/>
                  <a:pt x="713" y="37"/>
                </a:cubicBezTo>
                <a:cubicBezTo>
                  <a:pt x="718" y="34"/>
                  <a:pt x="718" y="34"/>
                  <a:pt x="718" y="34"/>
                </a:cubicBezTo>
                <a:cubicBezTo>
                  <a:pt x="706" y="11"/>
                  <a:pt x="706" y="11"/>
                  <a:pt x="706" y="11"/>
                </a:cubicBezTo>
                <a:cubicBezTo>
                  <a:pt x="701" y="13"/>
                  <a:pt x="701" y="13"/>
                  <a:pt x="701" y="13"/>
                </a:cubicBezTo>
                <a:cubicBezTo>
                  <a:pt x="687" y="20"/>
                  <a:pt x="674" y="29"/>
                  <a:pt x="666" y="35"/>
                </a:cubicBezTo>
                <a:cubicBezTo>
                  <a:pt x="661" y="39"/>
                  <a:pt x="661" y="39"/>
                  <a:pt x="661" y="39"/>
                </a:cubicBezTo>
                <a:cubicBezTo>
                  <a:pt x="677" y="60"/>
                  <a:pt x="677" y="60"/>
                  <a:pt x="677" y="60"/>
                </a:cubicBezTo>
                <a:cubicBezTo>
                  <a:pt x="682" y="56"/>
                  <a:pt x="682" y="56"/>
                  <a:pt x="682" y="56"/>
                </a:cubicBezTo>
                <a:cubicBezTo>
                  <a:pt x="682" y="56"/>
                  <a:pt x="682" y="56"/>
                  <a:pt x="682" y="56"/>
                </a:cubicBezTo>
                <a:close/>
                <a:moveTo>
                  <a:pt x="38" y="662"/>
                </a:moveTo>
                <a:cubicBezTo>
                  <a:pt x="35" y="658"/>
                  <a:pt x="35" y="658"/>
                  <a:pt x="35" y="658"/>
                </a:cubicBezTo>
                <a:cubicBezTo>
                  <a:pt x="15" y="675"/>
                  <a:pt x="15" y="675"/>
                  <a:pt x="15" y="675"/>
                </a:cubicBezTo>
                <a:cubicBezTo>
                  <a:pt x="19" y="680"/>
                  <a:pt x="19" y="680"/>
                  <a:pt x="19" y="680"/>
                </a:cubicBezTo>
                <a:cubicBezTo>
                  <a:pt x="29" y="690"/>
                  <a:pt x="44" y="699"/>
                  <a:pt x="55" y="705"/>
                </a:cubicBezTo>
                <a:cubicBezTo>
                  <a:pt x="59" y="707"/>
                  <a:pt x="59" y="707"/>
                  <a:pt x="59" y="707"/>
                </a:cubicBezTo>
                <a:cubicBezTo>
                  <a:pt x="72" y="685"/>
                  <a:pt x="72" y="685"/>
                  <a:pt x="72" y="685"/>
                </a:cubicBezTo>
                <a:cubicBezTo>
                  <a:pt x="67" y="682"/>
                  <a:pt x="67" y="682"/>
                  <a:pt x="67" y="682"/>
                </a:cubicBezTo>
                <a:cubicBezTo>
                  <a:pt x="54" y="675"/>
                  <a:pt x="44" y="669"/>
                  <a:pt x="38" y="662"/>
                </a:cubicBezTo>
                <a:close/>
                <a:moveTo>
                  <a:pt x="997" y="161"/>
                </a:moveTo>
                <a:cubicBezTo>
                  <a:pt x="1002" y="163"/>
                  <a:pt x="1002" y="163"/>
                  <a:pt x="1002" y="163"/>
                </a:cubicBezTo>
                <a:cubicBezTo>
                  <a:pt x="1014" y="141"/>
                  <a:pt x="1014" y="141"/>
                  <a:pt x="1014" y="141"/>
                </a:cubicBezTo>
                <a:cubicBezTo>
                  <a:pt x="1010" y="138"/>
                  <a:pt x="1010" y="138"/>
                  <a:pt x="1010" y="138"/>
                </a:cubicBezTo>
                <a:cubicBezTo>
                  <a:pt x="997" y="131"/>
                  <a:pt x="986" y="125"/>
                  <a:pt x="975" y="119"/>
                </a:cubicBezTo>
                <a:cubicBezTo>
                  <a:pt x="970" y="116"/>
                  <a:pt x="970" y="116"/>
                  <a:pt x="970" y="116"/>
                </a:cubicBezTo>
                <a:cubicBezTo>
                  <a:pt x="958" y="139"/>
                  <a:pt x="958" y="139"/>
                  <a:pt x="958" y="139"/>
                </a:cubicBezTo>
                <a:cubicBezTo>
                  <a:pt x="963" y="142"/>
                  <a:pt x="963" y="142"/>
                  <a:pt x="963" y="142"/>
                </a:cubicBezTo>
                <a:cubicBezTo>
                  <a:pt x="973" y="148"/>
                  <a:pt x="985" y="154"/>
                  <a:pt x="997" y="161"/>
                </a:cubicBezTo>
                <a:close/>
                <a:moveTo>
                  <a:pt x="888" y="102"/>
                </a:moveTo>
                <a:cubicBezTo>
                  <a:pt x="891" y="103"/>
                  <a:pt x="892" y="104"/>
                  <a:pt x="892" y="104"/>
                </a:cubicBezTo>
                <a:cubicBezTo>
                  <a:pt x="893" y="105"/>
                  <a:pt x="893" y="105"/>
                  <a:pt x="893" y="105"/>
                </a:cubicBezTo>
                <a:cubicBezTo>
                  <a:pt x="894" y="106"/>
                  <a:pt x="907" y="112"/>
                  <a:pt x="928" y="124"/>
                </a:cubicBezTo>
                <a:cubicBezTo>
                  <a:pt x="932" y="126"/>
                  <a:pt x="932" y="126"/>
                  <a:pt x="932" y="126"/>
                </a:cubicBezTo>
                <a:cubicBezTo>
                  <a:pt x="945" y="103"/>
                  <a:pt x="945" y="103"/>
                  <a:pt x="945" y="103"/>
                </a:cubicBezTo>
                <a:cubicBezTo>
                  <a:pt x="940" y="100"/>
                  <a:pt x="940" y="100"/>
                  <a:pt x="940" y="100"/>
                </a:cubicBezTo>
                <a:cubicBezTo>
                  <a:pt x="917" y="88"/>
                  <a:pt x="909" y="84"/>
                  <a:pt x="906" y="82"/>
                </a:cubicBezTo>
                <a:cubicBezTo>
                  <a:pt x="906" y="82"/>
                  <a:pt x="906" y="82"/>
                  <a:pt x="906" y="82"/>
                </a:cubicBezTo>
                <a:cubicBezTo>
                  <a:pt x="906" y="82"/>
                  <a:pt x="900" y="78"/>
                  <a:pt x="891" y="73"/>
                </a:cubicBezTo>
                <a:cubicBezTo>
                  <a:pt x="887" y="69"/>
                  <a:pt x="887" y="69"/>
                  <a:pt x="887" y="69"/>
                </a:cubicBezTo>
                <a:cubicBezTo>
                  <a:pt x="873" y="91"/>
                  <a:pt x="873" y="91"/>
                  <a:pt x="873" y="91"/>
                </a:cubicBezTo>
                <a:cubicBezTo>
                  <a:pt x="877" y="94"/>
                  <a:pt x="877" y="94"/>
                  <a:pt x="877" y="94"/>
                </a:cubicBezTo>
                <a:cubicBezTo>
                  <a:pt x="882" y="97"/>
                  <a:pt x="886" y="100"/>
                  <a:pt x="888" y="102"/>
                </a:cubicBezTo>
                <a:close/>
                <a:moveTo>
                  <a:pt x="304" y="266"/>
                </a:moveTo>
                <a:cubicBezTo>
                  <a:pt x="291" y="242"/>
                  <a:pt x="291" y="242"/>
                  <a:pt x="291" y="242"/>
                </a:cubicBezTo>
                <a:cubicBezTo>
                  <a:pt x="247" y="268"/>
                  <a:pt x="247" y="268"/>
                  <a:pt x="247" y="268"/>
                </a:cubicBezTo>
                <a:cubicBezTo>
                  <a:pt x="260" y="290"/>
                  <a:pt x="260" y="290"/>
                  <a:pt x="260" y="290"/>
                </a:cubicBezTo>
                <a:cubicBezTo>
                  <a:pt x="304" y="266"/>
                  <a:pt x="304" y="266"/>
                  <a:pt x="304" y="266"/>
                </a:cubicBezTo>
                <a:cubicBezTo>
                  <a:pt x="304" y="266"/>
                  <a:pt x="304" y="266"/>
                  <a:pt x="304" y="266"/>
                </a:cubicBezTo>
                <a:close/>
                <a:moveTo>
                  <a:pt x="1073" y="766"/>
                </a:moveTo>
                <a:cubicBezTo>
                  <a:pt x="1085" y="787"/>
                  <a:pt x="1085" y="787"/>
                  <a:pt x="1085" y="787"/>
                </a:cubicBezTo>
                <a:cubicBezTo>
                  <a:pt x="1129" y="762"/>
                  <a:pt x="1129" y="762"/>
                  <a:pt x="1129" y="762"/>
                </a:cubicBezTo>
                <a:cubicBezTo>
                  <a:pt x="1117" y="740"/>
                  <a:pt x="1117" y="740"/>
                  <a:pt x="1117" y="740"/>
                </a:cubicBezTo>
                <a:cubicBezTo>
                  <a:pt x="1073" y="766"/>
                  <a:pt x="1073" y="766"/>
                  <a:pt x="1073" y="766"/>
                </a:cubicBezTo>
                <a:cubicBezTo>
                  <a:pt x="1073" y="766"/>
                  <a:pt x="1073" y="766"/>
                  <a:pt x="1073" y="766"/>
                </a:cubicBezTo>
                <a:close/>
                <a:moveTo>
                  <a:pt x="974" y="824"/>
                </a:moveTo>
                <a:cubicBezTo>
                  <a:pt x="961" y="831"/>
                  <a:pt x="950" y="838"/>
                  <a:pt x="940" y="844"/>
                </a:cubicBezTo>
                <a:cubicBezTo>
                  <a:pt x="936" y="847"/>
                  <a:pt x="936" y="847"/>
                  <a:pt x="936" y="847"/>
                </a:cubicBezTo>
                <a:cubicBezTo>
                  <a:pt x="949" y="870"/>
                  <a:pt x="949" y="870"/>
                  <a:pt x="949" y="870"/>
                </a:cubicBezTo>
                <a:cubicBezTo>
                  <a:pt x="953" y="867"/>
                  <a:pt x="953" y="867"/>
                  <a:pt x="953" y="867"/>
                </a:cubicBezTo>
                <a:cubicBezTo>
                  <a:pt x="964" y="860"/>
                  <a:pt x="975" y="853"/>
                  <a:pt x="987" y="846"/>
                </a:cubicBezTo>
                <a:cubicBezTo>
                  <a:pt x="992" y="844"/>
                  <a:pt x="992" y="844"/>
                  <a:pt x="992" y="844"/>
                </a:cubicBezTo>
                <a:cubicBezTo>
                  <a:pt x="979" y="821"/>
                  <a:pt x="979" y="821"/>
                  <a:pt x="979" y="821"/>
                </a:cubicBezTo>
                <a:cubicBezTo>
                  <a:pt x="974" y="824"/>
                  <a:pt x="974" y="824"/>
                  <a:pt x="974" y="824"/>
                </a:cubicBezTo>
                <a:cubicBezTo>
                  <a:pt x="974" y="824"/>
                  <a:pt x="974" y="824"/>
                  <a:pt x="974" y="824"/>
                </a:cubicBezTo>
                <a:close/>
                <a:moveTo>
                  <a:pt x="1043" y="783"/>
                </a:moveTo>
                <a:cubicBezTo>
                  <a:pt x="1031" y="789"/>
                  <a:pt x="1019" y="796"/>
                  <a:pt x="1008" y="803"/>
                </a:cubicBezTo>
                <a:cubicBezTo>
                  <a:pt x="1003" y="806"/>
                  <a:pt x="1003" y="806"/>
                  <a:pt x="1003" y="806"/>
                </a:cubicBezTo>
                <a:cubicBezTo>
                  <a:pt x="1016" y="828"/>
                  <a:pt x="1016" y="828"/>
                  <a:pt x="1016" y="828"/>
                </a:cubicBezTo>
                <a:cubicBezTo>
                  <a:pt x="1021" y="825"/>
                  <a:pt x="1021" y="825"/>
                  <a:pt x="1021" y="825"/>
                </a:cubicBezTo>
                <a:cubicBezTo>
                  <a:pt x="1033" y="819"/>
                  <a:pt x="1045" y="813"/>
                  <a:pt x="1056" y="805"/>
                </a:cubicBezTo>
                <a:cubicBezTo>
                  <a:pt x="1062" y="803"/>
                  <a:pt x="1062" y="803"/>
                  <a:pt x="1062" y="803"/>
                </a:cubicBezTo>
                <a:cubicBezTo>
                  <a:pt x="1048" y="780"/>
                  <a:pt x="1048" y="780"/>
                  <a:pt x="1048" y="780"/>
                </a:cubicBezTo>
                <a:cubicBezTo>
                  <a:pt x="1043" y="783"/>
                  <a:pt x="1043" y="783"/>
                  <a:pt x="1043" y="783"/>
                </a:cubicBezTo>
                <a:cubicBezTo>
                  <a:pt x="1043" y="783"/>
                  <a:pt x="1043" y="783"/>
                  <a:pt x="1043" y="783"/>
                </a:cubicBezTo>
                <a:close/>
                <a:moveTo>
                  <a:pt x="838" y="909"/>
                </a:moveTo>
                <a:cubicBezTo>
                  <a:pt x="824" y="920"/>
                  <a:pt x="816" y="927"/>
                  <a:pt x="812" y="934"/>
                </a:cubicBezTo>
                <a:cubicBezTo>
                  <a:pt x="811" y="936"/>
                  <a:pt x="809" y="938"/>
                  <a:pt x="808" y="941"/>
                </a:cubicBezTo>
                <a:cubicBezTo>
                  <a:pt x="805" y="946"/>
                  <a:pt x="805" y="946"/>
                  <a:pt x="805" y="946"/>
                </a:cubicBezTo>
                <a:cubicBezTo>
                  <a:pt x="827" y="959"/>
                  <a:pt x="827" y="959"/>
                  <a:pt x="827" y="959"/>
                </a:cubicBezTo>
                <a:cubicBezTo>
                  <a:pt x="830" y="955"/>
                  <a:pt x="830" y="955"/>
                  <a:pt x="830" y="955"/>
                </a:cubicBezTo>
                <a:cubicBezTo>
                  <a:pt x="832" y="953"/>
                  <a:pt x="832" y="950"/>
                  <a:pt x="834" y="948"/>
                </a:cubicBezTo>
                <a:cubicBezTo>
                  <a:pt x="835" y="947"/>
                  <a:pt x="838" y="942"/>
                  <a:pt x="854" y="930"/>
                </a:cubicBezTo>
                <a:cubicBezTo>
                  <a:pt x="858" y="926"/>
                  <a:pt x="858" y="926"/>
                  <a:pt x="858" y="926"/>
                </a:cubicBezTo>
                <a:cubicBezTo>
                  <a:pt x="843" y="906"/>
                  <a:pt x="843" y="906"/>
                  <a:pt x="843" y="906"/>
                </a:cubicBezTo>
                <a:cubicBezTo>
                  <a:pt x="838" y="909"/>
                  <a:pt x="838" y="909"/>
                  <a:pt x="838" y="909"/>
                </a:cubicBezTo>
                <a:cubicBezTo>
                  <a:pt x="838" y="909"/>
                  <a:pt x="838" y="909"/>
                  <a:pt x="838" y="909"/>
                </a:cubicBezTo>
                <a:close/>
                <a:moveTo>
                  <a:pt x="905" y="864"/>
                </a:moveTo>
                <a:cubicBezTo>
                  <a:pt x="894" y="872"/>
                  <a:pt x="882" y="879"/>
                  <a:pt x="872" y="886"/>
                </a:cubicBezTo>
                <a:cubicBezTo>
                  <a:pt x="868" y="889"/>
                  <a:pt x="868" y="889"/>
                  <a:pt x="868" y="889"/>
                </a:cubicBezTo>
                <a:cubicBezTo>
                  <a:pt x="882" y="910"/>
                  <a:pt x="882" y="910"/>
                  <a:pt x="882" y="910"/>
                </a:cubicBezTo>
                <a:cubicBezTo>
                  <a:pt x="886" y="907"/>
                  <a:pt x="886" y="907"/>
                  <a:pt x="886" y="907"/>
                </a:cubicBezTo>
                <a:cubicBezTo>
                  <a:pt x="897" y="901"/>
                  <a:pt x="908" y="894"/>
                  <a:pt x="919" y="887"/>
                </a:cubicBezTo>
                <a:cubicBezTo>
                  <a:pt x="924" y="884"/>
                  <a:pt x="924" y="884"/>
                  <a:pt x="924" y="884"/>
                </a:cubicBezTo>
                <a:cubicBezTo>
                  <a:pt x="911" y="861"/>
                  <a:pt x="911" y="861"/>
                  <a:pt x="911" y="861"/>
                </a:cubicBezTo>
                <a:cubicBezTo>
                  <a:pt x="905" y="864"/>
                  <a:pt x="905" y="864"/>
                  <a:pt x="905" y="864"/>
                </a:cubicBezTo>
                <a:cubicBezTo>
                  <a:pt x="905" y="864"/>
                  <a:pt x="905" y="864"/>
                  <a:pt x="905" y="864"/>
                </a:cubicBezTo>
                <a:close/>
                <a:moveTo>
                  <a:pt x="1140" y="726"/>
                </a:moveTo>
                <a:cubicBezTo>
                  <a:pt x="1155" y="748"/>
                  <a:pt x="1155" y="748"/>
                  <a:pt x="1155" y="748"/>
                </a:cubicBezTo>
                <a:cubicBezTo>
                  <a:pt x="1199" y="723"/>
                  <a:pt x="1199" y="723"/>
                  <a:pt x="1199" y="723"/>
                </a:cubicBezTo>
                <a:cubicBezTo>
                  <a:pt x="1184" y="701"/>
                  <a:pt x="1184" y="701"/>
                  <a:pt x="1184" y="701"/>
                </a:cubicBezTo>
                <a:cubicBezTo>
                  <a:pt x="1140" y="726"/>
                  <a:pt x="1140" y="726"/>
                  <a:pt x="1140" y="726"/>
                </a:cubicBezTo>
                <a:cubicBezTo>
                  <a:pt x="1140" y="726"/>
                  <a:pt x="1140" y="726"/>
                  <a:pt x="1140" y="726"/>
                </a:cubicBezTo>
                <a:close/>
                <a:moveTo>
                  <a:pt x="48" y="303"/>
                </a:moveTo>
                <a:cubicBezTo>
                  <a:pt x="43" y="306"/>
                  <a:pt x="37" y="310"/>
                  <a:pt x="32" y="317"/>
                </a:cubicBezTo>
                <a:cubicBezTo>
                  <a:pt x="28" y="322"/>
                  <a:pt x="28" y="322"/>
                  <a:pt x="28" y="322"/>
                </a:cubicBezTo>
                <a:cubicBezTo>
                  <a:pt x="48" y="339"/>
                  <a:pt x="48" y="339"/>
                  <a:pt x="48" y="339"/>
                </a:cubicBezTo>
                <a:cubicBezTo>
                  <a:pt x="51" y="334"/>
                  <a:pt x="51" y="334"/>
                  <a:pt x="51" y="334"/>
                </a:cubicBezTo>
                <a:cubicBezTo>
                  <a:pt x="54" y="330"/>
                  <a:pt x="58" y="328"/>
                  <a:pt x="61" y="327"/>
                </a:cubicBezTo>
                <a:cubicBezTo>
                  <a:pt x="61" y="327"/>
                  <a:pt x="63" y="325"/>
                  <a:pt x="74" y="328"/>
                </a:cubicBezTo>
                <a:cubicBezTo>
                  <a:pt x="80" y="330"/>
                  <a:pt x="80" y="330"/>
                  <a:pt x="80" y="330"/>
                </a:cubicBezTo>
                <a:cubicBezTo>
                  <a:pt x="86" y="305"/>
                  <a:pt x="86" y="305"/>
                  <a:pt x="86" y="305"/>
                </a:cubicBezTo>
                <a:cubicBezTo>
                  <a:pt x="81" y="304"/>
                  <a:pt x="81" y="304"/>
                  <a:pt x="81" y="304"/>
                </a:cubicBezTo>
                <a:cubicBezTo>
                  <a:pt x="67" y="299"/>
                  <a:pt x="57" y="299"/>
                  <a:pt x="48" y="303"/>
                </a:cubicBezTo>
                <a:close/>
                <a:moveTo>
                  <a:pt x="1338" y="556"/>
                </a:moveTo>
                <a:cubicBezTo>
                  <a:pt x="1336" y="570"/>
                  <a:pt x="1333" y="583"/>
                  <a:pt x="1330" y="593"/>
                </a:cubicBezTo>
                <a:cubicBezTo>
                  <a:pt x="1328" y="598"/>
                  <a:pt x="1328" y="598"/>
                  <a:pt x="1328" y="598"/>
                </a:cubicBezTo>
                <a:cubicBezTo>
                  <a:pt x="1353" y="606"/>
                  <a:pt x="1353" y="606"/>
                  <a:pt x="1353" y="606"/>
                </a:cubicBezTo>
                <a:cubicBezTo>
                  <a:pt x="1355" y="601"/>
                  <a:pt x="1355" y="601"/>
                  <a:pt x="1355" y="601"/>
                </a:cubicBezTo>
                <a:cubicBezTo>
                  <a:pt x="1358" y="590"/>
                  <a:pt x="1361" y="576"/>
                  <a:pt x="1363" y="561"/>
                </a:cubicBezTo>
                <a:cubicBezTo>
                  <a:pt x="1364" y="555"/>
                  <a:pt x="1364" y="555"/>
                  <a:pt x="1364" y="555"/>
                </a:cubicBezTo>
                <a:cubicBezTo>
                  <a:pt x="1339" y="551"/>
                  <a:pt x="1339" y="551"/>
                  <a:pt x="1339" y="551"/>
                </a:cubicBezTo>
                <a:cubicBezTo>
                  <a:pt x="1338" y="556"/>
                  <a:pt x="1338" y="556"/>
                  <a:pt x="1338" y="556"/>
                </a:cubicBezTo>
                <a:cubicBezTo>
                  <a:pt x="1338" y="556"/>
                  <a:pt x="1338" y="556"/>
                  <a:pt x="1338" y="556"/>
                </a:cubicBezTo>
                <a:close/>
                <a:moveTo>
                  <a:pt x="1344" y="474"/>
                </a:moveTo>
                <a:cubicBezTo>
                  <a:pt x="1344" y="480"/>
                  <a:pt x="1344" y="480"/>
                  <a:pt x="1344" y="480"/>
                </a:cubicBezTo>
                <a:cubicBezTo>
                  <a:pt x="1344" y="493"/>
                  <a:pt x="1344" y="506"/>
                  <a:pt x="1342" y="518"/>
                </a:cubicBezTo>
                <a:cubicBezTo>
                  <a:pt x="1342" y="524"/>
                  <a:pt x="1342" y="524"/>
                  <a:pt x="1342" y="524"/>
                </a:cubicBezTo>
                <a:cubicBezTo>
                  <a:pt x="1367" y="526"/>
                  <a:pt x="1367" y="526"/>
                  <a:pt x="1367" y="526"/>
                </a:cubicBezTo>
                <a:cubicBezTo>
                  <a:pt x="1367" y="520"/>
                  <a:pt x="1367" y="520"/>
                  <a:pt x="1367" y="520"/>
                </a:cubicBezTo>
                <a:cubicBezTo>
                  <a:pt x="1368" y="507"/>
                  <a:pt x="1369" y="493"/>
                  <a:pt x="1369" y="480"/>
                </a:cubicBezTo>
                <a:cubicBezTo>
                  <a:pt x="1369" y="474"/>
                  <a:pt x="1369" y="474"/>
                  <a:pt x="1369" y="474"/>
                </a:cubicBezTo>
                <a:cubicBezTo>
                  <a:pt x="1344" y="474"/>
                  <a:pt x="1344" y="474"/>
                  <a:pt x="1344" y="474"/>
                </a:cubicBezTo>
                <a:cubicBezTo>
                  <a:pt x="1344" y="474"/>
                  <a:pt x="1344" y="474"/>
                  <a:pt x="1344" y="474"/>
                </a:cubicBezTo>
                <a:close/>
                <a:moveTo>
                  <a:pt x="791" y="972"/>
                </a:moveTo>
                <a:cubicBezTo>
                  <a:pt x="789" y="977"/>
                  <a:pt x="789" y="977"/>
                  <a:pt x="789" y="977"/>
                </a:cubicBezTo>
                <a:cubicBezTo>
                  <a:pt x="782" y="989"/>
                  <a:pt x="777" y="1000"/>
                  <a:pt x="771" y="1009"/>
                </a:cubicBezTo>
                <a:cubicBezTo>
                  <a:pt x="767" y="1014"/>
                  <a:pt x="767" y="1014"/>
                  <a:pt x="767" y="1014"/>
                </a:cubicBezTo>
                <a:cubicBezTo>
                  <a:pt x="789" y="1028"/>
                  <a:pt x="789" y="1028"/>
                  <a:pt x="789" y="1028"/>
                </a:cubicBezTo>
                <a:cubicBezTo>
                  <a:pt x="792" y="1024"/>
                  <a:pt x="792" y="1024"/>
                  <a:pt x="792" y="1024"/>
                </a:cubicBezTo>
                <a:cubicBezTo>
                  <a:pt x="799" y="1014"/>
                  <a:pt x="805" y="1002"/>
                  <a:pt x="812" y="988"/>
                </a:cubicBezTo>
                <a:cubicBezTo>
                  <a:pt x="814" y="984"/>
                  <a:pt x="814" y="984"/>
                  <a:pt x="814" y="984"/>
                </a:cubicBezTo>
                <a:cubicBezTo>
                  <a:pt x="804" y="977"/>
                  <a:pt x="804" y="977"/>
                  <a:pt x="804" y="977"/>
                </a:cubicBezTo>
                <a:cubicBezTo>
                  <a:pt x="791" y="972"/>
                  <a:pt x="791" y="972"/>
                  <a:pt x="791" y="972"/>
                </a:cubicBezTo>
                <a:cubicBezTo>
                  <a:pt x="791" y="972"/>
                  <a:pt x="791" y="972"/>
                  <a:pt x="791" y="972"/>
                </a:cubicBezTo>
                <a:close/>
                <a:moveTo>
                  <a:pt x="1249" y="662"/>
                </a:moveTo>
                <a:cubicBezTo>
                  <a:pt x="1238" y="669"/>
                  <a:pt x="1226" y="676"/>
                  <a:pt x="1214" y="683"/>
                </a:cubicBezTo>
                <a:cubicBezTo>
                  <a:pt x="1210" y="686"/>
                  <a:pt x="1210" y="686"/>
                  <a:pt x="1210" y="686"/>
                </a:cubicBezTo>
                <a:cubicBezTo>
                  <a:pt x="1222" y="709"/>
                  <a:pt x="1222" y="709"/>
                  <a:pt x="1222" y="709"/>
                </a:cubicBezTo>
                <a:cubicBezTo>
                  <a:pt x="1228" y="706"/>
                  <a:pt x="1228" y="706"/>
                  <a:pt x="1228" y="706"/>
                </a:cubicBezTo>
                <a:cubicBezTo>
                  <a:pt x="1240" y="698"/>
                  <a:pt x="1252" y="691"/>
                  <a:pt x="1262" y="685"/>
                </a:cubicBezTo>
                <a:cubicBezTo>
                  <a:pt x="1267" y="682"/>
                  <a:pt x="1267" y="682"/>
                  <a:pt x="1267" y="682"/>
                </a:cubicBezTo>
                <a:cubicBezTo>
                  <a:pt x="1253" y="660"/>
                  <a:pt x="1253" y="660"/>
                  <a:pt x="1253" y="660"/>
                </a:cubicBezTo>
                <a:cubicBezTo>
                  <a:pt x="1249" y="662"/>
                  <a:pt x="1249" y="662"/>
                  <a:pt x="1249" y="662"/>
                </a:cubicBezTo>
                <a:cubicBezTo>
                  <a:pt x="1249" y="662"/>
                  <a:pt x="1249" y="662"/>
                  <a:pt x="1249" y="662"/>
                </a:cubicBezTo>
                <a:close/>
                <a:moveTo>
                  <a:pt x="1314" y="619"/>
                </a:moveTo>
                <a:cubicBezTo>
                  <a:pt x="1307" y="625"/>
                  <a:pt x="1297" y="632"/>
                  <a:pt x="1283" y="641"/>
                </a:cubicBezTo>
                <a:cubicBezTo>
                  <a:pt x="1278" y="645"/>
                  <a:pt x="1278" y="645"/>
                  <a:pt x="1278" y="645"/>
                </a:cubicBezTo>
                <a:cubicBezTo>
                  <a:pt x="1292" y="666"/>
                  <a:pt x="1292" y="666"/>
                  <a:pt x="1292" y="666"/>
                </a:cubicBezTo>
                <a:cubicBezTo>
                  <a:pt x="1297" y="663"/>
                  <a:pt x="1297" y="663"/>
                  <a:pt x="1297" y="663"/>
                </a:cubicBezTo>
                <a:cubicBezTo>
                  <a:pt x="1312" y="653"/>
                  <a:pt x="1323" y="646"/>
                  <a:pt x="1330" y="640"/>
                </a:cubicBezTo>
                <a:cubicBezTo>
                  <a:pt x="1334" y="636"/>
                  <a:pt x="1334" y="636"/>
                  <a:pt x="1334" y="636"/>
                </a:cubicBezTo>
                <a:cubicBezTo>
                  <a:pt x="1318" y="616"/>
                  <a:pt x="1318" y="616"/>
                  <a:pt x="1318" y="616"/>
                </a:cubicBezTo>
                <a:cubicBezTo>
                  <a:pt x="1314" y="619"/>
                  <a:pt x="1314" y="619"/>
                  <a:pt x="1314" y="619"/>
                </a:cubicBezTo>
                <a:cubicBezTo>
                  <a:pt x="1314" y="619"/>
                  <a:pt x="1314" y="619"/>
                  <a:pt x="1314" y="619"/>
                </a:cubicBezTo>
                <a:close/>
                <a:moveTo>
                  <a:pt x="318" y="798"/>
                </a:moveTo>
                <a:cubicBezTo>
                  <a:pt x="314" y="795"/>
                  <a:pt x="314" y="795"/>
                  <a:pt x="314" y="795"/>
                </a:cubicBezTo>
                <a:cubicBezTo>
                  <a:pt x="300" y="818"/>
                  <a:pt x="300" y="818"/>
                  <a:pt x="300" y="818"/>
                </a:cubicBezTo>
                <a:cubicBezTo>
                  <a:pt x="306" y="821"/>
                  <a:pt x="306" y="821"/>
                  <a:pt x="306" y="821"/>
                </a:cubicBezTo>
                <a:cubicBezTo>
                  <a:pt x="317" y="828"/>
                  <a:pt x="328" y="834"/>
                  <a:pt x="339" y="841"/>
                </a:cubicBezTo>
                <a:cubicBezTo>
                  <a:pt x="344" y="844"/>
                  <a:pt x="344" y="844"/>
                  <a:pt x="344" y="844"/>
                </a:cubicBezTo>
                <a:cubicBezTo>
                  <a:pt x="357" y="821"/>
                  <a:pt x="357" y="821"/>
                  <a:pt x="357" y="821"/>
                </a:cubicBezTo>
                <a:cubicBezTo>
                  <a:pt x="353" y="818"/>
                  <a:pt x="353" y="818"/>
                  <a:pt x="353" y="818"/>
                </a:cubicBezTo>
                <a:cubicBezTo>
                  <a:pt x="341" y="812"/>
                  <a:pt x="330" y="805"/>
                  <a:pt x="318" y="798"/>
                </a:cubicBezTo>
                <a:close/>
                <a:moveTo>
                  <a:pt x="368" y="858"/>
                </a:moveTo>
                <a:cubicBezTo>
                  <a:pt x="413" y="883"/>
                  <a:pt x="413" y="883"/>
                  <a:pt x="413" y="883"/>
                </a:cubicBezTo>
                <a:cubicBezTo>
                  <a:pt x="425" y="861"/>
                  <a:pt x="425" y="861"/>
                  <a:pt x="425" y="861"/>
                </a:cubicBezTo>
                <a:cubicBezTo>
                  <a:pt x="381" y="834"/>
                  <a:pt x="381" y="834"/>
                  <a:pt x="381" y="834"/>
                </a:cubicBezTo>
                <a:cubicBezTo>
                  <a:pt x="368" y="858"/>
                  <a:pt x="368" y="858"/>
                  <a:pt x="368" y="858"/>
                </a:cubicBezTo>
                <a:cubicBezTo>
                  <a:pt x="368" y="858"/>
                  <a:pt x="368" y="858"/>
                  <a:pt x="368" y="858"/>
                </a:cubicBezTo>
                <a:close/>
                <a:moveTo>
                  <a:pt x="249" y="759"/>
                </a:moveTo>
                <a:cubicBezTo>
                  <a:pt x="244" y="756"/>
                  <a:pt x="244" y="756"/>
                  <a:pt x="244" y="756"/>
                </a:cubicBezTo>
                <a:cubicBezTo>
                  <a:pt x="231" y="779"/>
                  <a:pt x="231" y="779"/>
                  <a:pt x="231" y="779"/>
                </a:cubicBezTo>
                <a:cubicBezTo>
                  <a:pt x="236" y="781"/>
                  <a:pt x="236" y="781"/>
                  <a:pt x="236" y="781"/>
                </a:cubicBezTo>
                <a:cubicBezTo>
                  <a:pt x="247" y="787"/>
                  <a:pt x="259" y="794"/>
                  <a:pt x="271" y="801"/>
                </a:cubicBezTo>
                <a:cubicBezTo>
                  <a:pt x="276" y="803"/>
                  <a:pt x="276" y="803"/>
                  <a:pt x="276" y="803"/>
                </a:cubicBezTo>
                <a:cubicBezTo>
                  <a:pt x="289" y="781"/>
                  <a:pt x="289" y="781"/>
                  <a:pt x="289" y="781"/>
                </a:cubicBezTo>
                <a:cubicBezTo>
                  <a:pt x="284" y="778"/>
                  <a:pt x="284" y="778"/>
                  <a:pt x="284" y="778"/>
                </a:cubicBezTo>
                <a:cubicBezTo>
                  <a:pt x="271" y="771"/>
                  <a:pt x="260" y="765"/>
                  <a:pt x="249" y="759"/>
                </a:cubicBezTo>
                <a:close/>
                <a:moveTo>
                  <a:pt x="179" y="721"/>
                </a:moveTo>
                <a:cubicBezTo>
                  <a:pt x="174" y="718"/>
                  <a:pt x="174" y="718"/>
                  <a:pt x="174" y="718"/>
                </a:cubicBezTo>
                <a:cubicBezTo>
                  <a:pt x="162" y="741"/>
                  <a:pt x="162" y="741"/>
                  <a:pt x="162" y="741"/>
                </a:cubicBezTo>
                <a:cubicBezTo>
                  <a:pt x="167" y="744"/>
                  <a:pt x="167" y="744"/>
                  <a:pt x="167" y="744"/>
                </a:cubicBezTo>
                <a:cubicBezTo>
                  <a:pt x="177" y="749"/>
                  <a:pt x="188" y="756"/>
                  <a:pt x="202" y="762"/>
                </a:cubicBezTo>
                <a:cubicBezTo>
                  <a:pt x="206" y="765"/>
                  <a:pt x="206" y="765"/>
                  <a:pt x="206" y="765"/>
                </a:cubicBezTo>
                <a:cubicBezTo>
                  <a:pt x="219" y="742"/>
                  <a:pt x="219" y="742"/>
                  <a:pt x="219" y="742"/>
                </a:cubicBezTo>
                <a:cubicBezTo>
                  <a:pt x="214" y="740"/>
                  <a:pt x="214" y="740"/>
                  <a:pt x="214" y="740"/>
                </a:cubicBezTo>
                <a:cubicBezTo>
                  <a:pt x="200" y="732"/>
                  <a:pt x="188" y="726"/>
                  <a:pt x="179" y="721"/>
                </a:cubicBezTo>
                <a:close/>
                <a:moveTo>
                  <a:pt x="133" y="704"/>
                </a:moveTo>
                <a:cubicBezTo>
                  <a:pt x="131" y="704"/>
                  <a:pt x="131" y="704"/>
                  <a:pt x="131" y="704"/>
                </a:cubicBezTo>
                <a:cubicBezTo>
                  <a:pt x="124" y="704"/>
                  <a:pt x="114" y="702"/>
                  <a:pt x="101" y="698"/>
                </a:cubicBezTo>
                <a:cubicBezTo>
                  <a:pt x="96" y="696"/>
                  <a:pt x="96" y="696"/>
                  <a:pt x="96" y="696"/>
                </a:cubicBezTo>
                <a:cubicBezTo>
                  <a:pt x="88" y="721"/>
                  <a:pt x="88" y="721"/>
                  <a:pt x="88" y="721"/>
                </a:cubicBezTo>
                <a:cubicBezTo>
                  <a:pt x="93" y="722"/>
                  <a:pt x="93" y="722"/>
                  <a:pt x="93" y="722"/>
                </a:cubicBezTo>
                <a:cubicBezTo>
                  <a:pt x="103" y="726"/>
                  <a:pt x="117" y="729"/>
                  <a:pt x="129" y="729"/>
                </a:cubicBezTo>
                <a:cubicBezTo>
                  <a:pt x="130" y="729"/>
                  <a:pt x="132" y="729"/>
                  <a:pt x="133" y="729"/>
                </a:cubicBezTo>
                <a:cubicBezTo>
                  <a:pt x="133" y="729"/>
                  <a:pt x="133" y="729"/>
                  <a:pt x="133" y="729"/>
                </a:cubicBezTo>
                <a:cubicBezTo>
                  <a:pt x="139" y="731"/>
                  <a:pt x="139" y="731"/>
                  <a:pt x="139" y="731"/>
                </a:cubicBezTo>
                <a:cubicBezTo>
                  <a:pt x="144" y="706"/>
                  <a:pt x="144" y="706"/>
                  <a:pt x="144" y="706"/>
                </a:cubicBezTo>
                <a:cubicBezTo>
                  <a:pt x="139" y="704"/>
                  <a:pt x="139" y="704"/>
                  <a:pt x="139" y="704"/>
                </a:cubicBezTo>
                <a:cubicBezTo>
                  <a:pt x="137" y="704"/>
                  <a:pt x="135" y="704"/>
                  <a:pt x="133" y="704"/>
                </a:cubicBezTo>
                <a:close/>
                <a:moveTo>
                  <a:pt x="748" y="1029"/>
                </a:moveTo>
                <a:cubicBezTo>
                  <a:pt x="747" y="1029"/>
                  <a:pt x="747" y="1029"/>
                  <a:pt x="745" y="1030"/>
                </a:cubicBezTo>
                <a:cubicBezTo>
                  <a:pt x="738" y="1031"/>
                  <a:pt x="726" y="1031"/>
                  <a:pt x="714" y="1030"/>
                </a:cubicBezTo>
                <a:cubicBezTo>
                  <a:pt x="708" y="1029"/>
                  <a:pt x="708" y="1029"/>
                  <a:pt x="708" y="1029"/>
                </a:cubicBezTo>
                <a:cubicBezTo>
                  <a:pt x="706" y="1055"/>
                  <a:pt x="706" y="1055"/>
                  <a:pt x="706" y="1055"/>
                </a:cubicBezTo>
                <a:cubicBezTo>
                  <a:pt x="711" y="1056"/>
                  <a:pt x="711" y="1056"/>
                  <a:pt x="711" y="1056"/>
                </a:cubicBezTo>
                <a:cubicBezTo>
                  <a:pt x="718" y="1057"/>
                  <a:pt x="724" y="1057"/>
                  <a:pt x="729" y="1057"/>
                </a:cubicBezTo>
                <a:cubicBezTo>
                  <a:pt x="738" y="1057"/>
                  <a:pt x="744" y="1057"/>
                  <a:pt x="750" y="1055"/>
                </a:cubicBezTo>
                <a:cubicBezTo>
                  <a:pt x="752" y="1055"/>
                  <a:pt x="754" y="1055"/>
                  <a:pt x="756" y="1054"/>
                </a:cubicBezTo>
                <a:cubicBezTo>
                  <a:pt x="761" y="1052"/>
                  <a:pt x="761" y="1052"/>
                  <a:pt x="761" y="1052"/>
                </a:cubicBezTo>
                <a:cubicBezTo>
                  <a:pt x="753" y="1027"/>
                  <a:pt x="753" y="1027"/>
                  <a:pt x="753" y="1027"/>
                </a:cubicBezTo>
                <a:cubicBezTo>
                  <a:pt x="748" y="1029"/>
                  <a:pt x="748" y="1029"/>
                  <a:pt x="748" y="1029"/>
                </a:cubicBezTo>
                <a:cubicBezTo>
                  <a:pt x="748" y="1029"/>
                  <a:pt x="748" y="1029"/>
                  <a:pt x="748" y="1029"/>
                </a:cubicBezTo>
                <a:close/>
                <a:moveTo>
                  <a:pt x="606" y="985"/>
                </a:moveTo>
                <a:cubicBezTo>
                  <a:pt x="606" y="984"/>
                  <a:pt x="606" y="984"/>
                  <a:pt x="606" y="984"/>
                </a:cubicBezTo>
                <a:cubicBezTo>
                  <a:pt x="602" y="978"/>
                  <a:pt x="598" y="970"/>
                  <a:pt x="594" y="964"/>
                </a:cubicBezTo>
                <a:cubicBezTo>
                  <a:pt x="591" y="959"/>
                  <a:pt x="591" y="959"/>
                  <a:pt x="591" y="959"/>
                </a:cubicBezTo>
                <a:cubicBezTo>
                  <a:pt x="568" y="973"/>
                  <a:pt x="568" y="973"/>
                  <a:pt x="568" y="973"/>
                </a:cubicBezTo>
                <a:cubicBezTo>
                  <a:pt x="571" y="979"/>
                  <a:pt x="571" y="979"/>
                  <a:pt x="571" y="979"/>
                </a:cubicBezTo>
                <a:cubicBezTo>
                  <a:pt x="575" y="985"/>
                  <a:pt x="579" y="991"/>
                  <a:pt x="582" y="997"/>
                </a:cubicBezTo>
                <a:cubicBezTo>
                  <a:pt x="585" y="1002"/>
                  <a:pt x="589" y="1008"/>
                  <a:pt x="592" y="1013"/>
                </a:cubicBezTo>
                <a:cubicBezTo>
                  <a:pt x="595" y="1017"/>
                  <a:pt x="595" y="1017"/>
                  <a:pt x="595" y="1017"/>
                </a:cubicBezTo>
                <a:cubicBezTo>
                  <a:pt x="617" y="1003"/>
                  <a:pt x="617" y="1003"/>
                  <a:pt x="617" y="1003"/>
                </a:cubicBezTo>
                <a:cubicBezTo>
                  <a:pt x="614" y="998"/>
                  <a:pt x="614" y="998"/>
                  <a:pt x="614" y="998"/>
                </a:cubicBezTo>
                <a:cubicBezTo>
                  <a:pt x="612" y="994"/>
                  <a:pt x="609" y="990"/>
                  <a:pt x="606" y="985"/>
                </a:cubicBezTo>
                <a:close/>
                <a:moveTo>
                  <a:pt x="524" y="917"/>
                </a:moveTo>
                <a:cubicBezTo>
                  <a:pt x="519" y="914"/>
                  <a:pt x="519" y="914"/>
                  <a:pt x="519" y="914"/>
                </a:cubicBezTo>
                <a:cubicBezTo>
                  <a:pt x="507" y="937"/>
                  <a:pt x="507" y="937"/>
                  <a:pt x="507" y="937"/>
                </a:cubicBezTo>
                <a:cubicBezTo>
                  <a:pt x="511" y="940"/>
                  <a:pt x="511" y="940"/>
                  <a:pt x="511" y="940"/>
                </a:cubicBezTo>
                <a:cubicBezTo>
                  <a:pt x="538" y="955"/>
                  <a:pt x="545" y="958"/>
                  <a:pt x="549" y="958"/>
                </a:cubicBezTo>
                <a:cubicBezTo>
                  <a:pt x="555" y="961"/>
                  <a:pt x="555" y="961"/>
                  <a:pt x="555" y="961"/>
                </a:cubicBezTo>
                <a:cubicBezTo>
                  <a:pt x="562" y="935"/>
                  <a:pt x="562" y="935"/>
                  <a:pt x="562" y="935"/>
                </a:cubicBezTo>
                <a:cubicBezTo>
                  <a:pt x="555" y="933"/>
                  <a:pt x="555" y="933"/>
                  <a:pt x="555" y="933"/>
                </a:cubicBezTo>
                <a:cubicBezTo>
                  <a:pt x="555" y="933"/>
                  <a:pt x="550" y="931"/>
                  <a:pt x="524" y="917"/>
                </a:cubicBezTo>
                <a:close/>
                <a:moveTo>
                  <a:pt x="639" y="1015"/>
                </a:moveTo>
                <a:cubicBezTo>
                  <a:pt x="634" y="1013"/>
                  <a:pt x="634" y="1013"/>
                  <a:pt x="634" y="1013"/>
                </a:cubicBezTo>
                <a:cubicBezTo>
                  <a:pt x="625" y="1037"/>
                  <a:pt x="625" y="1037"/>
                  <a:pt x="625" y="1037"/>
                </a:cubicBezTo>
                <a:cubicBezTo>
                  <a:pt x="630" y="1039"/>
                  <a:pt x="630" y="1039"/>
                  <a:pt x="630" y="1039"/>
                </a:cubicBezTo>
                <a:cubicBezTo>
                  <a:pt x="642" y="1042"/>
                  <a:pt x="656" y="1046"/>
                  <a:pt x="671" y="1050"/>
                </a:cubicBezTo>
                <a:cubicBezTo>
                  <a:pt x="676" y="1050"/>
                  <a:pt x="676" y="1050"/>
                  <a:pt x="676" y="1050"/>
                </a:cubicBezTo>
                <a:cubicBezTo>
                  <a:pt x="682" y="1026"/>
                  <a:pt x="682" y="1026"/>
                  <a:pt x="682" y="1026"/>
                </a:cubicBezTo>
                <a:cubicBezTo>
                  <a:pt x="676" y="1024"/>
                  <a:pt x="676" y="1024"/>
                  <a:pt x="676" y="1024"/>
                </a:cubicBezTo>
                <a:cubicBezTo>
                  <a:pt x="663" y="1021"/>
                  <a:pt x="650" y="1018"/>
                  <a:pt x="639" y="1015"/>
                </a:cubicBezTo>
                <a:close/>
                <a:moveTo>
                  <a:pt x="455" y="878"/>
                </a:moveTo>
                <a:cubicBezTo>
                  <a:pt x="450" y="876"/>
                  <a:pt x="450" y="876"/>
                  <a:pt x="450" y="876"/>
                </a:cubicBezTo>
                <a:cubicBezTo>
                  <a:pt x="438" y="898"/>
                  <a:pt x="438" y="898"/>
                  <a:pt x="438" y="898"/>
                </a:cubicBezTo>
                <a:cubicBezTo>
                  <a:pt x="442" y="901"/>
                  <a:pt x="442" y="901"/>
                  <a:pt x="442" y="901"/>
                </a:cubicBezTo>
                <a:cubicBezTo>
                  <a:pt x="455" y="907"/>
                  <a:pt x="466" y="914"/>
                  <a:pt x="477" y="921"/>
                </a:cubicBezTo>
                <a:cubicBezTo>
                  <a:pt x="481" y="923"/>
                  <a:pt x="481" y="923"/>
                  <a:pt x="481" y="923"/>
                </a:cubicBezTo>
                <a:cubicBezTo>
                  <a:pt x="494" y="901"/>
                  <a:pt x="494" y="901"/>
                  <a:pt x="494" y="901"/>
                </a:cubicBezTo>
                <a:cubicBezTo>
                  <a:pt x="489" y="898"/>
                  <a:pt x="489" y="898"/>
                  <a:pt x="489" y="898"/>
                </a:cubicBezTo>
                <a:cubicBezTo>
                  <a:pt x="479" y="892"/>
                  <a:pt x="468" y="885"/>
                  <a:pt x="455" y="878"/>
                </a:cubicBezTo>
                <a:close/>
                <a:moveTo>
                  <a:pt x="737" y="694"/>
                </a:moveTo>
                <a:cubicBezTo>
                  <a:pt x="737" y="694"/>
                  <a:pt x="737" y="694"/>
                  <a:pt x="737" y="694"/>
                </a:cubicBezTo>
                <a:cubicBezTo>
                  <a:pt x="194" y="387"/>
                  <a:pt x="194" y="387"/>
                  <a:pt x="194" y="387"/>
                </a:cubicBezTo>
                <a:cubicBezTo>
                  <a:pt x="194" y="387"/>
                  <a:pt x="194" y="387"/>
                  <a:pt x="722" y="78"/>
                </a:cubicBezTo>
                <a:cubicBezTo>
                  <a:pt x="727" y="75"/>
                  <a:pt x="734" y="74"/>
                  <a:pt x="741" y="74"/>
                </a:cubicBezTo>
                <a:cubicBezTo>
                  <a:pt x="748" y="74"/>
                  <a:pt x="754" y="75"/>
                  <a:pt x="759" y="78"/>
                </a:cubicBezTo>
                <a:cubicBezTo>
                  <a:pt x="759" y="78"/>
                  <a:pt x="759" y="78"/>
                  <a:pt x="1268" y="374"/>
                </a:cubicBezTo>
                <a:cubicBezTo>
                  <a:pt x="1271" y="376"/>
                  <a:pt x="1272" y="376"/>
                  <a:pt x="1274" y="378"/>
                </a:cubicBezTo>
                <a:cubicBezTo>
                  <a:pt x="1274" y="378"/>
                  <a:pt x="1274" y="378"/>
                  <a:pt x="737" y="694"/>
                </a:cubicBezTo>
                <a:close/>
                <a:moveTo>
                  <a:pt x="246" y="640"/>
                </a:moveTo>
                <a:cubicBezTo>
                  <a:pt x="244" y="644"/>
                  <a:pt x="240" y="647"/>
                  <a:pt x="237" y="648"/>
                </a:cubicBezTo>
                <a:cubicBezTo>
                  <a:pt x="237" y="648"/>
                  <a:pt x="237" y="648"/>
                  <a:pt x="207" y="666"/>
                </a:cubicBezTo>
                <a:cubicBezTo>
                  <a:pt x="207" y="666"/>
                  <a:pt x="207" y="666"/>
                  <a:pt x="540" y="855"/>
                </a:cubicBezTo>
                <a:cubicBezTo>
                  <a:pt x="540" y="855"/>
                  <a:pt x="540" y="855"/>
                  <a:pt x="540" y="808"/>
                </a:cubicBezTo>
                <a:cubicBezTo>
                  <a:pt x="540" y="808"/>
                  <a:pt x="540" y="808"/>
                  <a:pt x="246" y="640"/>
                </a:cubicBezTo>
                <a:close/>
                <a:moveTo>
                  <a:pt x="756" y="741"/>
                </a:moveTo>
                <a:cubicBezTo>
                  <a:pt x="756" y="737"/>
                  <a:pt x="752" y="730"/>
                  <a:pt x="749" y="729"/>
                </a:cubicBezTo>
                <a:cubicBezTo>
                  <a:pt x="749" y="729"/>
                  <a:pt x="749" y="729"/>
                  <a:pt x="170" y="402"/>
                </a:cubicBezTo>
                <a:cubicBezTo>
                  <a:pt x="170" y="402"/>
                  <a:pt x="170" y="402"/>
                  <a:pt x="169" y="402"/>
                </a:cubicBezTo>
                <a:cubicBezTo>
                  <a:pt x="169" y="402"/>
                  <a:pt x="169" y="402"/>
                  <a:pt x="137" y="384"/>
                </a:cubicBezTo>
                <a:cubicBezTo>
                  <a:pt x="128" y="379"/>
                  <a:pt x="118" y="379"/>
                  <a:pt x="110" y="383"/>
                </a:cubicBezTo>
                <a:cubicBezTo>
                  <a:pt x="102" y="388"/>
                  <a:pt x="97" y="396"/>
                  <a:pt x="97" y="407"/>
                </a:cubicBezTo>
                <a:cubicBezTo>
                  <a:pt x="97" y="407"/>
                  <a:pt x="97" y="407"/>
                  <a:pt x="97" y="588"/>
                </a:cubicBezTo>
                <a:cubicBezTo>
                  <a:pt x="97" y="588"/>
                  <a:pt x="97" y="588"/>
                  <a:pt x="100" y="602"/>
                </a:cubicBezTo>
                <a:cubicBezTo>
                  <a:pt x="100" y="602"/>
                  <a:pt x="100" y="602"/>
                  <a:pt x="118" y="615"/>
                </a:cubicBezTo>
                <a:cubicBezTo>
                  <a:pt x="118" y="615"/>
                  <a:pt x="118" y="615"/>
                  <a:pt x="146" y="631"/>
                </a:cubicBezTo>
                <a:cubicBezTo>
                  <a:pt x="146" y="631"/>
                  <a:pt x="146" y="631"/>
                  <a:pt x="146" y="585"/>
                </a:cubicBezTo>
                <a:cubicBezTo>
                  <a:pt x="146" y="585"/>
                  <a:pt x="146" y="585"/>
                  <a:pt x="140" y="580"/>
                </a:cubicBezTo>
                <a:cubicBezTo>
                  <a:pt x="140" y="580"/>
                  <a:pt x="140" y="580"/>
                  <a:pt x="139" y="579"/>
                </a:cubicBezTo>
                <a:cubicBezTo>
                  <a:pt x="139" y="579"/>
                  <a:pt x="139" y="579"/>
                  <a:pt x="139" y="433"/>
                </a:cubicBezTo>
                <a:cubicBezTo>
                  <a:pt x="139" y="433"/>
                  <a:pt x="139" y="433"/>
                  <a:pt x="715" y="762"/>
                </a:cubicBezTo>
                <a:cubicBezTo>
                  <a:pt x="715" y="762"/>
                  <a:pt x="715" y="762"/>
                  <a:pt x="715" y="907"/>
                </a:cubicBezTo>
                <a:cubicBezTo>
                  <a:pt x="715" y="907"/>
                  <a:pt x="715" y="907"/>
                  <a:pt x="640" y="863"/>
                </a:cubicBezTo>
                <a:cubicBezTo>
                  <a:pt x="638" y="867"/>
                  <a:pt x="635" y="870"/>
                  <a:pt x="631" y="872"/>
                </a:cubicBezTo>
                <a:cubicBezTo>
                  <a:pt x="631" y="872"/>
                  <a:pt x="631" y="872"/>
                  <a:pt x="600" y="889"/>
                </a:cubicBezTo>
                <a:cubicBezTo>
                  <a:pt x="600" y="889"/>
                  <a:pt x="600" y="889"/>
                  <a:pt x="717" y="956"/>
                </a:cubicBezTo>
                <a:cubicBezTo>
                  <a:pt x="722" y="959"/>
                  <a:pt x="727" y="959"/>
                  <a:pt x="731" y="959"/>
                </a:cubicBezTo>
                <a:cubicBezTo>
                  <a:pt x="736" y="959"/>
                  <a:pt x="740" y="959"/>
                  <a:pt x="744" y="956"/>
                </a:cubicBezTo>
                <a:cubicBezTo>
                  <a:pt x="750" y="953"/>
                  <a:pt x="754" y="946"/>
                  <a:pt x="756" y="938"/>
                </a:cubicBezTo>
                <a:cubicBezTo>
                  <a:pt x="756" y="938"/>
                  <a:pt x="756" y="938"/>
                  <a:pt x="756" y="741"/>
                </a:cubicBezTo>
                <a:close/>
                <a:moveTo>
                  <a:pt x="1286" y="399"/>
                </a:moveTo>
                <a:cubicBezTo>
                  <a:pt x="1286" y="399"/>
                  <a:pt x="1286" y="399"/>
                  <a:pt x="1286" y="399"/>
                </a:cubicBezTo>
                <a:cubicBezTo>
                  <a:pt x="762" y="708"/>
                  <a:pt x="762" y="708"/>
                  <a:pt x="762" y="708"/>
                </a:cubicBezTo>
                <a:cubicBezTo>
                  <a:pt x="773" y="715"/>
                  <a:pt x="780" y="728"/>
                  <a:pt x="780" y="741"/>
                </a:cubicBezTo>
                <a:cubicBezTo>
                  <a:pt x="780" y="741"/>
                  <a:pt x="780" y="741"/>
                  <a:pt x="780" y="882"/>
                </a:cubicBezTo>
                <a:cubicBezTo>
                  <a:pt x="780" y="882"/>
                  <a:pt x="780" y="882"/>
                  <a:pt x="1268" y="603"/>
                </a:cubicBezTo>
                <a:cubicBezTo>
                  <a:pt x="1279" y="597"/>
                  <a:pt x="1287" y="584"/>
                  <a:pt x="1287" y="571"/>
                </a:cubicBezTo>
                <a:cubicBezTo>
                  <a:pt x="1287" y="571"/>
                  <a:pt x="1287" y="571"/>
                  <a:pt x="1287" y="407"/>
                </a:cubicBezTo>
                <a:cubicBezTo>
                  <a:pt x="1287" y="404"/>
                  <a:pt x="1287" y="402"/>
                  <a:pt x="1286" y="399"/>
                </a:cubicBezTo>
                <a:close/>
                <a:moveTo>
                  <a:pt x="487" y="733"/>
                </a:moveTo>
                <a:cubicBezTo>
                  <a:pt x="493" y="733"/>
                  <a:pt x="498" y="728"/>
                  <a:pt x="498" y="721"/>
                </a:cubicBezTo>
                <a:cubicBezTo>
                  <a:pt x="498" y="721"/>
                  <a:pt x="498" y="721"/>
                  <a:pt x="498" y="705"/>
                </a:cubicBezTo>
                <a:cubicBezTo>
                  <a:pt x="498" y="698"/>
                  <a:pt x="493" y="689"/>
                  <a:pt x="486" y="685"/>
                </a:cubicBezTo>
                <a:cubicBezTo>
                  <a:pt x="486" y="685"/>
                  <a:pt x="486" y="685"/>
                  <a:pt x="337" y="600"/>
                </a:cubicBezTo>
                <a:cubicBezTo>
                  <a:pt x="328" y="595"/>
                  <a:pt x="320" y="600"/>
                  <a:pt x="320" y="610"/>
                </a:cubicBezTo>
                <a:cubicBezTo>
                  <a:pt x="320" y="610"/>
                  <a:pt x="320" y="610"/>
                  <a:pt x="320" y="625"/>
                </a:cubicBezTo>
                <a:cubicBezTo>
                  <a:pt x="320" y="634"/>
                  <a:pt x="326" y="643"/>
                  <a:pt x="332" y="646"/>
                </a:cubicBezTo>
                <a:cubicBezTo>
                  <a:pt x="332" y="646"/>
                  <a:pt x="332" y="646"/>
                  <a:pt x="481" y="731"/>
                </a:cubicBezTo>
                <a:cubicBezTo>
                  <a:pt x="483" y="732"/>
                  <a:pt x="485" y="733"/>
                  <a:pt x="487" y="733"/>
                </a:cubicBezTo>
                <a:close/>
                <a:moveTo>
                  <a:pt x="626" y="842"/>
                </a:moveTo>
                <a:cubicBezTo>
                  <a:pt x="622" y="836"/>
                  <a:pt x="612" y="835"/>
                  <a:pt x="606" y="839"/>
                </a:cubicBezTo>
                <a:cubicBezTo>
                  <a:pt x="606" y="839"/>
                  <a:pt x="606" y="839"/>
                  <a:pt x="587" y="850"/>
                </a:cubicBezTo>
                <a:cubicBezTo>
                  <a:pt x="587" y="850"/>
                  <a:pt x="587" y="850"/>
                  <a:pt x="587" y="770"/>
                </a:cubicBezTo>
                <a:cubicBezTo>
                  <a:pt x="587" y="770"/>
                  <a:pt x="587" y="770"/>
                  <a:pt x="623" y="750"/>
                </a:cubicBezTo>
                <a:cubicBezTo>
                  <a:pt x="629" y="746"/>
                  <a:pt x="630" y="738"/>
                  <a:pt x="626" y="732"/>
                </a:cubicBezTo>
                <a:cubicBezTo>
                  <a:pt x="626" y="732"/>
                  <a:pt x="626" y="732"/>
                  <a:pt x="626" y="732"/>
                </a:cubicBezTo>
                <a:cubicBezTo>
                  <a:pt x="622" y="727"/>
                  <a:pt x="612" y="724"/>
                  <a:pt x="606" y="728"/>
                </a:cubicBezTo>
                <a:cubicBezTo>
                  <a:pt x="606" y="728"/>
                  <a:pt x="606" y="728"/>
                  <a:pt x="562" y="753"/>
                </a:cubicBezTo>
                <a:cubicBezTo>
                  <a:pt x="557" y="756"/>
                  <a:pt x="556" y="767"/>
                  <a:pt x="556" y="767"/>
                </a:cubicBezTo>
                <a:cubicBezTo>
                  <a:pt x="556" y="767"/>
                  <a:pt x="556" y="767"/>
                  <a:pt x="556" y="869"/>
                </a:cubicBezTo>
                <a:cubicBezTo>
                  <a:pt x="556" y="869"/>
                  <a:pt x="557" y="878"/>
                  <a:pt x="560" y="881"/>
                </a:cubicBezTo>
                <a:cubicBezTo>
                  <a:pt x="563" y="884"/>
                  <a:pt x="573" y="889"/>
                  <a:pt x="579" y="885"/>
                </a:cubicBezTo>
                <a:cubicBezTo>
                  <a:pt x="579" y="885"/>
                  <a:pt x="579" y="885"/>
                  <a:pt x="623" y="859"/>
                </a:cubicBezTo>
                <a:cubicBezTo>
                  <a:pt x="629" y="855"/>
                  <a:pt x="631" y="847"/>
                  <a:pt x="626" y="842"/>
                </a:cubicBezTo>
                <a:close/>
                <a:moveTo>
                  <a:pt x="233" y="619"/>
                </a:moveTo>
                <a:cubicBezTo>
                  <a:pt x="228" y="613"/>
                  <a:pt x="219" y="612"/>
                  <a:pt x="212" y="616"/>
                </a:cubicBezTo>
                <a:cubicBezTo>
                  <a:pt x="212" y="616"/>
                  <a:pt x="212" y="616"/>
                  <a:pt x="193" y="627"/>
                </a:cubicBezTo>
                <a:cubicBezTo>
                  <a:pt x="193" y="627"/>
                  <a:pt x="193" y="627"/>
                  <a:pt x="193" y="547"/>
                </a:cubicBezTo>
                <a:cubicBezTo>
                  <a:pt x="193" y="547"/>
                  <a:pt x="193" y="547"/>
                  <a:pt x="229" y="527"/>
                </a:cubicBezTo>
                <a:cubicBezTo>
                  <a:pt x="236" y="523"/>
                  <a:pt x="236" y="515"/>
                  <a:pt x="232" y="509"/>
                </a:cubicBezTo>
                <a:cubicBezTo>
                  <a:pt x="232" y="509"/>
                  <a:pt x="232" y="509"/>
                  <a:pt x="232" y="509"/>
                </a:cubicBezTo>
                <a:cubicBezTo>
                  <a:pt x="228" y="503"/>
                  <a:pt x="219" y="501"/>
                  <a:pt x="212" y="505"/>
                </a:cubicBezTo>
                <a:cubicBezTo>
                  <a:pt x="212" y="505"/>
                  <a:pt x="212" y="505"/>
                  <a:pt x="168" y="530"/>
                </a:cubicBezTo>
                <a:cubicBezTo>
                  <a:pt x="163" y="533"/>
                  <a:pt x="161" y="544"/>
                  <a:pt x="161" y="544"/>
                </a:cubicBezTo>
                <a:cubicBezTo>
                  <a:pt x="161" y="544"/>
                  <a:pt x="161" y="544"/>
                  <a:pt x="161" y="646"/>
                </a:cubicBezTo>
                <a:cubicBezTo>
                  <a:pt x="161" y="646"/>
                  <a:pt x="163" y="655"/>
                  <a:pt x="166" y="658"/>
                </a:cubicBezTo>
                <a:cubicBezTo>
                  <a:pt x="169" y="661"/>
                  <a:pt x="178" y="666"/>
                  <a:pt x="185" y="662"/>
                </a:cubicBezTo>
                <a:cubicBezTo>
                  <a:pt x="185" y="662"/>
                  <a:pt x="185" y="662"/>
                  <a:pt x="229" y="636"/>
                </a:cubicBezTo>
                <a:cubicBezTo>
                  <a:pt x="236" y="632"/>
                  <a:pt x="237" y="624"/>
                  <a:pt x="233" y="6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3203" tIns="46604" rIns="93203" bIns="46604" numCol="1" anchor="t" anchorCtr="0" compatLnSpc="1"/>
          <a:lstStyle/>
          <a:p>
            <a:pPr defTabSz="1242695"/>
            <a:endParaRPr lang="en-US" sz="2400">
              <a:solidFill>
                <a:srgbClr val="505050"/>
              </a:solidFill>
            </a:endParaRPr>
          </a:p>
        </p:txBody>
      </p:sp>
      <p:sp>
        <p:nvSpPr>
          <p:cNvPr id="217" name="Freeform 80"/>
          <p:cNvSpPr>
            <a:spLocks noChangeAspect="1" noEditPoints="1"/>
          </p:cNvSpPr>
          <p:nvPr/>
        </p:nvSpPr>
        <p:spPr bwMode="black">
          <a:xfrm>
            <a:off x="8132787" y="1715519"/>
            <a:ext cx="583402" cy="707788"/>
          </a:xfrm>
          <a:custGeom>
            <a:avLst/>
            <a:gdLst>
              <a:gd name="T0" fmla="*/ 952 w 1833"/>
              <a:gd name="T1" fmla="*/ 1301 h 2225"/>
              <a:gd name="T2" fmla="*/ 882 w 1833"/>
              <a:gd name="T3" fmla="*/ 1413 h 2225"/>
              <a:gd name="T4" fmla="*/ 677 w 1833"/>
              <a:gd name="T5" fmla="*/ 2162 h 2225"/>
              <a:gd name="T6" fmla="*/ 1156 w 1833"/>
              <a:gd name="T7" fmla="*/ 2162 h 2225"/>
              <a:gd name="T8" fmla="*/ 1071 w 1833"/>
              <a:gd name="T9" fmla="*/ 2089 h 2225"/>
              <a:gd name="T10" fmla="*/ 785 w 1833"/>
              <a:gd name="T11" fmla="*/ 2039 h 2225"/>
              <a:gd name="T12" fmla="*/ 1071 w 1833"/>
              <a:gd name="T13" fmla="*/ 2089 h 2225"/>
              <a:gd name="T14" fmla="*/ 760 w 1833"/>
              <a:gd name="T15" fmla="*/ 1949 h 2225"/>
              <a:gd name="T16" fmla="*/ 1096 w 1833"/>
              <a:gd name="T17" fmla="*/ 1949 h 2225"/>
              <a:gd name="T18" fmla="*/ 1026 w 1833"/>
              <a:gd name="T19" fmla="*/ 1801 h 2225"/>
              <a:gd name="T20" fmla="*/ 1061 w 1833"/>
              <a:gd name="T21" fmla="*/ 1836 h 2225"/>
              <a:gd name="T22" fmla="*/ 260 w 1833"/>
              <a:gd name="T23" fmla="*/ 1329 h 2225"/>
              <a:gd name="T24" fmla="*/ 748 w 1833"/>
              <a:gd name="T25" fmla="*/ 1136 h 2225"/>
              <a:gd name="T26" fmla="*/ 190 w 1833"/>
              <a:gd name="T27" fmla="*/ 1329 h 2225"/>
              <a:gd name="T28" fmla="*/ 0 w 1833"/>
              <a:gd name="T29" fmla="*/ 1476 h 2225"/>
              <a:gd name="T30" fmla="*/ 416 w 1833"/>
              <a:gd name="T31" fmla="*/ 2225 h 2225"/>
              <a:gd name="T32" fmla="*/ 416 w 1833"/>
              <a:gd name="T33" fmla="*/ 1413 h 2225"/>
              <a:gd name="T34" fmla="*/ 83 w 1833"/>
              <a:gd name="T35" fmla="*/ 2064 h 2225"/>
              <a:gd name="T36" fmla="*/ 419 w 1833"/>
              <a:gd name="T37" fmla="*/ 2064 h 2225"/>
              <a:gd name="T38" fmla="*/ 108 w 1833"/>
              <a:gd name="T39" fmla="*/ 1974 h 2225"/>
              <a:gd name="T40" fmla="*/ 394 w 1833"/>
              <a:gd name="T41" fmla="*/ 1924 h 2225"/>
              <a:gd name="T42" fmla="*/ 384 w 1833"/>
              <a:gd name="T43" fmla="*/ 1836 h 2225"/>
              <a:gd name="T44" fmla="*/ 419 w 1833"/>
              <a:gd name="T45" fmla="*/ 1801 h 2225"/>
              <a:gd name="T46" fmla="*/ 1643 w 1833"/>
              <a:gd name="T47" fmla="*/ 1413 h 2225"/>
              <a:gd name="T48" fmla="*/ 1082 w 1833"/>
              <a:gd name="T49" fmla="*/ 1101 h 2225"/>
              <a:gd name="T50" fmla="*/ 1415 w 1833"/>
              <a:gd name="T51" fmla="*/ 1171 h 2225"/>
              <a:gd name="T52" fmla="*/ 1417 w 1833"/>
              <a:gd name="T53" fmla="*/ 1413 h 2225"/>
              <a:gd name="T54" fmla="*/ 1417 w 1833"/>
              <a:gd name="T55" fmla="*/ 2225 h 2225"/>
              <a:gd name="T56" fmla="*/ 1833 w 1833"/>
              <a:gd name="T57" fmla="*/ 1476 h 2225"/>
              <a:gd name="T58" fmla="*/ 1462 w 1833"/>
              <a:gd name="T59" fmla="*/ 2089 h 2225"/>
              <a:gd name="T60" fmla="*/ 1748 w 1833"/>
              <a:gd name="T61" fmla="*/ 2039 h 2225"/>
              <a:gd name="T62" fmla="*/ 1748 w 1833"/>
              <a:gd name="T63" fmla="*/ 1974 h 2225"/>
              <a:gd name="T64" fmla="*/ 1462 w 1833"/>
              <a:gd name="T65" fmla="*/ 1924 h 2225"/>
              <a:gd name="T66" fmla="*/ 1748 w 1833"/>
              <a:gd name="T67" fmla="*/ 1974 h 2225"/>
              <a:gd name="T68" fmla="*/ 1738 w 1833"/>
              <a:gd name="T69" fmla="*/ 1766 h 2225"/>
              <a:gd name="T70" fmla="*/ 650 w 1833"/>
              <a:gd name="T71" fmla="*/ 592 h 2225"/>
              <a:gd name="T72" fmla="*/ 1296 w 1833"/>
              <a:gd name="T73" fmla="*/ 113 h 2225"/>
              <a:gd name="T74" fmla="*/ 537 w 1833"/>
              <a:gd name="T75" fmla="*/ 113 h 2225"/>
              <a:gd name="T76" fmla="*/ 603 w 1833"/>
              <a:gd name="T77" fmla="*/ 113 h 2225"/>
              <a:gd name="T78" fmla="*/ 1231 w 1833"/>
              <a:gd name="T79" fmla="*/ 113 h 2225"/>
              <a:gd name="T80" fmla="*/ 650 w 1833"/>
              <a:gd name="T81" fmla="*/ 526 h 2225"/>
              <a:gd name="T82" fmla="*/ 405 w 1833"/>
              <a:gd name="T83" fmla="*/ 902 h 2225"/>
              <a:gd name="T84" fmla="*/ 803 w 1833"/>
              <a:gd name="T85" fmla="*/ 1101 h 2225"/>
              <a:gd name="T86" fmla="*/ 882 w 1833"/>
              <a:gd name="T87" fmla="*/ 1250 h 2225"/>
              <a:gd name="T88" fmla="*/ 1031 w 1833"/>
              <a:gd name="T89" fmla="*/ 1171 h 2225"/>
              <a:gd name="T90" fmla="*/ 952 w 1833"/>
              <a:gd name="T91" fmla="*/ 1021 h 2225"/>
              <a:gd name="T92" fmla="*/ 1457 w 1833"/>
              <a:gd name="T93" fmla="*/ 874 h 2225"/>
              <a:gd name="T94" fmla="*/ 1303 w 1833"/>
              <a:gd name="T95" fmla="*/ 652 h 2225"/>
              <a:gd name="T96" fmla="*/ 530 w 1833"/>
              <a:gd name="T97" fmla="*/ 652 h 2225"/>
              <a:gd name="T98" fmla="*/ 377 w 1833"/>
              <a:gd name="T99" fmla="*/ 874 h 2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833" h="2225">
                <a:moveTo>
                  <a:pt x="1093" y="1413"/>
                </a:moveTo>
                <a:cubicBezTo>
                  <a:pt x="952" y="1413"/>
                  <a:pt x="952" y="1413"/>
                  <a:pt x="952" y="1413"/>
                </a:cubicBezTo>
                <a:cubicBezTo>
                  <a:pt x="952" y="1301"/>
                  <a:pt x="952" y="1301"/>
                  <a:pt x="952" y="1301"/>
                </a:cubicBezTo>
                <a:cubicBezTo>
                  <a:pt x="940" y="1304"/>
                  <a:pt x="929" y="1305"/>
                  <a:pt x="917" y="1305"/>
                </a:cubicBezTo>
                <a:cubicBezTo>
                  <a:pt x="905" y="1305"/>
                  <a:pt x="893" y="1304"/>
                  <a:pt x="882" y="1301"/>
                </a:cubicBezTo>
                <a:cubicBezTo>
                  <a:pt x="882" y="1413"/>
                  <a:pt x="882" y="1413"/>
                  <a:pt x="882" y="1413"/>
                </a:cubicBezTo>
                <a:cubicBezTo>
                  <a:pt x="740" y="1413"/>
                  <a:pt x="740" y="1413"/>
                  <a:pt x="740" y="1413"/>
                </a:cubicBezTo>
                <a:cubicBezTo>
                  <a:pt x="705" y="1413"/>
                  <a:pt x="677" y="1441"/>
                  <a:pt x="677" y="1476"/>
                </a:cubicBezTo>
                <a:cubicBezTo>
                  <a:pt x="677" y="2162"/>
                  <a:pt x="677" y="2162"/>
                  <a:pt x="677" y="2162"/>
                </a:cubicBezTo>
                <a:cubicBezTo>
                  <a:pt x="677" y="2197"/>
                  <a:pt x="705" y="2225"/>
                  <a:pt x="740" y="2225"/>
                </a:cubicBezTo>
                <a:cubicBezTo>
                  <a:pt x="1093" y="2225"/>
                  <a:pt x="1093" y="2225"/>
                  <a:pt x="1093" y="2225"/>
                </a:cubicBezTo>
                <a:cubicBezTo>
                  <a:pt x="1128" y="2225"/>
                  <a:pt x="1156" y="2197"/>
                  <a:pt x="1156" y="2162"/>
                </a:cubicBezTo>
                <a:cubicBezTo>
                  <a:pt x="1156" y="1476"/>
                  <a:pt x="1156" y="1476"/>
                  <a:pt x="1156" y="1476"/>
                </a:cubicBezTo>
                <a:cubicBezTo>
                  <a:pt x="1156" y="1441"/>
                  <a:pt x="1128" y="1413"/>
                  <a:pt x="1093" y="1413"/>
                </a:cubicBezTo>
                <a:close/>
                <a:moveTo>
                  <a:pt x="1071" y="2089"/>
                </a:moveTo>
                <a:cubicBezTo>
                  <a:pt x="785" y="2089"/>
                  <a:pt x="785" y="2089"/>
                  <a:pt x="785" y="2089"/>
                </a:cubicBezTo>
                <a:cubicBezTo>
                  <a:pt x="771" y="2089"/>
                  <a:pt x="760" y="2078"/>
                  <a:pt x="760" y="2064"/>
                </a:cubicBezTo>
                <a:cubicBezTo>
                  <a:pt x="760" y="2050"/>
                  <a:pt x="771" y="2039"/>
                  <a:pt x="785" y="2039"/>
                </a:cubicBezTo>
                <a:cubicBezTo>
                  <a:pt x="1071" y="2039"/>
                  <a:pt x="1071" y="2039"/>
                  <a:pt x="1071" y="2039"/>
                </a:cubicBezTo>
                <a:cubicBezTo>
                  <a:pt x="1085" y="2039"/>
                  <a:pt x="1096" y="2050"/>
                  <a:pt x="1096" y="2064"/>
                </a:cubicBezTo>
                <a:cubicBezTo>
                  <a:pt x="1096" y="2078"/>
                  <a:pt x="1085" y="2089"/>
                  <a:pt x="1071" y="2089"/>
                </a:cubicBezTo>
                <a:close/>
                <a:moveTo>
                  <a:pt x="1071" y="1974"/>
                </a:moveTo>
                <a:cubicBezTo>
                  <a:pt x="785" y="1974"/>
                  <a:pt x="785" y="1974"/>
                  <a:pt x="785" y="1974"/>
                </a:cubicBezTo>
                <a:cubicBezTo>
                  <a:pt x="771" y="1974"/>
                  <a:pt x="760" y="1963"/>
                  <a:pt x="760" y="1949"/>
                </a:cubicBezTo>
                <a:cubicBezTo>
                  <a:pt x="760" y="1935"/>
                  <a:pt x="771" y="1924"/>
                  <a:pt x="785" y="1924"/>
                </a:cubicBezTo>
                <a:cubicBezTo>
                  <a:pt x="1071" y="1924"/>
                  <a:pt x="1071" y="1924"/>
                  <a:pt x="1071" y="1924"/>
                </a:cubicBezTo>
                <a:cubicBezTo>
                  <a:pt x="1085" y="1924"/>
                  <a:pt x="1096" y="1935"/>
                  <a:pt x="1096" y="1949"/>
                </a:cubicBezTo>
                <a:cubicBezTo>
                  <a:pt x="1096" y="1963"/>
                  <a:pt x="1085" y="1974"/>
                  <a:pt x="1071" y="1974"/>
                </a:cubicBezTo>
                <a:close/>
                <a:moveTo>
                  <a:pt x="1061" y="1836"/>
                </a:moveTo>
                <a:cubicBezTo>
                  <a:pt x="1042" y="1836"/>
                  <a:pt x="1026" y="1820"/>
                  <a:pt x="1026" y="1801"/>
                </a:cubicBezTo>
                <a:cubicBezTo>
                  <a:pt x="1026" y="1782"/>
                  <a:pt x="1042" y="1766"/>
                  <a:pt x="1061" y="1766"/>
                </a:cubicBezTo>
                <a:cubicBezTo>
                  <a:pt x="1081" y="1766"/>
                  <a:pt x="1096" y="1782"/>
                  <a:pt x="1096" y="1801"/>
                </a:cubicBezTo>
                <a:cubicBezTo>
                  <a:pt x="1096" y="1820"/>
                  <a:pt x="1081" y="1836"/>
                  <a:pt x="1061" y="1836"/>
                </a:cubicBezTo>
                <a:close/>
                <a:moveTo>
                  <a:pt x="416" y="1413"/>
                </a:moveTo>
                <a:cubicBezTo>
                  <a:pt x="260" y="1413"/>
                  <a:pt x="260" y="1413"/>
                  <a:pt x="260" y="1413"/>
                </a:cubicBezTo>
                <a:cubicBezTo>
                  <a:pt x="260" y="1329"/>
                  <a:pt x="260" y="1329"/>
                  <a:pt x="260" y="1329"/>
                </a:cubicBezTo>
                <a:cubicBezTo>
                  <a:pt x="260" y="1242"/>
                  <a:pt x="331" y="1171"/>
                  <a:pt x="418" y="1171"/>
                </a:cubicBezTo>
                <a:cubicBezTo>
                  <a:pt x="751" y="1171"/>
                  <a:pt x="751" y="1171"/>
                  <a:pt x="751" y="1171"/>
                </a:cubicBezTo>
                <a:cubicBezTo>
                  <a:pt x="749" y="1159"/>
                  <a:pt x="748" y="1148"/>
                  <a:pt x="748" y="1136"/>
                </a:cubicBezTo>
                <a:cubicBezTo>
                  <a:pt x="748" y="1124"/>
                  <a:pt x="749" y="1112"/>
                  <a:pt x="751" y="1101"/>
                </a:cubicBezTo>
                <a:cubicBezTo>
                  <a:pt x="418" y="1101"/>
                  <a:pt x="418" y="1101"/>
                  <a:pt x="418" y="1101"/>
                </a:cubicBezTo>
                <a:cubicBezTo>
                  <a:pt x="293" y="1101"/>
                  <a:pt x="190" y="1203"/>
                  <a:pt x="190" y="1329"/>
                </a:cubicBezTo>
                <a:cubicBezTo>
                  <a:pt x="190" y="1413"/>
                  <a:pt x="190" y="1413"/>
                  <a:pt x="190" y="1413"/>
                </a:cubicBezTo>
                <a:cubicBezTo>
                  <a:pt x="63" y="1413"/>
                  <a:pt x="63" y="1413"/>
                  <a:pt x="63" y="1413"/>
                </a:cubicBezTo>
                <a:cubicBezTo>
                  <a:pt x="28" y="1413"/>
                  <a:pt x="0" y="1441"/>
                  <a:pt x="0" y="1476"/>
                </a:cubicBezTo>
                <a:cubicBezTo>
                  <a:pt x="0" y="2162"/>
                  <a:pt x="0" y="2162"/>
                  <a:pt x="0" y="2162"/>
                </a:cubicBezTo>
                <a:cubicBezTo>
                  <a:pt x="0" y="2197"/>
                  <a:pt x="28" y="2225"/>
                  <a:pt x="63" y="2225"/>
                </a:cubicBezTo>
                <a:cubicBezTo>
                  <a:pt x="416" y="2225"/>
                  <a:pt x="416" y="2225"/>
                  <a:pt x="416" y="2225"/>
                </a:cubicBezTo>
                <a:cubicBezTo>
                  <a:pt x="451" y="2225"/>
                  <a:pt x="480" y="2197"/>
                  <a:pt x="480" y="2162"/>
                </a:cubicBezTo>
                <a:cubicBezTo>
                  <a:pt x="480" y="1476"/>
                  <a:pt x="480" y="1476"/>
                  <a:pt x="480" y="1476"/>
                </a:cubicBezTo>
                <a:cubicBezTo>
                  <a:pt x="480" y="1441"/>
                  <a:pt x="451" y="1413"/>
                  <a:pt x="416" y="1413"/>
                </a:cubicBezTo>
                <a:close/>
                <a:moveTo>
                  <a:pt x="394" y="2089"/>
                </a:moveTo>
                <a:cubicBezTo>
                  <a:pt x="108" y="2089"/>
                  <a:pt x="108" y="2089"/>
                  <a:pt x="108" y="2089"/>
                </a:cubicBezTo>
                <a:cubicBezTo>
                  <a:pt x="94" y="2089"/>
                  <a:pt x="83" y="2078"/>
                  <a:pt x="83" y="2064"/>
                </a:cubicBezTo>
                <a:cubicBezTo>
                  <a:pt x="83" y="2050"/>
                  <a:pt x="94" y="2039"/>
                  <a:pt x="108" y="2039"/>
                </a:cubicBezTo>
                <a:cubicBezTo>
                  <a:pt x="394" y="2039"/>
                  <a:pt x="394" y="2039"/>
                  <a:pt x="394" y="2039"/>
                </a:cubicBezTo>
                <a:cubicBezTo>
                  <a:pt x="408" y="2039"/>
                  <a:pt x="419" y="2050"/>
                  <a:pt x="419" y="2064"/>
                </a:cubicBezTo>
                <a:cubicBezTo>
                  <a:pt x="419" y="2078"/>
                  <a:pt x="408" y="2089"/>
                  <a:pt x="394" y="2089"/>
                </a:cubicBezTo>
                <a:close/>
                <a:moveTo>
                  <a:pt x="394" y="1974"/>
                </a:moveTo>
                <a:cubicBezTo>
                  <a:pt x="108" y="1974"/>
                  <a:pt x="108" y="1974"/>
                  <a:pt x="108" y="1974"/>
                </a:cubicBezTo>
                <a:cubicBezTo>
                  <a:pt x="94" y="1974"/>
                  <a:pt x="83" y="1963"/>
                  <a:pt x="83" y="1949"/>
                </a:cubicBezTo>
                <a:cubicBezTo>
                  <a:pt x="83" y="1935"/>
                  <a:pt x="94" y="1924"/>
                  <a:pt x="108" y="1924"/>
                </a:cubicBezTo>
                <a:cubicBezTo>
                  <a:pt x="394" y="1924"/>
                  <a:pt x="394" y="1924"/>
                  <a:pt x="394" y="1924"/>
                </a:cubicBezTo>
                <a:cubicBezTo>
                  <a:pt x="408" y="1924"/>
                  <a:pt x="419" y="1935"/>
                  <a:pt x="419" y="1949"/>
                </a:cubicBezTo>
                <a:cubicBezTo>
                  <a:pt x="419" y="1963"/>
                  <a:pt x="408" y="1974"/>
                  <a:pt x="394" y="1974"/>
                </a:cubicBezTo>
                <a:close/>
                <a:moveTo>
                  <a:pt x="384" y="1836"/>
                </a:moveTo>
                <a:cubicBezTo>
                  <a:pt x="365" y="1836"/>
                  <a:pt x="350" y="1820"/>
                  <a:pt x="350" y="1801"/>
                </a:cubicBezTo>
                <a:cubicBezTo>
                  <a:pt x="350" y="1782"/>
                  <a:pt x="365" y="1766"/>
                  <a:pt x="384" y="1766"/>
                </a:cubicBezTo>
                <a:cubicBezTo>
                  <a:pt x="404" y="1766"/>
                  <a:pt x="419" y="1782"/>
                  <a:pt x="419" y="1801"/>
                </a:cubicBezTo>
                <a:cubicBezTo>
                  <a:pt x="419" y="1820"/>
                  <a:pt x="404" y="1836"/>
                  <a:pt x="384" y="1836"/>
                </a:cubicBezTo>
                <a:close/>
                <a:moveTo>
                  <a:pt x="1770" y="1413"/>
                </a:moveTo>
                <a:cubicBezTo>
                  <a:pt x="1643" y="1413"/>
                  <a:pt x="1643" y="1413"/>
                  <a:pt x="1643" y="1413"/>
                </a:cubicBezTo>
                <a:cubicBezTo>
                  <a:pt x="1643" y="1329"/>
                  <a:pt x="1643" y="1329"/>
                  <a:pt x="1643" y="1329"/>
                </a:cubicBezTo>
                <a:cubicBezTo>
                  <a:pt x="1643" y="1203"/>
                  <a:pt x="1541" y="1101"/>
                  <a:pt x="1415" y="1101"/>
                </a:cubicBezTo>
                <a:cubicBezTo>
                  <a:pt x="1082" y="1101"/>
                  <a:pt x="1082" y="1101"/>
                  <a:pt x="1082" y="1101"/>
                </a:cubicBezTo>
                <a:cubicBezTo>
                  <a:pt x="1085" y="1112"/>
                  <a:pt x="1086" y="1124"/>
                  <a:pt x="1086" y="1136"/>
                </a:cubicBezTo>
                <a:cubicBezTo>
                  <a:pt x="1086" y="1148"/>
                  <a:pt x="1085" y="1159"/>
                  <a:pt x="1082" y="1171"/>
                </a:cubicBezTo>
                <a:cubicBezTo>
                  <a:pt x="1415" y="1171"/>
                  <a:pt x="1415" y="1171"/>
                  <a:pt x="1415" y="1171"/>
                </a:cubicBezTo>
                <a:cubicBezTo>
                  <a:pt x="1503" y="1171"/>
                  <a:pt x="1574" y="1242"/>
                  <a:pt x="1574" y="1329"/>
                </a:cubicBezTo>
                <a:cubicBezTo>
                  <a:pt x="1574" y="1413"/>
                  <a:pt x="1574" y="1413"/>
                  <a:pt x="1574" y="1413"/>
                </a:cubicBezTo>
                <a:cubicBezTo>
                  <a:pt x="1417" y="1413"/>
                  <a:pt x="1417" y="1413"/>
                  <a:pt x="1417" y="1413"/>
                </a:cubicBezTo>
                <a:cubicBezTo>
                  <a:pt x="1382" y="1413"/>
                  <a:pt x="1354" y="1441"/>
                  <a:pt x="1354" y="1476"/>
                </a:cubicBezTo>
                <a:cubicBezTo>
                  <a:pt x="1354" y="2162"/>
                  <a:pt x="1354" y="2162"/>
                  <a:pt x="1354" y="2162"/>
                </a:cubicBezTo>
                <a:cubicBezTo>
                  <a:pt x="1354" y="2197"/>
                  <a:pt x="1382" y="2225"/>
                  <a:pt x="1417" y="2225"/>
                </a:cubicBezTo>
                <a:cubicBezTo>
                  <a:pt x="1770" y="2225"/>
                  <a:pt x="1770" y="2225"/>
                  <a:pt x="1770" y="2225"/>
                </a:cubicBezTo>
                <a:cubicBezTo>
                  <a:pt x="1805" y="2225"/>
                  <a:pt x="1833" y="2197"/>
                  <a:pt x="1833" y="2162"/>
                </a:cubicBezTo>
                <a:cubicBezTo>
                  <a:pt x="1833" y="1476"/>
                  <a:pt x="1833" y="1476"/>
                  <a:pt x="1833" y="1476"/>
                </a:cubicBezTo>
                <a:cubicBezTo>
                  <a:pt x="1833" y="1441"/>
                  <a:pt x="1805" y="1413"/>
                  <a:pt x="1770" y="1413"/>
                </a:cubicBezTo>
                <a:close/>
                <a:moveTo>
                  <a:pt x="1748" y="2089"/>
                </a:moveTo>
                <a:cubicBezTo>
                  <a:pt x="1462" y="2089"/>
                  <a:pt x="1462" y="2089"/>
                  <a:pt x="1462" y="2089"/>
                </a:cubicBezTo>
                <a:cubicBezTo>
                  <a:pt x="1448" y="2089"/>
                  <a:pt x="1437" y="2078"/>
                  <a:pt x="1437" y="2064"/>
                </a:cubicBezTo>
                <a:cubicBezTo>
                  <a:pt x="1437" y="2050"/>
                  <a:pt x="1448" y="2039"/>
                  <a:pt x="1462" y="2039"/>
                </a:cubicBezTo>
                <a:cubicBezTo>
                  <a:pt x="1748" y="2039"/>
                  <a:pt x="1748" y="2039"/>
                  <a:pt x="1748" y="2039"/>
                </a:cubicBezTo>
                <a:cubicBezTo>
                  <a:pt x="1762" y="2039"/>
                  <a:pt x="1773" y="2050"/>
                  <a:pt x="1773" y="2064"/>
                </a:cubicBezTo>
                <a:cubicBezTo>
                  <a:pt x="1773" y="2078"/>
                  <a:pt x="1762" y="2089"/>
                  <a:pt x="1748" y="2089"/>
                </a:cubicBezTo>
                <a:close/>
                <a:moveTo>
                  <a:pt x="1748" y="1974"/>
                </a:moveTo>
                <a:cubicBezTo>
                  <a:pt x="1462" y="1974"/>
                  <a:pt x="1462" y="1974"/>
                  <a:pt x="1462" y="1974"/>
                </a:cubicBezTo>
                <a:cubicBezTo>
                  <a:pt x="1448" y="1974"/>
                  <a:pt x="1437" y="1963"/>
                  <a:pt x="1437" y="1949"/>
                </a:cubicBezTo>
                <a:cubicBezTo>
                  <a:pt x="1437" y="1935"/>
                  <a:pt x="1448" y="1924"/>
                  <a:pt x="1462" y="1924"/>
                </a:cubicBezTo>
                <a:cubicBezTo>
                  <a:pt x="1748" y="1924"/>
                  <a:pt x="1748" y="1924"/>
                  <a:pt x="1748" y="1924"/>
                </a:cubicBezTo>
                <a:cubicBezTo>
                  <a:pt x="1762" y="1924"/>
                  <a:pt x="1773" y="1935"/>
                  <a:pt x="1773" y="1949"/>
                </a:cubicBezTo>
                <a:cubicBezTo>
                  <a:pt x="1773" y="1963"/>
                  <a:pt x="1762" y="1974"/>
                  <a:pt x="1748" y="1974"/>
                </a:cubicBezTo>
                <a:close/>
                <a:moveTo>
                  <a:pt x="1738" y="1836"/>
                </a:moveTo>
                <a:cubicBezTo>
                  <a:pt x="1719" y="1836"/>
                  <a:pt x="1703" y="1820"/>
                  <a:pt x="1703" y="1801"/>
                </a:cubicBezTo>
                <a:cubicBezTo>
                  <a:pt x="1703" y="1782"/>
                  <a:pt x="1719" y="1766"/>
                  <a:pt x="1738" y="1766"/>
                </a:cubicBezTo>
                <a:cubicBezTo>
                  <a:pt x="1757" y="1766"/>
                  <a:pt x="1773" y="1782"/>
                  <a:pt x="1773" y="1801"/>
                </a:cubicBezTo>
                <a:cubicBezTo>
                  <a:pt x="1773" y="1820"/>
                  <a:pt x="1757" y="1836"/>
                  <a:pt x="1738" y="1836"/>
                </a:cubicBezTo>
                <a:close/>
                <a:moveTo>
                  <a:pt x="650" y="592"/>
                </a:moveTo>
                <a:cubicBezTo>
                  <a:pt x="1184" y="592"/>
                  <a:pt x="1184" y="592"/>
                  <a:pt x="1184" y="592"/>
                </a:cubicBezTo>
                <a:cubicBezTo>
                  <a:pt x="1246" y="592"/>
                  <a:pt x="1296" y="541"/>
                  <a:pt x="1296" y="479"/>
                </a:cubicBezTo>
                <a:cubicBezTo>
                  <a:pt x="1296" y="113"/>
                  <a:pt x="1296" y="113"/>
                  <a:pt x="1296" y="113"/>
                </a:cubicBezTo>
                <a:cubicBezTo>
                  <a:pt x="1296" y="51"/>
                  <a:pt x="1246" y="0"/>
                  <a:pt x="1184" y="0"/>
                </a:cubicBezTo>
                <a:cubicBezTo>
                  <a:pt x="650" y="0"/>
                  <a:pt x="650" y="0"/>
                  <a:pt x="650" y="0"/>
                </a:cubicBezTo>
                <a:cubicBezTo>
                  <a:pt x="588" y="0"/>
                  <a:pt x="537" y="51"/>
                  <a:pt x="537" y="113"/>
                </a:cubicBezTo>
                <a:cubicBezTo>
                  <a:pt x="537" y="479"/>
                  <a:pt x="537" y="479"/>
                  <a:pt x="537" y="479"/>
                </a:cubicBezTo>
                <a:cubicBezTo>
                  <a:pt x="537" y="541"/>
                  <a:pt x="588" y="592"/>
                  <a:pt x="650" y="592"/>
                </a:cubicBezTo>
                <a:close/>
                <a:moveTo>
                  <a:pt x="603" y="113"/>
                </a:moveTo>
                <a:cubicBezTo>
                  <a:pt x="603" y="87"/>
                  <a:pt x="624" y="66"/>
                  <a:pt x="650" y="66"/>
                </a:cubicBezTo>
                <a:cubicBezTo>
                  <a:pt x="1184" y="66"/>
                  <a:pt x="1184" y="66"/>
                  <a:pt x="1184" y="66"/>
                </a:cubicBezTo>
                <a:cubicBezTo>
                  <a:pt x="1210" y="66"/>
                  <a:pt x="1231" y="87"/>
                  <a:pt x="1231" y="113"/>
                </a:cubicBezTo>
                <a:cubicBezTo>
                  <a:pt x="1231" y="479"/>
                  <a:pt x="1231" y="479"/>
                  <a:pt x="1231" y="479"/>
                </a:cubicBezTo>
                <a:cubicBezTo>
                  <a:pt x="1231" y="505"/>
                  <a:pt x="1210" y="526"/>
                  <a:pt x="1184" y="526"/>
                </a:cubicBezTo>
                <a:cubicBezTo>
                  <a:pt x="650" y="526"/>
                  <a:pt x="650" y="526"/>
                  <a:pt x="650" y="526"/>
                </a:cubicBezTo>
                <a:cubicBezTo>
                  <a:pt x="624" y="526"/>
                  <a:pt x="603" y="505"/>
                  <a:pt x="603" y="479"/>
                </a:cubicBezTo>
                <a:lnTo>
                  <a:pt x="603" y="113"/>
                </a:lnTo>
                <a:close/>
                <a:moveTo>
                  <a:pt x="405" y="902"/>
                </a:moveTo>
                <a:cubicBezTo>
                  <a:pt x="882" y="902"/>
                  <a:pt x="882" y="902"/>
                  <a:pt x="882" y="902"/>
                </a:cubicBezTo>
                <a:cubicBezTo>
                  <a:pt x="882" y="1021"/>
                  <a:pt x="882" y="1021"/>
                  <a:pt x="882" y="1021"/>
                </a:cubicBezTo>
                <a:cubicBezTo>
                  <a:pt x="844" y="1033"/>
                  <a:pt x="814" y="1063"/>
                  <a:pt x="803" y="1101"/>
                </a:cubicBezTo>
                <a:cubicBezTo>
                  <a:pt x="799" y="1112"/>
                  <a:pt x="797" y="1124"/>
                  <a:pt x="797" y="1136"/>
                </a:cubicBezTo>
                <a:cubicBezTo>
                  <a:pt x="797" y="1148"/>
                  <a:pt x="799" y="1160"/>
                  <a:pt x="803" y="1171"/>
                </a:cubicBezTo>
                <a:cubicBezTo>
                  <a:pt x="814" y="1209"/>
                  <a:pt x="844" y="1238"/>
                  <a:pt x="882" y="1250"/>
                </a:cubicBezTo>
                <a:cubicBezTo>
                  <a:pt x="893" y="1253"/>
                  <a:pt x="905" y="1255"/>
                  <a:pt x="917" y="1255"/>
                </a:cubicBezTo>
                <a:cubicBezTo>
                  <a:pt x="929" y="1255"/>
                  <a:pt x="941" y="1253"/>
                  <a:pt x="952" y="1250"/>
                </a:cubicBezTo>
                <a:cubicBezTo>
                  <a:pt x="990" y="1238"/>
                  <a:pt x="1020" y="1209"/>
                  <a:pt x="1031" y="1171"/>
                </a:cubicBezTo>
                <a:cubicBezTo>
                  <a:pt x="1034" y="1160"/>
                  <a:pt x="1036" y="1148"/>
                  <a:pt x="1036" y="1136"/>
                </a:cubicBezTo>
                <a:cubicBezTo>
                  <a:pt x="1036" y="1124"/>
                  <a:pt x="1034" y="1112"/>
                  <a:pt x="1031" y="1101"/>
                </a:cubicBezTo>
                <a:cubicBezTo>
                  <a:pt x="1019" y="1063"/>
                  <a:pt x="990" y="1033"/>
                  <a:pt x="952" y="1021"/>
                </a:cubicBezTo>
                <a:cubicBezTo>
                  <a:pt x="952" y="902"/>
                  <a:pt x="952" y="902"/>
                  <a:pt x="952" y="902"/>
                </a:cubicBezTo>
                <a:cubicBezTo>
                  <a:pt x="1429" y="902"/>
                  <a:pt x="1429" y="902"/>
                  <a:pt x="1429" y="902"/>
                </a:cubicBezTo>
                <a:cubicBezTo>
                  <a:pt x="1444" y="902"/>
                  <a:pt x="1457" y="889"/>
                  <a:pt x="1457" y="874"/>
                </a:cubicBezTo>
                <a:cubicBezTo>
                  <a:pt x="1457" y="861"/>
                  <a:pt x="1457" y="861"/>
                  <a:pt x="1457" y="861"/>
                </a:cubicBezTo>
                <a:cubicBezTo>
                  <a:pt x="1457" y="845"/>
                  <a:pt x="1449" y="823"/>
                  <a:pt x="1439" y="811"/>
                </a:cubicBezTo>
                <a:cubicBezTo>
                  <a:pt x="1303" y="652"/>
                  <a:pt x="1303" y="652"/>
                  <a:pt x="1303" y="652"/>
                </a:cubicBezTo>
                <a:cubicBezTo>
                  <a:pt x="1293" y="640"/>
                  <a:pt x="1273" y="631"/>
                  <a:pt x="1257" y="631"/>
                </a:cubicBezTo>
                <a:cubicBezTo>
                  <a:pt x="577" y="631"/>
                  <a:pt x="577" y="631"/>
                  <a:pt x="577" y="631"/>
                </a:cubicBezTo>
                <a:cubicBezTo>
                  <a:pt x="561" y="631"/>
                  <a:pt x="540" y="640"/>
                  <a:pt x="530" y="652"/>
                </a:cubicBezTo>
                <a:cubicBezTo>
                  <a:pt x="395" y="811"/>
                  <a:pt x="395" y="811"/>
                  <a:pt x="395" y="811"/>
                </a:cubicBezTo>
                <a:cubicBezTo>
                  <a:pt x="385" y="823"/>
                  <a:pt x="377" y="845"/>
                  <a:pt x="377" y="861"/>
                </a:cubicBezTo>
                <a:cubicBezTo>
                  <a:pt x="377" y="874"/>
                  <a:pt x="377" y="874"/>
                  <a:pt x="377" y="874"/>
                </a:cubicBezTo>
                <a:cubicBezTo>
                  <a:pt x="377" y="889"/>
                  <a:pt x="389" y="902"/>
                  <a:pt x="405" y="90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75" tIns="41138" rIns="82275" bIns="41138" numCol="1" anchor="t" anchorCtr="0" compatLnSpc="1"/>
          <a:lstStyle/>
          <a:p>
            <a:pPr defTabSz="913765"/>
            <a:endParaRPr lang="en-US" sz="1600">
              <a:solidFill>
                <a:prstClr val="black"/>
              </a:solidFill>
            </a:endParaRPr>
          </a:p>
        </p:txBody>
      </p:sp>
      <p:sp>
        <p:nvSpPr>
          <p:cNvPr id="219" name="Freeform 10"/>
          <p:cNvSpPr>
            <a:spLocks noEditPoints="1"/>
          </p:cNvSpPr>
          <p:nvPr/>
        </p:nvSpPr>
        <p:spPr bwMode="auto">
          <a:xfrm>
            <a:off x="7971741" y="2897681"/>
            <a:ext cx="905494" cy="572393"/>
          </a:xfrm>
          <a:custGeom>
            <a:avLst/>
            <a:gdLst>
              <a:gd name="T0" fmla="*/ 87 w 782"/>
              <a:gd name="T1" fmla="*/ 232 h 493"/>
              <a:gd name="T2" fmla="*/ 195 w 782"/>
              <a:gd name="T3" fmla="*/ 0 h 493"/>
              <a:gd name="T4" fmla="*/ 724 w 782"/>
              <a:gd name="T5" fmla="*/ 467 h 493"/>
              <a:gd name="T6" fmla="*/ 612 w 782"/>
              <a:gd name="T7" fmla="*/ 369 h 493"/>
              <a:gd name="T8" fmla="*/ 565 w 782"/>
              <a:gd name="T9" fmla="*/ 349 h 493"/>
              <a:gd name="T10" fmla="*/ 605 w 782"/>
              <a:gd name="T11" fmla="*/ 354 h 493"/>
              <a:gd name="T12" fmla="*/ 366 w 782"/>
              <a:gd name="T13" fmla="*/ 366 h 493"/>
              <a:gd name="T14" fmla="*/ 372 w 782"/>
              <a:gd name="T15" fmla="*/ 348 h 493"/>
              <a:gd name="T16" fmla="*/ 410 w 782"/>
              <a:gd name="T17" fmla="*/ 351 h 493"/>
              <a:gd name="T18" fmla="*/ 409 w 782"/>
              <a:gd name="T19" fmla="*/ 406 h 493"/>
              <a:gd name="T20" fmla="*/ 362 w 782"/>
              <a:gd name="T21" fmla="*/ 405 h 493"/>
              <a:gd name="T22" fmla="*/ 288 w 782"/>
              <a:gd name="T23" fmla="*/ 400 h 493"/>
              <a:gd name="T24" fmla="*/ 339 w 782"/>
              <a:gd name="T25" fmla="*/ 389 h 493"/>
              <a:gd name="T26" fmla="*/ 322 w 782"/>
              <a:gd name="T27" fmla="*/ 409 h 493"/>
              <a:gd name="T28" fmla="*/ 302 w 782"/>
              <a:gd name="T29" fmla="*/ 353 h 493"/>
              <a:gd name="T30" fmla="*/ 345 w 782"/>
              <a:gd name="T31" fmla="*/ 351 h 493"/>
              <a:gd name="T32" fmla="*/ 213 w 782"/>
              <a:gd name="T33" fmla="*/ 402 h 493"/>
              <a:gd name="T34" fmla="*/ 267 w 782"/>
              <a:gd name="T35" fmla="*/ 387 h 493"/>
              <a:gd name="T36" fmla="*/ 213 w 782"/>
              <a:gd name="T37" fmla="*/ 406 h 493"/>
              <a:gd name="T38" fmla="*/ 199 w 782"/>
              <a:gd name="T39" fmla="*/ 369 h 493"/>
              <a:gd name="T40" fmla="*/ 214 w 782"/>
              <a:gd name="T41" fmla="*/ 348 h 493"/>
              <a:gd name="T42" fmla="*/ 233 w 782"/>
              <a:gd name="T43" fmla="*/ 361 h 493"/>
              <a:gd name="T44" fmla="*/ 280 w 782"/>
              <a:gd name="T45" fmla="*/ 350 h 493"/>
              <a:gd name="T46" fmla="*/ 273 w 782"/>
              <a:gd name="T47" fmla="*/ 367 h 493"/>
              <a:gd name="T48" fmla="*/ 159 w 782"/>
              <a:gd name="T49" fmla="*/ 452 h 493"/>
              <a:gd name="T50" fmla="*/ 107 w 782"/>
              <a:gd name="T51" fmla="*/ 448 h 493"/>
              <a:gd name="T52" fmla="*/ 137 w 782"/>
              <a:gd name="T53" fmla="*/ 424 h 493"/>
              <a:gd name="T54" fmla="*/ 188 w 782"/>
              <a:gd name="T55" fmla="*/ 402 h 493"/>
              <a:gd name="T56" fmla="*/ 142 w 782"/>
              <a:gd name="T57" fmla="*/ 409 h 493"/>
              <a:gd name="T58" fmla="*/ 153 w 782"/>
              <a:gd name="T59" fmla="*/ 385 h 493"/>
              <a:gd name="T60" fmla="*/ 196 w 782"/>
              <a:gd name="T61" fmla="*/ 389 h 493"/>
              <a:gd name="T62" fmla="*/ 407 w 782"/>
              <a:gd name="T63" fmla="*/ 455 h 493"/>
              <a:gd name="T64" fmla="*/ 200 w 782"/>
              <a:gd name="T65" fmla="*/ 458 h 493"/>
              <a:gd name="T66" fmla="*/ 203 w 782"/>
              <a:gd name="T67" fmla="*/ 427 h 493"/>
              <a:gd name="T68" fmla="*/ 402 w 782"/>
              <a:gd name="T69" fmla="*/ 423 h 493"/>
              <a:gd name="T70" fmla="*/ 411 w 782"/>
              <a:gd name="T71" fmla="*/ 448 h 493"/>
              <a:gd name="T72" fmla="*/ 438 w 782"/>
              <a:gd name="T73" fmla="*/ 347 h 493"/>
              <a:gd name="T74" fmla="*/ 471 w 782"/>
              <a:gd name="T75" fmla="*/ 369 h 493"/>
              <a:gd name="T76" fmla="*/ 434 w 782"/>
              <a:gd name="T77" fmla="*/ 366 h 493"/>
              <a:gd name="T78" fmla="*/ 484 w 782"/>
              <a:gd name="T79" fmla="*/ 395 h 493"/>
              <a:gd name="T80" fmla="*/ 473 w 782"/>
              <a:gd name="T81" fmla="*/ 409 h 493"/>
              <a:gd name="T82" fmla="*/ 437 w 782"/>
              <a:gd name="T83" fmla="*/ 404 h 493"/>
              <a:gd name="T84" fmla="*/ 440 w 782"/>
              <a:gd name="T85" fmla="*/ 451 h 493"/>
              <a:gd name="T86" fmla="*/ 438 w 782"/>
              <a:gd name="T87" fmla="*/ 428 h 493"/>
              <a:gd name="T88" fmla="*/ 447 w 782"/>
              <a:gd name="T89" fmla="*/ 423 h 493"/>
              <a:gd name="T90" fmla="*/ 483 w 782"/>
              <a:gd name="T91" fmla="*/ 424 h 493"/>
              <a:gd name="T92" fmla="*/ 502 w 782"/>
              <a:gd name="T93" fmla="*/ 363 h 493"/>
              <a:gd name="T94" fmla="*/ 536 w 782"/>
              <a:gd name="T95" fmla="*/ 350 h 493"/>
              <a:gd name="T96" fmla="*/ 547 w 782"/>
              <a:gd name="T97" fmla="*/ 366 h 493"/>
              <a:gd name="T98" fmla="*/ 519 w 782"/>
              <a:gd name="T99" fmla="*/ 405 h 493"/>
              <a:gd name="T100" fmla="*/ 559 w 782"/>
              <a:gd name="T101" fmla="*/ 389 h 493"/>
              <a:gd name="T102" fmla="*/ 564 w 782"/>
              <a:gd name="T103" fmla="*/ 408 h 493"/>
              <a:gd name="T104" fmla="*/ 588 w 782"/>
              <a:gd name="T105" fmla="*/ 453 h 493"/>
              <a:gd name="T106" fmla="*/ 548 w 782"/>
              <a:gd name="T107" fmla="*/ 457 h 493"/>
              <a:gd name="T108" fmla="*/ 536 w 782"/>
              <a:gd name="T109" fmla="*/ 423 h 493"/>
              <a:gd name="T110" fmla="*/ 588 w 782"/>
              <a:gd name="T111" fmla="*/ 448 h 493"/>
              <a:gd name="T112" fmla="*/ 591 w 782"/>
              <a:gd name="T113" fmla="*/ 382 h 493"/>
              <a:gd name="T114" fmla="*/ 635 w 782"/>
              <a:gd name="T115" fmla="*/ 409 h 493"/>
              <a:gd name="T116" fmla="*/ 616 w 782"/>
              <a:gd name="T117" fmla="*/ 449 h 493"/>
              <a:gd name="T118" fmla="*/ 639 w 782"/>
              <a:gd name="T119" fmla="*/ 423 h 493"/>
              <a:gd name="T120" fmla="*/ 670 w 782"/>
              <a:gd name="T121" fmla="*/ 449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82" h="493">
                <a:moveTo>
                  <a:pt x="111" y="206"/>
                </a:moveTo>
                <a:cubicBezTo>
                  <a:pt x="91" y="187"/>
                  <a:pt x="91" y="152"/>
                  <a:pt x="111" y="134"/>
                </a:cubicBezTo>
                <a:cubicBezTo>
                  <a:pt x="97" y="136"/>
                  <a:pt x="84" y="151"/>
                  <a:pt x="84" y="170"/>
                </a:cubicBezTo>
                <a:cubicBezTo>
                  <a:pt x="84" y="188"/>
                  <a:pt x="97" y="203"/>
                  <a:pt x="111" y="206"/>
                </a:cubicBezTo>
                <a:close/>
                <a:moveTo>
                  <a:pt x="698" y="170"/>
                </a:moveTo>
                <a:cubicBezTo>
                  <a:pt x="698" y="151"/>
                  <a:pt x="685" y="136"/>
                  <a:pt x="671" y="134"/>
                </a:cubicBezTo>
                <a:cubicBezTo>
                  <a:pt x="691" y="152"/>
                  <a:pt x="691" y="187"/>
                  <a:pt x="671" y="206"/>
                </a:cubicBezTo>
                <a:cubicBezTo>
                  <a:pt x="685" y="203"/>
                  <a:pt x="698" y="188"/>
                  <a:pt x="698" y="170"/>
                </a:cubicBezTo>
                <a:close/>
                <a:moveTo>
                  <a:pt x="696" y="232"/>
                </a:moveTo>
                <a:cubicBezTo>
                  <a:pt x="716" y="224"/>
                  <a:pt x="737" y="200"/>
                  <a:pt x="737" y="170"/>
                </a:cubicBezTo>
                <a:cubicBezTo>
                  <a:pt x="737" y="139"/>
                  <a:pt x="716" y="115"/>
                  <a:pt x="696" y="108"/>
                </a:cubicBezTo>
                <a:cubicBezTo>
                  <a:pt x="712" y="124"/>
                  <a:pt x="723" y="147"/>
                  <a:pt x="723" y="170"/>
                </a:cubicBezTo>
                <a:cubicBezTo>
                  <a:pt x="723" y="193"/>
                  <a:pt x="712" y="215"/>
                  <a:pt x="696" y="232"/>
                </a:cubicBezTo>
                <a:close/>
                <a:moveTo>
                  <a:pt x="87" y="232"/>
                </a:moveTo>
                <a:cubicBezTo>
                  <a:pt x="70" y="215"/>
                  <a:pt x="59" y="193"/>
                  <a:pt x="59" y="170"/>
                </a:cubicBezTo>
                <a:cubicBezTo>
                  <a:pt x="59" y="147"/>
                  <a:pt x="70" y="124"/>
                  <a:pt x="87" y="108"/>
                </a:cubicBezTo>
                <a:cubicBezTo>
                  <a:pt x="66" y="115"/>
                  <a:pt x="45" y="139"/>
                  <a:pt x="46" y="170"/>
                </a:cubicBezTo>
                <a:cubicBezTo>
                  <a:pt x="45" y="200"/>
                  <a:pt x="66" y="224"/>
                  <a:pt x="87" y="232"/>
                </a:cubicBezTo>
                <a:close/>
                <a:moveTo>
                  <a:pt x="714" y="448"/>
                </a:moveTo>
                <a:cubicBezTo>
                  <a:pt x="706" y="438"/>
                  <a:pt x="697" y="428"/>
                  <a:pt x="689" y="419"/>
                </a:cubicBezTo>
                <a:cubicBezTo>
                  <a:pt x="671" y="397"/>
                  <a:pt x="653" y="376"/>
                  <a:pt x="635" y="355"/>
                </a:cubicBezTo>
                <a:cubicBezTo>
                  <a:pt x="634" y="354"/>
                  <a:pt x="633" y="353"/>
                  <a:pt x="632" y="352"/>
                </a:cubicBezTo>
                <a:cubicBezTo>
                  <a:pt x="629" y="347"/>
                  <a:pt x="623" y="345"/>
                  <a:pt x="617" y="343"/>
                </a:cubicBezTo>
                <a:cubicBezTo>
                  <a:pt x="612" y="341"/>
                  <a:pt x="606" y="339"/>
                  <a:pt x="599" y="339"/>
                </a:cubicBezTo>
                <a:cubicBezTo>
                  <a:pt x="621" y="333"/>
                  <a:pt x="637" y="314"/>
                  <a:pt x="637" y="291"/>
                </a:cubicBezTo>
                <a:cubicBezTo>
                  <a:pt x="637" y="50"/>
                  <a:pt x="637" y="50"/>
                  <a:pt x="637" y="50"/>
                </a:cubicBezTo>
                <a:cubicBezTo>
                  <a:pt x="637" y="22"/>
                  <a:pt x="614" y="0"/>
                  <a:pt x="587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68" y="0"/>
                  <a:pt x="145" y="22"/>
                  <a:pt x="145" y="50"/>
                </a:cubicBezTo>
                <a:cubicBezTo>
                  <a:pt x="145" y="291"/>
                  <a:pt x="145" y="291"/>
                  <a:pt x="145" y="291"/>
                </a:cubicBezTo>
                <a:cubicBezTo>
                  <a:pt x="145" y="314"/>
                  <a:pt x="161" y="334"/>
                  <a:pt x="183" y="339"/>
                </a:cubicBezTo>
                <a:cubicBezTo>
                  <a:pt x="171" y="340"/>
                  <a:pt x="157" y="344"/>
                  <a:pt x="149" y="354"/>
                </a:cubicBezTo>
                <a:cubicBezTo>
                  <a:pt x="143" y="361"/>
                  <a:pt x="136" y="369"/>
                  <a:pt x="130" y="377"/>
                </a:cubicBezTo>
                <a:cubicBezTo>
                  <a:pt x="111" y="399"/>
                  <a:pt x="91" y="422"/>
                  <a:pt x="72" y="446"/>
                </a:cubicBezTo>
                <a:cubicBezTo>
                  <a:pt x="67" y="451"/>
                  <a:pt x="58" y="459"/>
                  <a:pt x="58" y="467"/>
                </a:cubicBezTo>
                <a:cubicBezTo>
                  <a:pt x="58" y="489"/>
                  <a:pt x="58" y="478"/>
                  <a:pt x="58" y="478"/>
                </a:cubicBezTo>
                <a:cubicBezTo>
                  <a:pt x="58" y="481"/>
                  <a:pt x="59" y="483"/>
                  <a:pt x="60" y="485"/>
                </a:cubicBezTo>
                <a:cubicBezTo>
                  <a:pt x="65" y="492"/>
                  <a:pt x="75" y="493"/>
                  <a:pt x="83" y="493"/>
                </a:cubicBezTo>
                <a:cubicBezTo>
                  <a:pt x="94" y="493"/>
                  <a:pt x="667" y="493"/>
                  <a:pt x="684" y="493"/>
                </a:cubicBezTo>
                <a:cubicBezTo>
                  <a:pt x="693" y="493"/>
                  <a:pt x="702" y="492"/>
                  <a:pt x="711" y="490"/>
                </a:cubicBezTo>
                <a:cubicBezTo>
                  <a:pt x="716" y="489"/>
                  <a:pt x="723" y="486"/>
                  <a:pt x="724" y="479"/>
                </a:cubicBezTo>
                <a:cubicBezTo>
                  <a:pt x="724" y="456"/>
                  <a:pt x="724" y="467"/>
                  <a:pt x="724" y="467"/>
                </a:cubicBezTo>
                <a:cubicBezTo>
                  <a:pt x="725" y="462"/>
                  <a:pt x="722" y="457"/>
                  <a:pt x="718" y="453"/>
                </a:cubicBezTo>
                <a:cubicBezTo>
                  <a:pt x="717" y="451"/>
                  <a:pt x="715" y="449"/>
                  <a:pt x="714" y="448"/>
                </a:cubicBezTo>
                <a:close/>
                <a:moveTo>
                  <a:pt x="164" y="299"/>
                </a:moveTo>
                <a:cubicBezTo>
                  <a:pt x="164" y="64"/>
                  <a:pt x="164" y="53"/>
                  <a:pt x="164" y="53"/>
                </a:cubicBezTo>
                <a:cubicBezTo>
                  <a:pt x="164" y="39"/>
                  <a:pt x="175" y="16"/>
                  <a:pt x="189" y="16"/>
                </a:cubicBezTo>
                <a:cubicBezTo>
                  <a:pt x="570" y="16"/>
                  <a:pt x="593" y="16"/>
                  <a:pt x="593" y="16"/>
                </a:cubicBezTo>
                <a:cubicBezTo>
                  <a:pt x="607" y="16"/>
                  <a:pt x="618" y="39"/>
                  <a:pt x="618" y="53"/>
                </a:cubicBezTo>
                <a:cubicBezTo>
                  <a:pt x="618" y="268"/>
                  <a:pt x="618" y="299"/>
                  <a:pt x="618" y="299"/>
                </a:cubicBezTo>
                <a:cubicBezTo>
                  <a:pt x="618" y="313"/>
                  <a:pt x="607" y="325"/>
                  <a:pt x="593" y="325"/>
                </a:cubicBezTo>
                <a:cubicBezTo>
                  <a:pt x="212" y="325"/>
                  <a:pt x="189" y="325"/>
                  <a:pt x="189" y="325"/>
                </a:cubicBezTo>
                <a:cubicBezTo>
                  <a:pt x="175" y="325"/>
                  <a:pt x="164" y="302"/>
                  <a:pt x="164" y="287"/>
                </a:cubicBezTo>
                <a:lnTo>
                  <a:pt x="164" y="299"/>
                </a:lnTo>
                <a:close/>
                <a:moveTo>
                  <a:pt x="613" y="367"/>
                </a:moveTo>
                <a:cubicBezTo>
                  <a:pt x="613" y="367"/>
                  <a:pt x="613" y="368"/>
                  <a:pt x="612" y="369"/>
                </a:cubicBezTo>
                <a:cubicBezTo>
                  <a:pt x="612" y="369"/>
                  <a:pt x="612" y="369"/>
                  <a:pt x="612" y="369"/>
                </a:cubicBezTo>
                <a:cubicBezTo>
                  <a:pt x="612" y="369"/>
                  <a:pt x="612" y="369"/>
                  <a:pt x="612" y="369"/>
                </a:cubicBezTo>
                <a:cubicBezTo>
                  <a:pt x="612" y="369"/>
                  <a:pt x="612" y="369"/>
                  <a:pt x="612" y="369"/>
                </a:cubicBezTo>
                <a:cubicBezTo>
                  <a:pt x="612" y="369"/>
                  <a:pt x="612" y="369"/>
                  <a:pt x="611" y="369"/>
                </a:cubicBezTo>
                <a:cubicBezTo>
                  <a:pt x="611" y="369"/>
                  <a:pt x="611" y="369"/>
                  <a:pt x="611" y="369"/>
                </a:cubicBezTo>
                <a:cubicBezTo>
                  <a:pt x="611" y="369"/>
                  <a:pt x="611" y="369"/>
                  <a:pt x="610" y="369"/>
                </a:cubicBezTo>
                <a:cubicBezTo>
                  <a:pt x="608" y="371"/>
                  <a:pt x="604" y="371"/>
                  <a:pt x="600" y="371"/>
                </a:cubicBezTo>
                <a:cubicBezTo>
                  <a:pt x="584" y="371"/>
                  <a:pt x="584" y="371"/>
                  <a:pt x="584" y="371"/>
                </a:cubicBezTo>
                <a:cubicBezTo>
                  <a:pt x="580" y="371"/>
                  <a:pt x="577" y="370"/>
                  <a:pt x="574" y="369"/>
                </a:cubicBezTo>
                <a:cubicBezTo>
                  <a:pt x="573" y="368"/>
                  <a:pt x="572" y="367"/>
                  <a:pt x="571" y="367"/>
                </a:cubicBezTo>
                <a:cubicBezTo>
                  <a:pt x="570" y="366"/>
                  <a:pt x="569" y="365"/>
                  <a:pt x="569" y="365"/>
                </a:cubicBezTo>
                <a:cubicBezTo>
                  <a:pt x="568" y="363"/>
                  <a:pt x="568" y="363"/>
                  <a:pt x="568" y="363"/>
                </a:cubicBezTo>
                <a:cubicBezTo>
                  <a:pt x="566" y="360"/>
                  <a:pt x="564" y="357"/>
                  <a:pt x="563" y="354"/>
                </a:cubicBezTo>
                <a:cubicBezTo>
                  <a:pt x="561" y="351"/>
                  <a:pt x="563" y="350"/>
                  <a:pt x="565" y="349"/>
                </a:cubicBezTo>
                <a:cubicBezTo>
                  <a:pt x="565" y="349"/>
                  <a:pt x="566" y="349"/>
                  <a:pt x="566" y="349"/>
                </a:cubicBezTo>
                <a:cubicBezTo>
                  <a:pt x="567" y="348"/>
                  <a:pt x="569" y="348"/>
                  <a:pt x="570" y="348"/>
                </a:cubicBezTo>
                <a:cubicBezTo>
                  <a:pt x="573" y="348"/>
                  <a:pt x="573" y="348"/>
                  <a:pt x="573" y="348"/>
                </a:cubicBezTo>
                <a:cubicBezTo>
                  <a:pt x="573" y="348"/>
                  <a:pt x="573" y="348"/>
                  <a:pt x="573" y="348"/>
                </a:cubicBezTo>
                <a:cubicBezTo>
                  <a:pt x="577" y="348"/>
                  <a:pt x="581" y="348"/>
                  <a:pt x="586" y="348"/>
                </a:cubicBezTo>
                <a:cubicBezTo>
                  <a:pt x="586" y="348"/>
                  <a:pt x="586" y="348"/>
                  <a:pt x="586" y="348"/>
                </a:cubicBezTo>
                <a:cubicBezTo>
                  <a:pt x="590" y="348"/>
                  <a:pt x="590" y="348"/>
                  <a:pt x="590" y="348"/>
                </a:cubicBezTo>
                <a:cubicBezTo>
                  <a:pt x="592" y="348"/>
                  <a:pt x="594" y="348"/>
                  <a:pt x="595" y="348"/>
                </a:cubicBezTo>
                <a:cubicBezTo>
                  <a:pt x="596" y="349"/>
                  <a:pt x="597" y="349"/>
                  <a:pt x="598" y="349"/>
                </a:cubicBezTo>
                <a:cubicBezTo>
                  <a:pt x="598" y="349"/>
                  <a:pt x="598" y="349"/>
                  <a:pt x="598" y="349"/>
                </a:cubicBezTo>
                <a:cubicBezTo>
                  <a:pt x="598" y="350"/>
                  <a:pt x="598" y="350"/>
                  <a:pt x="599" y="350"/>
                </a:cubicBezTo>
                <a:cubicBezTo>
                  <a:pt x="599" y="350"/>
                  <a:pt x="599" y="350"/>
                  <a:pt x="599" y="350"/>
                </a:cubicBezTo>
                <a:cubicBezTo>
                  <a:pt x="600" y="350"/>
                  <a:pt x="602" y="351"/>
                  <a:pt x="603" y="351"/>
                </a:cubicBezTo>
                <a:cubicBezTo>
                  <a:pt x="604" y="352"/>
                  <a:pt x="604" y="353"/>
                  <a:pt x="605" y="354"/>
                </a:cubicBezTo>
                <a:cubicBezTo>
                  <a:pt x="608" y="359"/>
                  <a:pt x="608" y="359"/>
                  <a:pt x="608" y="359"/>
                </a:cubicBezTo>
                <a:cubicBezTo>
                  <a:pt x="609" y="360"/>
                  <a:pt x="611" y="362"/>
                  <a:pt x="612" y="364"/>
                </a:cubicBezTo>
                <a:cubicBezTo>
                  <a:pt x="612" y="364"/>
                  <a:pt x="612" y="364"/>
                  <a:pt x="612" y="364"/>
                </a:cubicBezTo>
                <a:cubicBezTo>
                  <a:pt x="613" y="365"/>
                  <a:pt x="613" y="366"/>
                  <a:pt x="613" y="367"/>
                </a:cubicBezTo>
                <a:close/>
                <a:moveTo>
                  <a:pt x="410" y="363"/>
                </a:moveTo>
                <a:cubicBezTo>
                  <a:pt x="410" y="364"/>
                  <a:pt x="410" y="364"/>
                  <a:pt x="410" y="365"/>
                </a:cubicBezTo>
                <a:cubicBezTo>
                  <a:pt x="406" y="371"/>
                  <a:pt x="392" y="369"/>
                  <a:pt x="386" y="369"/>
                </a:cubicBezTo>
                <a:cubicBezTo>
                  <a:pt x="383" y="369"/>
                  <a:pt x="380" y="369"/>
                  <a:pt x="377" y="369"/>
                </a:cubicBezTo>
                <a:cubicBezTo>
                  <a:pt x="374" y="369"/>
                  <a:pt x="370" y="369"/>
                  <a:pt x="367" y="367"/>
                </a:cubicBezTo>
                <a:cubicBezTo>
                  <a:pt x="367" y="367"/>
                  <a:pt x="367" y="367"/>
                  <a:pt x="367" y="367"/>
                </a:cubicBezTo>
                <a:cubicBezTo>
                  <a:pt x="367" y="366"/>
                  <a:pt x="367" y="366"/>
                  <a:pt x="367" y="366"/>
                </a:cubicBezTo>
                <a:cubicBezTo>
                  <a:pt x="366" y="366"/>
                  <a:pt x="366" y="366"/>
                  <a:pt x="366" y="366"/>
                </a:cubicBezTo>
                <a:cubicBezTo>
                  <a:pt x="366" y="366"/>
                  <a:pt x="366" y="366"/>
                  <a:pt x="366" y="366"/>
                </a:cubicBezTo>
                <a:cubicBezTo>
                  <a:pt x="366" y="366"/>
                  <a:pt x="366" y="366"/>
                  <a:pt x="366" y="366"/>
                </a:cubicBezTo>
                <a:cubicBezTo>
                  <a:pt x="366" y="365"/>
                  <a:pt x="366" y="365"/>
                  <a:pt x="366" y="365"/>
                </a:cubicBezTo>
                <a:cubicBezTo>
                  <a:pt x="366" y="364"/>
                  <a:pt x="366" y="364"/>
                  <a:pt x="366" y="363"/>
                </a:cubicBezTo>
                <a:cubicBezTo>
                  <a:pt x="366" y="363"/>
                  <a:pt x="366" y="363"/>
                  <a:pt x="366" y="363"/>
                </a:cubicBezTo>
                <a:cubicBezTo>
                  <a:pt x="366" y="362"/>
                  <a:pt x="366" y="361"/>
                  <a:pt x="366" y="361"/>
                </a:cubicBezTo>
                <a:cubicBezTo>
                  <a:pt x="366" y="360"/>
                  <a:pt x="366" y="360"/>
                  <a:pt x="366" y="360"/>
                </a:cubicBezTo>
                <a:cubicBezTo>
                  <a:pt x="366" y="358"/>
                  <a:pt x="366" y="355"/>
                  <a:pt x="367" y="353"/>
                </a:cubicBezTo>
                <a:cubicBezTo>
                  <a:pt x="367" y="352"/>
                  <a:pt x="367" y="352"/>
                  <a:pt x="367" y="352"/>
                </a:cubicBezTo>
                <a:cubicBezTo>
                  <a:pt x="367" y="352"/>
                  <a:pt x="367" y="351"/>
                  <a:pt x="368" y="350"/>
                </a:cubicBezTo>
                <a:cubicBezTo>
                  <a:pt x="369" y="350"/>
                  <a:pt x="369" y="349"/>
                  <a:pt x="370" y="349"/>
                </a:cubicBezTo>
                <a:cubicBezTo>
                  <a:pt x="370" y="349"/>
                  <a:pt x="370" y="349"/>
                  <a:pt x="370" y="349"/>
                </a:cubicBezTo>
                <a:cubicBezTo>
                  <a:pt x="370" y="349"/>
                  <a:pt x="370" y="348"/>
                  <a:pt x="370" y="348"/>
                </a:cubicBezTo>
                <a:cubicBezTo>
                  <a:pt x="370" y="348"/>
                  <a:pt x="371" y="348"/>
                  <a:pt x="371" y="348"/>
                </a:cubicBezTo>
                <a:cubicBezTo>
                  <a:pt x="371" y="348"/>
                  <a:pt x="371" y="348"/>
                  <a:pt x="371" y="348"/>
                </a:cubicBezTo>
                <a:cubicBezTo>
                  <a:pt x="371" y="348"/>
                  <a:pt x="372" y="348"/>
                  <a:pt x="372" y="348"/>
                </a:cubicBezTo>
                <a:cubicBezTo>
                  <a:pt x="372" y="348"/>
                  <a:pt x="372" y="348"/>
                  <a:pt x="373" y="348"/>
                </a:cubicBezTo>
                <a:cubicBezTo>
                  <a:pt x="373" y="347"/>
                  <a:pt x="373" y="347"/>
                  <a:pt x="374" y="347"/>
                </a:cubicBezTo>
                <a:cubicBezTo>
                  <a:pt x="374" y="347"/>
                  <a:pt x="374" y="347"/>
                  <a:pt x="374" y="347"/>
                </a:cubicBezTo>
                <a:cubicBezTo>
                  <a:pt x="374" y="347"/>
                  <a:pt x="374" y="347"/>
                  <a:pt x="374" y="347"/>
                </a:cubicBezTo>
                <a:cubicBezTo>
                  <a:pt x="375" y="347"/>
                  <a:pt x="375" y="347"/>
                  <a:pt x="375" y="347"/>
                </a:cubicBezTo>
                <a:cubicBezTo>
                  <a:pt x="376" y="347"/>
                  <a:pt x="377" y="347"/>
                  <a:pt x="378" y="347"/>
                </a:cubicBezTo>
                <a:cubicBezTo>
                  <a:pt x="379" y="347"/>
                  <a:pt x="379" y="347"/>
                  <a:pt x="379" y="347"/>
                </a:cubicBezTo>
                <a:cubicBezTo>
                  <a:pt x="380" y="347"/>
                  <a:pt x="382" y="347"/>
                  <a:pt x="383" y="347"/>
                </a:cubicBezTo>
                <a:cubicBezTo>
                  <a:pt x="399" y="347"/>
                  <a:pt x="399" y="347"/>
                  <a:pt x="399" y="347"/>
                </a:cubicBezTo>
                <a:cubicBezTo>
                  <a:pt x="399" y="347"/>
                  <a:pt x="399" y="347"/>
                  <a:pt x="400" y="347"/>
                </a:cubicBezTo>
                <a:cubicBezTo>
                  <a:pt x="400" y="347"/>
                  <a:pt x="400" y="347"/>
                  <a:pt x="400" y="347"/>
                </a:cubicBezTo>
                <a:cubicBezTo>
                  <a:pt x="401" y="347"/>
                  <a:pt x="401" y="347"/>
                  <a:pt x="402" y="347"/>
                </a:cubicBezTo>
                <a:cubicBezTo>
                  <a:pt x="405" y="347"/>
                  <a:pt x="408" y="348"/>
                  <a:pt x="409" y="351"/>
                </a:cubicBezTo>
                <a:cubicBezTo>
                  <a:pt x="410" y="351"/>
                  <a:pt x="410" y="351"/>
                  <a:pt x="410" y="351"/>
                </a:cubicBezTo>
                <a:cubicBezTo>
                  <a:pt x="410" y="351"/>
                  <a:pt x="410" y="351"/>
                  <a:pt x="410" y="351"/>
                </a:cubicBezTo>
                <a:cubicBezTo>
                  <a:pt x="411" y="355"/>
                  <a:pt x="410" y="359"/>
                  <a:pt x="410" y="362"/>
                </a:cubicBezTo>
                <a:cubicBezTo>
                  <a:pt x="410" y="363"/>
                  <a:pt x="410" y="363"/>
                  <a:pt x="410" y="363"/>
                </a:cubicBezTo>
                <a:cubicBezTo>
                  <a:pt x="410" y="363"/>
                  <a:pt x="410" y="363"/>
                  <a:pt x="410" y="363"/>
                </a:cubicBezTo>
                <a:close/>
                <a:moveTo>
                  <a:pt x="387" y="381"/>
                </a:moveTo>
                <a:cubicBezTo>
                  <a:pt x="393" y="381"/>
                  <a:pt x="407" y="380"/>
                  <a:pt x="410" y="386"/>
                </a:cubicBezTo>
                <a:cubicBezTo>
                  <a:pt x="410" y="387"/>
                  <a:pt x="411" y="387"/>
                  <a:pt x="411" y="388"/>
                </a:cubicBezTo>
                <a:cubicBezTo>
                  <a:pt x="411" y="395"/>
                  <a:pt x="411" y="395"/>
                  <a:pt x="411" y="395"/>
                </a:cubicBezTo>
                <a:cubicBezTo>
                  <a:pt x="411" y="397"/>
                  <a:pt x="411" y="399"/>
                  <a:pt x="411" y="401"/>
                </a:cubicBezTo>
                <a:cubicBezTo>
                  <a:pt x="411" y="401"/>
                  <a:pt x="411" y="401"/>
                  <a:pt x="411" y="401"/>
                </a:cubicBezTo>
                <a:cubicBezTo>
                  <a:pt x="411" y="402"/>
                  <a:pt x="411" y="402"/>
                  <a:pt x="411" y="402"/>
                </a:cubicBezTo>
                <a:cubicBezTo>
                  <a:pt x="411" y="402"/>
                  <a:pt x="410" y="404"/>
                  <a:pt x="410" y="404"/>
                </a:cubicBezTo>
                <a:cubicBezTo>
                  <a:pt x="409" y="405"/>
                  <a:pt x="409" y="405"/>
                  <a:pt x="409" y="405"/>
                </a:cubicBezTo>
                <a:cubicBezTo>
                  <a:pt x="409" y="405"/>
                  <a:pt x="409" y="405"/>
                  <a:pt x="409" y="406"/>
                </a:cubicBezTo>
                <a:cubicBezTo>
                  <a:pt x="409" y="406"/>
                  <a:pt x="409" y="406"/>
                  <a:pt x="409" y="406"/>
                </a:cubicBezTo>
                <a:cubicBezTo>
                  <a:pt x="407" y="407"/>
                  <a:pt x="405" y="408"/>
                  <a:pt x="403" y="409"/>
                </a:cubicBezTo>
                <a:cubicBezTo>
                  <a:pt x="403" y="409"/>
                  <a:pt x="403" y="409"/>
                  <a:pt x="403" y="409"/>
                </a:cubicBezTo>
                <a:cubicBezTo>
                  <a:pt x="403" y="409"/>
                  <a:pt x="403" y="409"/>
                  <a:pt x="403" y="409"/>
                </a:cubicBezTo>
                <a:cubicBezTo>
                  <a:pt x="402" y="409"/>
                  <a:pt x="401" y="409"/>
                  <a:pt x="401" y="409"/>
                </a:cubicBezTo>
                <a:cubicBezTo>
                  <a:pt x="400" y="409"/>
                  <a:pt x="400" y="409"/>
                  <a:pt x="400" y="409"/>
                </a:cubicBezTo>
                <a:cubicBezTo>
                  <a:pt x="399" y="409"/>
                  <a:pt x="398" y="409"/>
                  <a:pt x="398" y="409"/>
                </a:cubicBezTo>
                <a:cubicBezTo>
                  <a:pt x="398" y="409"/>
                  <a:pt x="398" y="409"/>
                  <a:pt x="398" y="409"/>
                </a:cubicBezTo>
                <a:cubicBezTo>
                  <a:pt x="373" y="409"/>
                  <a:pt x="373" y="409"/>
                  <a:pt x="373" y="409"/>
                </a:cubicBezTo>
                <a:cubicBezTo>
                  <a:pt x="371" y="409"/>
                  <a:pt x="367" y="409"/>
                  <a:pt x="364" y="407"/>
                </a:cubicBezTo>
                <a:cubicBezTo>
                  <a:pt x="364" y="407"/>
                  <a:pt x="364" y="407"/>
                  <a:pt x="364" y="407"/>
                </a:cubicBezTo>
                <a:cubicBezTo>
                  <a:pt x="364" y="407"/>
                  <a:pt x="364" y="407"/>
                  <a:pt x="364" y="407"/>
                </a:cubicBezTo>
                <a:cubicBezTo>
                  <a:pt x="364" y="407"/>
                  <a:pt x="364" y="406"/>
                  <a:pt x="363" y="406"/>
                </a:cubicBezTo>
                <a:cubicBezTo>
                  <a:pt x="363" y="406"/>
                  <a:pt x="362" y="405"/>
                  <a:pt x="362" y="405"/>
                </a:cubicBezTo>
                <a:cubicBezTo>
                  <a:pt x="362" y="405"/>
                  <a:pt x="362" y="405"/>
                  <a:pt x="362" y="404"/>
                </a:cubicBezTo>
                <a:cubicBezTo>
                  <a:pt x="362" y="404"/>
                  <a:pt x="361" y="403"/>
                  <a:pt x="361" y="402"/>
                </a:cubicBezTo>
                <a:cubicBezTo>
                  <a:pt x="362" y="400"/>
                  <a:pt x="362" y="400"/>
                  <a:pt x="362" y="400"/>
                </a:cubicBezTo>
                <a:cubicBezTo>
                  <a:pt x="362" y="400"/>
                  <a:pt x="362" y="400"/>
                  <a:pt x="362" y="400"/>
                </a:cubicBezTo>
                <a:cubicBezTo>
                  <a:pt x="362" y="396"/>
                  <a:pt x="362" y="392"/>
                  <a:pt x="363" y="388"/>
                </a:cubicBezTo>
                <a:cubicBezTo>
                  <a:pt x="363" y="388"/>
                  <a:pt x="363" y="388"/>
                  <a:pt x="363" y="388"/>
                </a:cubicBezTo>
                <a:cubicBezTo>
                  <a:pt x="363" y="388"/>
                  <a:pt x="363" y="388"/>
                  <a:pt x="363" y="388"/>
                </a:cubicBezTo>
                <a:cubicBezTo>
                  <a:pt x="364" y="379"/>
                  <a:pt x="381" y="381"/>
                  <a:pt x="387" y="381"/>
                </a:cubicBezTo>
                <a:close/>
                <a:moveTo>
                  <a:pt x="289" y="407"/>
                </a:moveTo>
                <a:cubicBezTo>
                  <a:pt x="289" y="407"/>
                  <a:pt x="289" y="407"/>
                  <a:pt x="288" y="406"/>
                </a:cubicBezTo>
                <a:cubicBezTo>
                  <a:pt x="288" y="406"/>
                  <a:pt x="288" y="405"/>
                  <a:pt x="287" y="405"/>
                </a:cubicBezTo>
                <a:cubicBezTo>
                  <a:pt x="287" y="405"/>
                  <a:pt x="287" y="405"/>
                  <a:pt x="287" y="405"/>
                </a:cubicBezTo>
                <a:cubicBezTo>
                  <a:pt x="287" y="404"/>
                  <a:pt x="287" y="403"/>
                  <a:pt x="287" y="402"/>
                </a:cubicBezTo>
                <a:cubicBezTo>
                  <a:pt x="288" y="400"/>
                  <a:pt x="288" y="400"/>
                  <a:pt x="288" y="400"/>
                </a:cubicBezTo>
                <a:cubicBezTo>
                  <a:pt x="288" y="400"/>
                  <a:pt x="288" y="400"/>
                  <a:pt x="288" y="400"/>
                </a:cubicBezTo>
                <a:cubicBezTo>
                  <a:pt x="288" y="400"/>
                  <a:pt x="288" y="399"/>
                  <a:pt x="288" y="399"/>
                </a:cubicBezTo>
                <a:cubicBezTo>
                  <a:pt x="291" y="388"/>
                  <a:pt x="291" y="388"/>
                  <a:pt x="291" y="388"/>
                </a:cubicBezTo>
                <a:cubicBezTo>
                  <a:pt x="291" y="388"/>
                  <a:pt x="291" y="388"/>
                  <a:pt x="292" y="388"/>
                </a:cubicBezTo>
                <a:cubicBezTo>
                  <a:pt x="295" y="380"/>
                  <a:pt x="310" y="381"/>
                  <a:pt x="317" y="381"/>
                </a:cubicBezTo>
                <a:cubicBezTo>
                  <a:pt x="320" y="381"/>
                  <a:pt x="325" y="381"/>
                  <a:pt x="330" y="381"/>
                </a:cubicBezTo>
                <a:cubicBezTo>
                  <a:pt x="331" y="382"/>
                  <a:pt x="332" y="382"/>
                  <a:pt x="333" y="382"/>
                </a:cubicBezTo>
                <a:cubicBezTo>
                  <a:pt x="333" y="382"/>
                  <a:pt x="333" y="382"/>
                  <a:pt x="333" y="382"/>
                </a:cubicBezTo>
                <a:cubicBezTo>
                  <a:pt x="335" y="383"/>
                  <a:pt x="337" y="384"/>
                  <a:pt x="338" y="385"/>
                </a:cubicBezTo>
                <a:cubicBezTo>
                  <a:pt x="338" y="385"/>
                  <a:pt x="338" y="385"/>
                  <a:pt x="338" y="385"/>
                </a:cubicBezTo>
                <a:cubicBezTo>
                  <a:pt x="338" y="386"/>
                  <a:pt x="338" y="386"/>
                  <a:pt x="338" y="386"/>
                </a:cubicBezTo>
                <a:cubicBezTo>
                  <a:pt x="338" y="386"/>
                  <a:pt x="338" y="386"/>
                  <a:pt x="338" y="386"/>
                </a:cubicBezTo>
                <a:cubicBezTo>
                  <a:pt x="339" y="387"/>
                  <a:pt x="339" y="388"/>
                  <a:pt x="339" y="388"/>
                </a:cubicBezTo>
                <a:cubicBezTo>
                  <a:pt x="339" y="389"/>
                  <a:pt x="339" y="389"/>
                  <a:pt x="339" y="389"/>
                </a:cubicBezTo>
                <a:cubicBezTo>
                  <a:pt x="339" y="389"/>
                  <a:pt x="339" y="389"/>
                  <a:pt x="339" y="389"/>
                </a:cubicBezTo>
                <a:cubicBezTo>
                  <a:pt x="338" y="391"/>
                  <a:pt x="338" y="393"/>
                  <a:pt x="338" y="395"/>
                </a:cubicBezTo>
                <a:cubicBezTo>
                  <a:pt x="336" y="402"/>
                  <a:pt x="336" y="402"/>
                  <a:pt x="336" y="402"/>
                </a:cubicBezTo>
                <a:cubicBezTo>
                  <a:pt x="336" y="403"/>
                  <a:pt x="336" y="404"/>
                  <a:pt x="335" y="404"/>
                </a:cubicBezTo>
                <a:cubicBezTo>
                  <a:pt x="335" y="405"/>
                  <a:pt x="335" y="405"/>
                  <a:pt x="335" y="405"/>
                </a:cubicBezTo>
                <a:cubicBezTo>
                  <a:pt x="335" y="405"/>
                  <a:pt x="334" y="405"/>
                  <a:pt x="334" y="405"/>
                </a:cubicBezTo>
                <a:cubicBezTo>
                  <a:pt x="334" y="405"/>
                  <a:pt x="334" y="406"/>
                  <a:pt x="334" y="406"/>
                </a:cubicBezTo>
                <a:cubicBezTo>
                  <a:pt x="332" y="407"/>
                  <a:pt x="329" y="408"/>
                  <a:pt x="327" y="409"/>
                </a:cubicBezTo>
                <a:cubicBezTo>
                  <a:pt x="327" y="409"/>
                  <a:pt x="327" y="409"/>
                  <a:pt x="327" y="409"/>
                </a:cubicBezTo>
                <a:cubicBezTo>
                  <a:pt x="327" y="409"/>
                  <a:pt x="327" y="409"/>
                  <a:pt x="327" y="409"/>
                </a:cubicBezTo>
                <a:cubicBezTo>
                  <a:pt x="327" y="409"/>
                  <a:pt x="326" y="409"/>
                  <a:pt x="325" y="409"/>
                </a:cubicBezTo>
                <a:cubicBezTo>
                  <a:pt x="325" y="409"/>
                  <a:pt x="325" y="409"/>
                  <a:pt x="324" y="409"/>
                </a:cubicBezTo>
                <a:cubicBezTo>
                  <a:pt x="324" y="409"/>
                  <a:pt x="323" y="409"/>
                  <a:pt x="322" y="409"/>
                </a:cubicBezTo>
                <a:cubicBezTo>
                  <a:pt x="322" y="409"/>
                  <a:pt x="322" y="409"/>
                  <a:pt x="322" y="409"/>
                </a:cubicBezTo>
                <a:cubicBezTo>
                  <a:pt x="298" y="409"/>
                  <a:pt x="298" y="409"/>
                  <a:pt x="298" y="409"/>
                </a:cubicBezTo>
                <a:cubicBezTo>
                  <a:pt x="295" y="409"/>
                  <a:pt x="292" y="409"/>
                  <a:pt x="289" y="407"/>
                </a:cubicBezTo>
                <a:cubicBezTo>
                  <a:pt x="289" y="407"/>
                  <a:pt x="289" y="407"/>
                  <a:pt x="289" y="407"/>
                </a:cubicBezTo>
                <a:close/>
                <a:moveTo>
                  <a:pt x="320" y="369"/>
                </a:moveTo>
                <a:cubicBezTo>
                  <a:pt x="316" y="369"/>
                  <a:pt x="312" y="369"/>
                  <a:pt x="309" y="369"/>
                </a:cubicBezTo>
                <a:cubicBezTo>
                  <a:pt x="306" y="369"/>
                  <a:pt x="301" y="369"/>
                  <a:pt x="299" y="366"/>
                </a:cubicBezTo>
                <a:cubicBezTo>
                  <a:pt x="299" y="365"/>
                  <a:pt x="299" y="365"/>
                  <a:pt x="299" y="365"/>
                </a:cubicBezTo>
                <a:cubicBezTo>
                  <a:pt x="299" y="365"/>
                  <a:pt x="299" y="364"/>
                  <a:pt x="299" y="364"/>
                </a:cubicBezTo>
                <a:cubicBezTo>
                  <a:pt x="299" y="364"/>
                  <a:pt x="299" y="364"/>
                  <a:pt x="299" y="363"/>
                </a:cubicBezTo>
                <a:cubicBezTo>
                  <a:pt x="299" y="363"/>
                  <a:pt x="299" y="363"/>
                  <a:pt x="299" y="363"/>
                </a:cubicBezTo>
                <a:cubicBezTo>
                  <a:pt x="299" y="363"/>
                  <a:pt x="299" y="363"/>
                  <a:pt x="299" y="363"/>
                </a:cubicBezTo>
                <a:cubicBezTo>
                  <a:pt x="299" y="362"/>
                  <a:pt x="299" y="361"/>
                  <a:pt x="300" y="361"/>
                </a:cubicBezTo>
                <a:cubicBezTo>
                  <a:pt x="300" y="358"/>
                  <a:pt x="301" y="355"/>
                  <a:pt x="302" y="353"/>
                </a:cubicBezTo>
                <a:cubicBezTo>
                  <a:pt x="302" y="353"/>
                  <a:pt x="302" y="353"/>
                  <a:pt x="302" y="353"/>
                </a:cubicBezTo>
                <a:cubicBezTo>
                  <a:pt x="302" y="352"/>
                  <a:pt x="303" y="351"/>
                  <a:pt x="303" y="350"/>
                </a:cubicBezTo>
                <a:cubicBezTo>
                  <a:pt x="304" y="350"/>
                  <a:pt x="304" y="350"/>
                  <a:pt x="305" y="349"/>
                </a:cubicBezTo>
                <a:cubicBezTo>
                  <a:pt x="306" y="348"/>
                  <a:pt x="308" y="348"/>
                  <a:pt x="310" y="347"/>
                </a:cubicBezTo>
                <a:cubicBezTo>
                  <a:pt x="310" y="347"/>
                  <a:pt x="310" y="347"/>
                  <a:pt x="310" y="347"/>
                </a:cubicBezTo>
                <a:cubicBezTo>
                  <a:pt x="312" y="347"/>
                  <a:pt x="313" y="347"/>
                  <a:pt x="315" y="347"/>
                </a:cubicBezTo>
                <a:cubicBezTo>
                  <a:pt x="317" y="347"/>
                  <a:pt x="317" y="347"/>
                  <a:pt x="317" y="347"/>
                </a:cubicBezTo>
                <a:cubicBezTo>
                  <a:pt x="317" y="347"/>
                  <a:pt x="318" y="347"/>
                  <a:pt x="319" y="347"/>
                </a:cubicBezTo>
                <a:cubicBezTo>
                  <a:pt x="323" y="347"/>
                  <a:pt x="328" y="347"/>
                  <a:pt x="332" y="347"/>
                </a:cubicBezTo>
                <a:cubicBezTo>
                  <a:pt x="333" y="347"/>
                  <a:pt x="334" y="347"/>
                  <a:pt x="334" y="347"/>
                </a:cubicBezTo>
                <a:cubicBezTo>
                  <a:pt x="335" y="347"/>
                  <a:pt x="335" y="347"/>
                  <a:pt x="335" y="347"/>
                </a:cubicBezTo>
                <a:cubicBezTo>
                  <a:pt x="335" y="347"/>
                  <a:pt x="335" y="347"/>
                  <a:pt x="336" y="347"/>
                </a:cubicBezTo>
                <a:cubicBezTo>
                  <a:pt x="336" y="347"/>
                  <a:pt x="337" y="347"/>
                  <a:pt x="337" y="347"/>
                </a:cubicBezTo>
                <a:cubicBezTo>
                  <a:pt x="337" y="347"/>
                  <a:pt x="337" y="347"/>
                  <a:pt x="337" y="347"/>
                </a:cubicBezTo>
                <a:cubicBezTo>
                  <a:pt x="341" y="347"/>
                  <a:pt x="345" y="348"/>
                  <a:pt x="345" y="351"/>
                </a:cubicBezTo>
                <a:cubicBezTo>
                  <a:pt x="345" y="351"/>
                  <a:pt x="345" y="351"/>
                  <a:pt x="345" y="351"/>
                </a:cubicBezTo>
                <a:cubicBezTo>
                  <a:pt x="345" y="351"/>
                  <a:pt x="345" y="351"/>
                  <a:pt x="345" y="352"/>
                </a:cubicBezTo>
                <a:cubicBezTo>
                  <a:pt x="345" y="355"/>
                  <a:pt x="344" y="359"/>
                  <a:pt x="343" y="362"/>
                </a:cubicBezTo>
                <a:cubicBezTo>
                  <a:pt x="343" y="362"/>
                  <a:pt x="343" y="362"/>
                  <a:pt x="343" y="362"/>
                </a:cubicBezTo>
                <a:cubicBezTo>
                  <a:pt x="343" y="363"/>
                  <a:pt x="343" y="363"/>
                  <a:pt x="343" y="363"/>
                </a:cubicBezTo>
                <a:cubicBezTo>
                  <a:pt x="343" y="364"/>
                  <a:pt x="343" y="364"/>
                  <a:pt x="342" y="365"/>
                </a:cubicBezTo>
                <a:cubicBezTo>
                  <a:pt x="342" y="365"/>
                  <a:pt x="342" y="365"/>
                  <a:pt x="342" y="366"/>
                </a:cubicBezTo>
                <a:cubicBezTo>
                  <a:pt x="342" y="366"/>
                  <a:pt x="342" y="366"/>
                  <a:pt x="342" y="366"/>
                </a:cubicBezTo>
                <a:cubicBezTo>
                  <a:pt x="342" y="366"/>
                  <a:pt x="342" y="366"/>
                  <a:pt x="342" y="366"/>
                </a:cubicBezTo>
                <a:cubicBezTo>
                  <a:pt x="337" y="371"/>
                  <a:pt x="325" y="369"/>
                  <a:pt x="320" y="369"/>
                </a:cubicBezTo>
                <a:close/>
                <a:moveTo>
                  <a:pt x="212" y="404"/>
                </a:moveTo>
                <a:cubicBezTo>
                  <a:pt x="212" y="404"/>
                  <a:pt x="212" y="403"/>
                  <a:pt x="212" y="403"/>
                </a:cubicBezTo>
                <a:cubicBezTo>
                  <a:pt x="213" y="403"/>
                  <a:pt x="213" y="402"/>
                  <a:pt x="213" y="402"/>
                </a:cubicBezTo>
                <a:cubicBezTo>
                  <a:pt x="213" y="402"/>
                  <a:pt x="213" y="402"/>
                  <a:pt x="213" y="402"/>
                </a:cubicBezTo>
                <a:cubicBezTo>
                  <a:pt x="213" y="402"/>
                  <a:pt x="213" y="402"/>
                  <a:pt x="213" y="402"/>
                </a:cubicBezTo>
                <a:cubicBezTo>
                  <a:pt x="213" y="401"/>
                  <a:pt x="214" y="401"/>
                  <a:pt x="214" y="400"/>
                </a:cubicBezTo>
                <a:cubicBezTo>
                  <a:pt x="216" y="396"/>
                  <a:pt x="217" y="393"/>
                  <a:pt x="219" y="389"/>
                </a:cubicBezTo>
                <a:cubicBezTo>
                  <a:pt x="219" y="389"/>
                  <a:pt x="219" y="389"/>
                  <a:pt x="219" y="389"/>
                </a:cubicBezTo>
                <a:cubicBezTo>
                  <a:pt x="219" y="389"/>
                  <a:pt x="219" y="389"/>
                  <a:pt x="219" y="389"/>
                </a:cubicBezTo>
                <a:cubicBezTo>
                  <a:pt x="220" y="388"/>
                  <a:pt x="220" y="388"/>
                  <a:pt x="220" y="388"/>
                </a:cubicBezTo>
                <a:cubicBezTo>
                  <a:pt x="220" y="388"/>
                  <a:pt x="220" y="388"/>
                  <a:pt x="220" y="387"/>
                </a:cubicBezTo>
                <a:cubicBezTo>
                  <a:pt x="220" y="387"/>
                  <a:pt x="220" y="387"/>
                  <a:pt x="221" y="387"/>
                </a:cubicBezTo>
                <a:cubicBezTo>
                  <a:pt x="226" y="380"/>
                  <a:pt x="238" y="382"/>
                  <a:pt x="245" y="382"/>
                </a:cubicBezTo>
                <a:cubicBezTo>
                  <a:pt x="245" y="382"/>
                  <a:pt x="245" y="382"/>
                  <a:pt x="245" y="382"/>
                </a:cubicBezTo>
                <a:cubicBezTo>
                  <a:pt x="247" y="382"/>
                  <a:pt x="253" y="381"/>
                  <a:pt x="258" y="382"/>
                </a:cubicBezTo>
                <a:cubicBezTo>
                  <a:pt x="259" y="382"/>
                  <a:pt x="261" y="382"/>
                  <a:pt x="262" y="382"/>
                </a:cubicBezTo>
                <a:cubicBezTo>
                  <a:pt x="263" y="382"/>
                  <a:pt x="264" y="383"/>
                  <a:pt x="264" y="383"/>
                </a:cubicBezTo>
                <a:cubicBezTo>
                  <a:pt x="266" y="384"/>
                  <a:pt x="267" y="385"/>
                  <a:pt x="267" y="387"/>
                </a:cubicBezTo>
                <a:cubicBezTo>
                  <a:pt x="267" y="387"/>
                  <a:pt x="267" y="387"/>
                  <a:pt x="267" y="387"/>
                </a:cubicBezTo>
                <a:cubicBezTo>
                  <a:pt x="267" y="387"/>
                  <a:pt x="267" y="387"/>
                  <a:pt x="267" y="388"/>
                </a:cubicBezTo>
                <a:cubicBezTo>
                  <a:pt x="267" y="388"/>
                  <a:pt x="267" y="388"/>
                  <a:pt x="267" y="388"/>
                </a:cubicBezTo>
                <a:cubicBezTo>
                  <a:pt x="262" y="402"/>
                  <a:pt x="262" y="402"/>
                  <a:pt x="262" y="402"/>
                </a:cubicBezTo>
                <a:cubicBezTo>
                  <a:pt x="262" y="403"/>
                  <a:pt x="261" y="404"/>
                  <a:pt x="260" y="405"/>
                </a:cubicBezTo>
                <a:cubicBezTo>
                  <a:pt x="259" y="406"/>
                  <a:pt x="258" y="407"/>
                  <a:pt x="256" y="407"/>
                </a:cubicBezTo>
                <a:cubicBezTo>
                  <a:pt x="256" y="407"/>
                  <a:pt x="256" y="407"/>
                  <a:pt x="256" y="407"/>
                </a:cubicBezTo>
                <a:cubicBezTo>
                  <a:pt x="254" y="408"/>
                  <a:pt x="252" y="409"/>
                  <a:pt x="250" y="409"/>
                </a:cubicBezTo>
                <a:cubicBezTo>
                  <a:pt x="249" y="409"/>
                  <a:pt x="249" y="409"/>
                  <a:pt x="249" y="409"/>
                </a:cubicBezTo>
                <a:cubicBezTo>
                  <a:pt x="249" y="409"/>
                  <a:pt x="249" y="409"/>
                  <a:pt x="248" y="409"/>
                </a:cubicBezTo>
                <a:cubicBezTo>
                  <a:pt x="244" y="410"/>
                  <a:pt x="240" y="409"/>
                  <a:pt x="235" y="409"/>
                </a:cubicBezTo>
                <a:cubicBezTo>
                  <a:pt x="231" y="409"/>
                  <a:pt x="227" y="410"/>
                  <a:pt x="222" y="410"/>
                </a:cubicBezTo>
                <a:cubicBezTo>
                  <a:pt x="219" y="410"/>
                  <a:pt x="215" y="409"/>
                  <a:pt x="213" y="406"/>
                </a:cubicBezTo>
                <a:cubicBezTo>
                  <a:pt x="213" y="406"/>
                  <a:pt x="213" y="406"/>
                  <a:pt x="213" y="406"/>
                </a:cubicBezTo>
                <a:cubicBezTo>
                  <a:pt x="213" y="406"/>
                  <a:pt x="213" y="406"/>
                  <a:pt x="213" y="406"/>
                </a:cubicBezTo>
                <a:cubicBezTo>
                  <a:pt x="213" y="405"/>
                  <a:pt x="213" y="405"/>
                  <a:pt x="212" y="405"/>
                </a:cubicBezTo>
                <a:cubicBezTo>
                  <a:pt x="212" y="405"/>
                  <a:pt x="212" y="405"/>
                  <a:pt x="212" y="405"/>
                </a:cubicBezTo>
                <a:cubicBezTo>
                  <a:pt x="212" y="405"/>
                  <a:pt x="212" y="405"/>
                  <a:pt x="212" y="405"/>
                </a:cubicBezTo>
                <a:cubicBezTo>
                  <a:pt x="212" y="404"/>
                  <a:pt x="212" y="404"/>
                  <a:pt x="212" y="404"/>
                </a:cubicBezTo>
                <a:close/>
                <a:moveTo>
                  <a:pt x="212" y="359"/>
                </a:moveTo>
                <a:cubicBezTo>
                  <a:pt x="212" y="359"/>
                  <a:pt x="212" y="359"/>
                  <a:pt x="212" y="359"/>
                </a:cubicBezTo>
                <a:cubicBezTo>
                  <a:pt x="209" y="364"/>
                  <a:pt x="209" y="364"/>
                  <a:pt x="209" y="364"/>
                </a:cubicBezTo>
                <a:cubicBezTo>
                  <a:pt x="209" y="364"/>
                  <a:pt x="208" y="365"/>
                  <a:pt x="207" y="366"/>
                </a:cubicBezTo>
                <a:cubicBezTo>
                  <a:pt x="206" y="367"/>
                  <a:pt x="205" y="367"/>
                  <a:pt x="203" y="368"/>
                </a:cubicBezTo>
                <a:cubicBezTo>
                  <a:pt x="203" y="368"/>
                  <a:pt x="203" y="368"/>
                  <a:pt x="202" y="368"/>
                </a:cubicBezTo>
                <a:cubicBezTo>
                  <a:pt x="202" y="369"/>
                  <a:pt x="202" y="369"/>
                  <a:pt x="202" y="369"/>
                </a:cubicBezTo>
                <a:cubicBezTo>
                  <a:pt x="202" y="369"/>
                  <a:pt x="202" y="369"/>
                  <a:pt x="202" y="369"/>
                </a:cubicBezTo>
                <a:cubicBezTo>
                  <a:pt x="201" y="369"/>
                  <a:pt x="200" y="369"/>
                  <a:pt x="199" y="369"/>
                </a:cubicBezTo>
                <a:cubicBezTo>
                  <a:pt x="197" y="370"/>
                  <a:pt x="196" y="370"/>
                  <a:pt x="194" y="370"/>
                </a:cubicBezTo>
                <a:cubicBezTo>
                  <a:pt x="189" y="370"/>
                  <a:pt x="189" y="370"/>
                  <a:pt x="189" y="370"/>
                </a:cubicBezTo>
                <a:cubicBezTo>
                  <a:pt x="189" y="370"/>
                  <a:pt x="189" y="370"/>
                  <a:pt x="189" y="370"/>
                </a:cubicBezTo>
                <a:cubicBezTo>
                  <a:pt x="184" y="370"/>
                  <a:pt x="178" y="370"/>
                  <a:pt x="172" y="370"/>
                </a:cubicBezTo>
                <a:cubicBezTo>
                  <a:pt x="170" y="370"/>
                  <a:pt x="165" y="369"/>
                  <a:pt x="164" y="366"/>
                </a:cubicBezTo>
                <a:cubicBezTo>
                  <a:pt x="164" y="366"/>
                  <a:pt x="164" y="365"/>
                  <a:pt x="164" y="365"/>
                </a:cubicBezTo>
                <a:cubicBezTo>
                  <a:pt x="165" y="364"/>
                  <a:pt x="166" y="362"/>
                  <a:pt x="166" y="362"/>
                </a:cubicBezTo>
                <a:cubicBezTo>
                  <a:pt x="168" y="358"/>
                  <a:pt x="170" y="355"/>
                  <a:pt x="173" y="352"/>
                </a:cubicBezTo>
                <a:cubicBezTo>
                  <a:pt x="173" y="352"/>
                  <a:pt x="173" y="352"/>
                  <a:pt x="173" y="352"/>
                </a:cubicBezTo>
                <a:cubicBezTo>
                  <a:pt x="173" y="352"/>
                  <a:pt x="173" y="352"/>
                  <a:pt x="173" y="352"/>
                </a:cubicBezTo>
                <a:cubicBezTo>
                  <a:pt x="180" y="345"/>
                  <a:pt x="193" y="347"/>
                  <a:pt x="201" y="347"/>
                </a:cubicBezTo>
                <a:cubicBezTo>
                  <a:pt x="205" y="347"/>
                  <a:pt x="210" y="346"/>
                  <a:pt x="213" y="348"/>
                </a:cubicBezTo>
                <a:cubicBezTo>
                  <a:pt x="213" y="348"/>
                  <a:pt x="213" y="348"/>
                  <a:pt x="213" y="348"/>
                </a:cubicBezTo>
                <a:cubicBezTo>
                  <a:pt x="214" y="348"/>
                  <a:pt x="214" y="348"/>
                  <a:pt x="214" y="348"/>
                </a:cubicBezTo>
                <a:cubicBezTo>
                  <a:pt x="214" y="348"/>
                  <a:pt x="214" y="349"/>
                  <a:pt x="214" y="349"/>
                </a:cubicBezTo>
                <a:cubicBezTo>
                  <a:pt x="215" y="349"/>
                  <a:pt x="216" y="350"/>
                  <a:pt x="216" y="350"/>
                </a:cubicBezTo>
                <a:cubicBezTo>
                  <a:pt x="216" y="351"/>
                  <a:pt x="216" y="352"/>
                  <a:pt x="215" y="353"/>
                </a:cubicBezTo>
                <a:cubicBezTo>
                  <a:pt x="215" y="353"/>
                  <a:pt x="215" y="353"/>
                  <a:pt x="215" y="353"/>
                </a:cubicBezTo>
                <a:cubicBezTo>
                  <a:pt x="214" y="355"/>
                  <a:pt x="213" y="357"/>
                  <a:pt x="212" y="359"/>
                </a:cubicBezTo>
                <a:close/>
                <a:moveTo>
                  <a:pt x="266" y="369"/>
                </a:moveTo>
                <a:cubicBezTo>
                  <a:pt x="266" y="369"/>
                  <a:pt x="265" y="369"/>
                  <a:pt x="264" y="369"/>
                </a:cubicBezTo>
                <a:cubicBezTo>
                  <a:pt x="264" y="369"/>
                  <a:pt x="264" y="370"/>
                  <a:pt x="264" y="370"/>
                </a:cubicBezTo>
                <a:cubicBezTo>
                  <a:pt x="261" y="370"/>
                  <a:pt x="258" y="370"/>
                  <a:pt x="254" y="370"/>
                </a:cubicBezTo>
                <a:cubicBezTo>
                  <a:pt x="240" y="370"/>
                  <a:pt x="240" y="370"/>
                  <a:pt x="240" y="370"/>
                </a:cubicBezTo>
                <a:cubicBezTo>
                  <a:pt x="238" y="370"/>
                  <a:pt x="233" y="369"/>
                  <a:pt x="231" y="366"/>
                </a:cubicBezTo>
                <a:cubicBezTo>
                  <a:pt x="231" y="366"/>
                  <a:pt x="231" y="365"/>
                  <a:pt x="231" y="365"/>
                </a:cubicBezTo>
                <a:cubicBezTo>
                  <a:pt x="231" y="365"/>
                  <a:pt x="231" y="365"/>
                  <a:pt x="231" y="364"/>
                </a:cubicBezTo>
                <a:cubicBezTo>
                  <a:pt x="232" y="363"/>
                  <a:pt x="233" y="362"/>
                  <a:pt x="233" y="361"/>
                </a:cubicBezTo>
                <a:cubicBezTo>
                  <a:pt x="234" y="358"/>
                  <a:pt x="235" y="354"/>
                  <a:pt x="238" y="352"/>
                </a:cubicBezTo>
                <a:cubicBezTo>
                  <a:pt x="238" y="351"/>
                  <a:pt x="238" y="351"/>
                  <a:pt x="238" y="351"/>
                </a:cubicBezTo>
                <a:cubicBezTo>
                  <a:pt x="238" y="351"/>
                  <a:pt x="238" y="351"/>
                  <a:pt x="238" y="351"/>
                </a:cubicBezTo>
                <a:cubicBezTo>
                  <a:pt x="239" y="351"/>
                  <a:pt x="239" y="351"/>
                  <a:pt x="239" y="351"/>
                </a:cubicBezTo>
                <a:cubicBezTo>
                  <a:pt x="239" y="350"/>
                  <a:pt x="239" y="350"/>
                  <a:pt x="239" y="350"/>
                </a:cubicBezTo>
                <a:cubicBezTo>
                  <a:pt x="239" y="350"/>
                  <a:pt x="239" y="350"/>
                  <a:pt x="239" y="350"/>
                </a:cubicBezTo>
                <a:cubicBezTo>
                  <a:pt x="241" y="349"/>
                  <a:pt x="244" y="348"/>
                  <a:pt x="246" y="348"/>
                </a:cubicBezTo>
                <a:cubicBezTo>
                  <a:pt x="246" y="348"/>
                  <a:pt x="246" y="347"/>
                  <a:pt x="247" y="347"/>
                </a:cubicBezTo>
                <a:cubicBezTo>
                  <a:pt x="248" y="347"/>
                  <a:pt x="249" y="347"/>
                  <a:pt x="251" y="347"/>
                </a:cubicBezTo>
                <a:cubicBezTo>
                  <a:pt x="259" y="347"/>
                  <a:pt x="259" y="347"/>
                  <a:pt x="259" y="347"/>
                </a:cubicBezTo>
                <a:cubicBezTo>
                  <a:pt x="262" y="347"/>
                  <a:pt x="265" y="347"/>
                  <a:pt x="267" y="347"/>
                </a:cubicBezTo>
                <a:cubicBezTo>
                  <a:pt x="271" y="347"/>
                  <a:pt x="276" y="346"/>
                  <a:pt x="279" y="349"/>
                </a:cubicBezTo>
                <a:cubicBezTo>
                  <a:pt x="279" y="349"/>
                  <a:pt x="280" y="349"/>
                  <a:pt x="280" y="350"/>
                </a:cubicBezTo>
                <a:cubicBezTo>
                  <a:pt x="280" y="350"/>
                  <a:pt x="280" y="350"/>
                  <a:pt x="280" y="350"/>
                </a:cubicBezTo>
                <a:cubicBezTo>
                  <a:pt x="280" y="350"/>
                  <a:pt x="280" y="350"/>
                  <a:pt x="280" y="350"/>
                </a:cubicBezTo>
                <a:cubicBezTo>
                  <a:pt x="280" y="350"/>
                  <a:pt x="280" y="350"/>
                  <a:pt x="280" y="350"/>
                </a:cubicBezTo>
                <a:cubicBezTo>
                  <a:pt x="280" y="351"/>
                  <a:pt x="280" y="351"/>
                  <a:pt x="280" y="352"/>
                </a:cubicBezTo>
                <a:cubicBezTo>
                  <a:pt x="280" y="355"/>
                  <a:pt x="278" y="359"/>
                  <a:pt x="277" y="361"/>
                </a:cubicBezTo>
                <a:cubicBezTo>
                  <a:pt x="277" y="361"/>
                  <a:pt x="277" y="361"/>
                  <a:pt x="277" y="361"/>
                </a:cubicBezTo>
                <a:cubicBezTo>
                  <a:pt x="277" y="362"/>
                  <a:pt x="277" y="362"/>
                  <a:pt x="276" y="363"/>
                </a:cubicBezTo>
                <a:cubicBezTo>
                  <a:pt x="276" y="363"/>
                  <a:pt x="276" y="363"/>
                  <a:pt x="276" y="363"/>
                </a:cubicBezTo>
                <a:cubicBezTo>
                  <a:pt x="276" y="364"/>
                  <a:pt x="276" y="364"/>
                  <a:pt x="276" y="364"/>
                </a:cubicBezTo>
                <a:cubicBezTo>
                  <a:pt x="276" y="364"/>
                  <a:pt x="276" y="364"/>
                  <a:pt x="276" y="364"/>
                </a:cubicBezTo>
                <a:cubicBezTo>
                  <a:pt x="276" y="364"/>
                  <a:pt x="275" y="365"/>
                  <a:pt x="275" y="365"/>
                </a:cubicBezTo>
                <a:cubicBezTo>
                  <a:pt x="275" y="365"/>
                  <a:pt x="275" y="365"/>
                  <a:pt x="275" y="365"/>
                </a:cubicBezTo>
                <a:cubicBezTo>
                  <a:pt x="275" y="365"/>
                  <a:pt x="275" y="365"/>
                  <a:pt x="275" y="365"/>
                </a:cubicBezTo>
                <a:cubicBezTo>
                  <a:pt x="275" y="366"/>
                  <a:pt x="275" y="366"/>
                  <a:pt x="275" y="366"/>
                </a:cubicBezTo>
                <a:cubicBezTo>
                  <a:pt x="274" y="366"/>
                  <a:pt x="274" y="367"/>
                  <a:pt x="273" y="367"/>
                </a:cubicBezTo>
                <a:cubicBezTo>
                  <a:pt x="273" y="367"/>
                  <a:pt x="272" y="367"/>
                  <a:pt x="272" y="368"/>
                </a:cubicBezTo>
                <a:cubicBezTo>
                  <a:pt x="271" y="368"/>
                  <a:pt x="271" y="368"/>
                  <a:pt x="271" y="368"/>
                </a:cubicBezTo>
                <a:cubicBezTo>
                  <a:pt x="271" y="368"/>
                  <a:pt x="271" y="368"/>
                  <a:pt x="271" y="368"/>
                </a:cubicBezTo>
                <a:cubicBezTo>
                  <a:pt x="269" y="369"/>
                  <a:pt x="268" y="369"/>
                  <a:pt x="266" y="369"/>
                </a:cubicBezTo>
                <a:close/>
                <a:moveTo>
                  <a:pt x="172" y="430"/>
                </a:moveTo>
                <a:cubicBezTo>
                  <a:pt x="172" y="430"/>
                  <a:pt x="172" y="430"/>
                  <a:pt x="172" y="430"/>
                </a:cubicBezTo>
                <a:cubicBezTo>
                  <a:pt x="172" y="433"/>
                  <a:pt x="169" y="437"/>
                  <a:pt x="167" y="439"/>
                </a:cubicBezTo>
                <a:cubicBezTo>
                  <a:pt x="167" y="439"/>
                  <a:pt x="167" y="439"/>
                  <a:pt x="167" y="439"/>
                </a:cubicBezTo>
                <a:cubicBezTo>
                  <a:pt x="165" y="443"/>
                  <a:pt x="164" y="447"/>
                  <a:pt x="161" y="450"/>
                </a:cubicBezTo>
                <a:cubicBezTo>
                  <a:pt x="161" y="450"/>
                  <a:pt x="161" y="450"/>
                  <a:pt x="161" y="451"/>
                </a:cubicBezTo>
                <a:cubicBezTo>
                  <a:pt x="160" y="451"/>
                  <a:pt x="160" y="451"/>
                  <a:pt x="160" y="451"/>
                </a:cubicBezTo>
                <a:cubicBezTo>
                  <a:pt x="160" y="451"/>
                  <a:pt x="160" y="451"/>
                  <a:pt x="160" y="452"/>
                </a:cubicBezTo>
                <a:cubicBezTo>
                  <a:pt x="159" y="452"/>
                  <a:pt x="159" y="452"/>
                  <a:pt x="159" y="452"/>
                </a:cubicBezTo>
                <a:cubicBezTo>
                  <a:pt x="159" y="452"/>
                  <a:pt x="159" y="452"/>
                  <a:pt x="159" y="452"/>
                </a:cubicBezTo>
                <a:cubicBezTo>
                  <a:pt x="156" y="455"/>
                  <a:pt x="153" y="456"/>
                  <a:pt x="150" y="457"/>
                </a:cubicBezTo>
                <a:cubicBezTo>
                  <a:pt x="149" y="457"/>
                  <a:pt x="149" y="457"/>
                  <a:pt x="149" y="458"/>
                </a:cubicBezTo>
                <a:cubicBezTo>
                  <a:pt x="146" y="458"/>
                  <a:pt x="144" y="458"/>
                  <a:pt x="142" y="458"/>
                </a:cubicBezTo>
                <a:cubicBezTo>
                  <a:pt x="141" y="458"/>
                  <a:pt x="141" y="458"/>
                  <a:pt x="141" y="458"/>
                </a:cubicBezTo>
                <a:cubicBezTo>
                  <a:pt x="141" y="458"/>
                  <a:pt x="141" y="458"/>
                  <a:pt x="141" y="458"/>
                </a:cubicBezTo>
                <a:cubicBezTo>
                  <a:pt x="132" y="458"/>
                  <a:pt x="124" y="458"/>
                  <a:pt x="115" y="458"/>
                </a:cubicBezTo>
                <a:cubicBezTo>
                  <a:pt x="114" y="458"/>
                  <a:pt x="114" y="458"/>
                  <a:pt x="113" y="458"/>
                </a:cubicBezTo>
                <a:cubicBezTo>
                  <a:pt x="112" y="458"/>
                  <a:pt x="111" y="458"/>
                  <a:pt x="110" y="458"/>
                </a:cubicBezTo>
                <a:cubicBezTo>
                  <a:pt x="109" y="457"/>
                  <a:pt x="107" y="456"/>
                  <a:pt x="107" y="456"/>
                </a:cubicBezTo>
                <a:cubicBezTo>
                  <a:pt x="106" y="455"/>
                  <a:pt x="106" y="453"/>
                  <a:pt x="106" y="452"/>
                </a:cubicBezTo>
                <a:cubicBezTo>
                  <a:pt x="106" y="451"/>
                  <a:pt x="106" y="451"/>
                  <a:pt x="107" y="450"/>
                </a:cubicBezTo>
                <a:cubicBezTo>
                  <a:pt x="107" y="449"/>
                  <a:pt x="107" y="449"/>
                  <a:pt x="107" y="449"/>
                </a:cubicBezTo>
                <a:cubicBezTo>
                  <a:pt x="107" y="449"/>
                  <a:pt x="107" y="449"/>
                  <a:pt x="107" y="449"/>
                </a:cubicBezTo>
                <a:cubicBezTo>
                  <a:pt x="107" y="448"/>
                  <a:pt x="107" y="448"/>
                  <a:pt x="107" y="448"/>
                </a:cubicBezTo>
                <a:cubicBezTo>
                  <a:pt x="107" y="448"/>
                  <a:pt x="107" y="448"/>
                  <a:pt x="107" y="448"/>
                </a:cubicBezTo>
                <a:cubicBezTo>
                  <a:pt x="109" y="445"/>
                  <a:pt x="112" y="442"/>
                  <a:pt x="114" y="439"/>
                </a:cubicBezTo>
                <a:cubicBezTo>
                  <a:pt x="116" y="436"/>
                  <a:pt x="117" y="433"/>
                  <a:pt x="119" y="431"/>
                </a:cubicBezTo>
                <a:cubicBezTo>
                  <a:pt x="120" y="431"/>
                  <a:pt x="120" y="430"/>
                  <a:pt x="120" y="430"/>
                </a:cubicBezTo>
                <a:cubicBezTo>
                  <a:pt x="120" y="430"/>
                  <a:pt x="120" y="430"/>
                  <a:pt x="120" y="430"/>
                </a:cubicBezTo>
                <a:cubicBezTo>
                  <a:pt x="121" y="430"/>
                  <a:pt x="121" y="429"/>
                  <a:pt x="122" y="429"/>
                </a:cubicBezTo>
                <a:cubicBezTo>
                  <a:pt x="122" y="429"/>
                  <a:pt x="122" y="429"/>
                  <a:pt x="122" y="429"/>
                </a:cubicBezTo>
                <a:cubicBezTo>
                  <a:pt x="122" y="429"/>
                  <a:pt x="122" y="429"/>
                  <a:pt x="122" y="429"/>
                </a:cubicBezTo>
                <a:cubicBezTo>
                  <a:pt x="125" y="426"/>
                  <a:pt x="128" y="425"/>
                  <a:pt x="132" y="424"/>
                </a:cubicBezTo>
                <a:cubicBezTo>
                  <a:pt x="132" y="424"/>
                  <a:pt x="132" y="424"/>
                  <a:pt x="132" y="424"/>
                </a:cubicBezTo>
                <a:cubicBezTo>
                  <a:pt x="132" y="424"/>
                  <a:pt x="132" y="424"/>
                  <a:pt x="132" y="424"/>
                </a:cubicBezTo>
                <a:cubicBezTo>
                  <a:pt x="133" y="424"/>
                  <a:pt x="133" y="424"/>
                  <a:pt x="134" y="424"/>
                </a:cubicBezTo>
                <a:cubicBezTo>
                  <a:pt x="135" y="424"/>
                  <a:pt x="135" y="424"/>
                  <a:pt x="135" y="424"/>
                </a:cubicBezTo>
                <a:cubicBezTo>
                  <a:pt x="136" y="424"/>
                  <a:pt x="136" y="424"/>
                  <a:pt x="137" y="424"/>
                </a:cubicBezTo>
                <a:cubicBezTo>
                  <a:pt x="137" y="423"/>
                  <a:pt x="137" y="423"/>
                  <a:pt x="138" y="423"/>
                </a:cubicBezTo>
                <a:cubicBezTo>
                  <a:pt x="138" y="423"/>
                  <a:pt x="138" y="423"/>
                  <a:pt x="138" y="423"/>
                </a:cubicBezTo>
                <a:cubicBezTo>
                  <a:pt x="138" y="423"/>
                  <a:pt x="138" y="423"/>
                  <a:pt x="138" y="423"/>
                </a:cubicBezTo>
                <a:cubicBezTo>
                  <a:pt x="146" y="423"/>
                  <a:pt x="153" y="423"/>
                  <a:pt x="161" y="423"/>
                </a:cubicBezTo>
                <a:cubicBezTo>
                  <a:pt x="161" y="423"/>
                  <a:pt x="161" y="423"/>
                  <a:pt x="161" y="423"/>
                </a:cubicBezTo>
                <a:cubicBezTo>
                  <a:pt x="163" y="423"/>
                  <a:pt x="163" y="423"/>
                  <a:pt x="163" y="423"/>
                </a:cubicBezTo>
                <a:cubicBezTo>
                  <a:pt x="165" y="423"/>
                  <a:pt x="166" y="424"/>
                  <a:pt x="167" y="424"/>
                </a:cubicBezTo>
                <a:cubicBezTo>
                  <a:pt x="168" y="424"/>
                  <a:pt x="168" y="424"/>
                  <a:pt x="169" y="425"/>
                </a:cubicBezTo>
                <a:cubicBezTo>
                  <a:pt x="169" y="425"/>
                  <a:pt x="169" y="425"/>
                  <a:pt x="169" y="425"/>
                </a:cubicBezTo>
                <a:cubicBezTo>
                  <a:pt x="169" y="425"/>
                  <a:pt x="169" y="425"/>
                  <a:pt x="170" y="425"/>
                </a:cubicBezTo>
                <a:cubicBezTo>
                  <a:pt x="172" y="426"/>
                  <a:pt x="173" y="428"/>
                  <a:pt x="172" y="430"/>
                </a:cubicBezTo>
                <a:close/>
                <a:moveTo>
                  <a:pt x="188" y="402"/>
                </a:moveTo>
                <a:cubicBezTo>
                  <a:pt x="188" y="402"/>
                  <a:pt x="188" y="402"/>
                  <a:pt x="188" y="402"/>
                </a:cubicBezTo>
                <a:cubicBezTo>
                  <a:pt x="188" y="402"/>
                  <a:pt x="188" y="402"/>
                  <a:pt x="188" y="402"/>
                </a:cubicBezTo>
                <a:cubicBezTo>
                  <a:pt x="188" y="403"/>
                  <a:pt x="187" y="403"/>
                  <a:pt x="187" y="404"/>
                </a:cubicBezTo>
                <a:cubicBezTo>
                  <a:pt x="187" y="404"/>
                  <a:pt x="187" y="404"/>
                  <a:pt x="187" y="404"/>
                </a:cubicBezTo>
                <a:cubicBezTo>
                  <a:pt x="185" y="406"/>
                  <a:pt x="182" y="407"/>
                  <a:pt x="179" y="408"/>
                </a:cubicBezTo>
                <a:cubicBezTo>
                  <a:pt x="179" y="408"/>
                  <a:pt x="179" y="408"/>
                  <a:pt x="179" y="408"/>
                </a:cubicBezTo>
                <a:cubicBezTo>
                  <a:pt x="179" y="409"/>
                  <a:pt x="178" y="409"/>
                  <a:pt x="178" y="409"/>
                </a:cubicBezTo>
                <a:cubicBezTo>
                  <a:pt x="177" y="409"/>
                  <a:pt x="177" y="409"/>
                  <a:pt x="177" y="409"/>
                </a:cubicBezTo>
                <a:cubicBezTo>
                  <a:pt x="177" y="409"/>
                  <a:pt x="177" y="409"/>
                  <a:pt x="176" y="409"/>
                </a:cubicBezTo>
                <a:cubicBezTo>
                  <a:pt x="174" y="409"/>
                  <a:pt x="172" y="410"/>
                  <a:pt x="171" y="410"/>
                </a:cubicBezTo>
                <a:cubicBezTo>
                  <a:pt x="170" y="410"/>
                  <a:pt x="170" y="410"/>
                  <a:pt x="170" y="410"/>
                </a:cubicBezTo>
                <a:cubicBezTo>
                  <a:pt x="167" y="410"/>
                  <a:pt x="164" y="410"/>
                  <a:pt x="161" y="410"/>
                </a:cubicBezTo>
                <a:cubicBezTo>
                  <a:pt x="156" y="410"/>
                  <a:pt x="151" y="410"/>
                  <a:pt x="146" y="410"/>
                </a:cubicBezTo>
                <a:cubicBezTo>
                  <a:pt x="146" y="410"/>
                  <a:pt x="145" y="410"/>
                  <a:pt x="144" y="410"/>
                </a:cubicBezTo>
                <a:cubicBezTo>
                  <a:pt x="144" y="410"/>
                  <a:pt x="144" y="410"/>
                  <a:pt x="144" y="410"/>
                </a:cubicBezTo>
                <a:cubicBezTo>
                  <a:pt x="143" y="409"/>
                  <a:pt x="143" y="409"/>
                  <a:pt x="142" y="409"/>
                </a:cubicBezTo>
                <a:cubicBezTo>
                  <a:pt x="142" y="409"/>
                  <a:pt x="142" y="409"/>
                  <a:pt x="142" y="409"/>
                </a:cubicBezTo>
                <a:cubicBezTo>
                  <a:pt x="142" y="409"/>
                  <a:pt x="142" y="409"/>
                  <a:pt x="142" y="409"/>
                </a:cubicBezTo>
                <a:cubicBezTo>
                  <a:pt x="140" y="409"/>
                  <a:pt x="138" y="407"/>
                  <a:pt x="138" y="405"/>
                </a:cubicBezTo>
                <a:cubicBezTo>
                  <a:pt x="138" y="405"/>
                  <a:pt x="138" y="404"/>
                  <a:pt x="138" y="404"/>
                </a:cubicBezTo>
                <a:cubicBezTo>
                  <a:pt x="138" y="404"/>
                  <a:pt x="138" y="404"/>
                  <a:pt x="138" y="403"/>
                </a:cubicBezTo>
                <a:cubicBezTo>
                  <a:pt x="138" y="403"/>
                  <a:pt x="138" y="403"/>
                  <a:pt x="139" y="402"/>
                </a:cubicBezTo>
                <a:cubicBezTo>
                  <a:pt x="139" y="402"/>
                  <a:pt x="139" y="402"/>
                  <a:pt x="139" y="402"/>
                </a:cubicBezTo>
                <a:cubicBezTo>
                  <a:pt x="139" y="402"/>
                  <a:pt x="139" y="402"/>
                  <a:pt x="139" y="402"/>
                </a:cubicBezTo>
                <a:cubicBezTo>
                  <a:pt x="139" y="402"/>
                  <a:pt x="139" y="401"/>
                  <a:pt x="140" y="401"/>
                </a:cubicBezTo>
                <a:cubicBezTo>
                  <a:pt x="142" y="397"/>
                  <a:pt x="144" y="394"/>
                  <a:pt x="147" y="390"/>
                </a:cubicBezTo>
                <a:cubicBezTo>
                  <a:pt x="147" y="390"/>
                  <a:pt x="147" y="390"/>
                  <a:pt x="147" y="390"/>
                </a:cubicBezTo>
                <a:cubicBezTo>
                  <a:pt x="148" y="389"/>
                  <a:pt x="148" y="389"/>
                  <a:pt x="148" y="389"/>
                </a:cubicBezTo>
                <a:cubicBezTo>
                  <a:pt x="149" y="388"/>
                  <a:pt x="149" y="387"/>
                  <a:pt x="151" y="386"/>
                </a:cubicBezTo>
                <a:cubicBezTo>
                  <a:pt x="151" y="385"/>
                  <a:pt x="152" y="385"/>
                  <a:pt x="153" y="385"/>
                </a:cubicBezTo>
                <a:cubicBezTo>
                  <a:pt x="153" y="384"/>
                  <a:pt x="154" y="384"/>
                  <a:pt x="154" y="384"/>
                </a:cubicBezTo>
                <a:cubicBezTo>
                  <a:pt x="154" y="384"/>
                  <a:pt x="154" y="384"/>
                  <a:pt x="155" y="384"/>
                </a:cubicBezTo>
                <a:cubicBezTo>
                  <a:pt x="155" y="384"/>
                  <a:pt x="155" y="384"/>
                  <a:pt x="155" y="384"/>
                </a:cubicBezTo>
                <a:cubicBezTo>
                  <a:pt x="155" y="384"/>
                  <a:pt x="155" y="384"/>
                  <a:pt x="156" y="383"/>
                </a:cubicBezTo>
                <a:cubicBezTo>
                  <a:pt x="157" y="383"/>
                  <a:pt x="158" y="383"/>
                  <a:pt x="160" y="382"/>
                </a:cubicBezTo>
                <a:cubicBezTo>
                  <a:pt x="161" y="382"/>
                  <a:pt x="163" y="382"/>
                  <a:pt x="165" y="382"/>
                </a:cubicBezTo>
                <a:cubicBezTo>
                  <a:pt x="169" y="382"/>
                  <a:pt x="169" y="382"/>
                  <a:pt x="169" y="382"/>
                </a:cubicBezTo>
                <a:cubicBezTo>
                  <a:pt x="170" y="382"/>
                  <a:pt x="171" y="382"/>
                  <a:pt x="172" y="382"/>
                </a:cubicBezTo>
                <a:cubicBezTo>
                  <a:pt x="177" y="382"/>
                  <a:pt x="181" y="382"/>
                  <a:pt x="185" y="382"/>
                </a:cubicBezTo>
                <a:cubicBezTo>
                  <a:pt x="185" y="382"/>
                  <a:pt x="185" y="382"/>
                  <a:pt x="185" y="382"/>
                </a:cubicBezTo>
                <a:cubicBezTo>
                  <a:pt x="187" y="382"/>
                  <a:pt x="187" y="382"/>
                  <a:pt x="187" y="382"/>
                </a:cubicBezTo>
                <a:cubicBezTo>
                  <a:pt x="189" y="382"/>
                  <a:pt x="190" y="382"/>
                  <a:pt x="191" y="382"/>
                </a:cubicBezTo>
                <a:cubicBezTo>
                  <a:pt x="193" y="383"/>
                  <a:pt x="193" y="383"/>
                  <a:pt x="194" y="383"/>
                </a:cubicBezTo>
                <a:cubicBezTo>
                  <a:pt x="196" y="384"/>
                  <a:pt x="197" y="386"/>
                  <a:pt x="196" y="389"/>
                </a:cubicBezTo>
                <a:cubicBezTo>
                  <a:pt x="194" y="392"/>
                  <a:pt x="192" y="395"/>
                  <a:pt x="190" y="398"/>
                </a:cubicBezTo>
                <a:cubicBezTo>
                  <a:pt x="188" y="402"/>
                  <a:pt x="188" y="402"/>
                  <a:pt x="188" y="402"/>
                </a:cubicBezTo>
                <a:cubicBezTo>
                  <a:pt x="188" y="402"/>
                  <a:pt x="188" y="402"/>
                  <a:pt x="188" y="402"/>
                </a:cubicBezTo>
                <a:close/>
                <a:moveTo>
                  <a:pt x="411" y="448"/>
                </a:moveTo>
                <a:cubicBezTo>
                  <a:pt x="411" y="449"/>
                  <a:pt x="411" y="449"/>
                  <a:pt x="411" y="450"/>
                </a:cubicBezTo>
                <a:cubicBezTo>
                  <a:pt x="411" y="450"/>
                  <a:pt x="411" y="450"/>
                  <a:pt x="411" y="450"/>
                </a:cubicBezTo>
                <a:cubicBezTo>
                  <a:pt x="411" y="451"/>
                  <a:pt x="411" y="451"/>
                  <a:pt x="410" y="451"/>
                </a:cubicBezTo>
                <a:cubicBezTo>
                  <a:pt x="410" y="451"/>
                  <a:pt x="410" y="451"/>
                  <a:pt x="410" y="452"/>
                </a:cubicBezTo>
                <a:cubicBezTo>
                  <a:pt x="410" y="452"/>
                  <a:pt x="410" y="452"/>
                  <a:pt x="410" y="452"/>
                </a:cubicBezTo>
                <a:cubicBezTo>
                  <a:pt x="410" y="452"/>
                  <a:pt x="409" y="453"/>
                  <a:pt x="409" y="453"/>
                </a:cubicBezTo>
                <a:cubicBezTo>
                  <a:pt x="409" y="453"/>
                  <a:pt x="409" y="453"/>
                  <a:pt x="409" y="453"/>
                </a:cubicBezTo>
                <a:cubicBezTo>
                  <a:pt x="408" y="454"/>
                  <a:pt x="408" y="454"/>
                  <a:pt x="407" y="455"/>
                </a:cubicBezTo>
                <a:cubicBezTo>
                  <a:pt x="407" y="455"/>
                  <a:pt x="407" y="455"/>
                  <a:pt x="407" y="455"/>
                </a:cubicBezTo>
                <a:cubicBezTo>
                  <a:pt x="407" y="455"/>
                  <a:pt x="407" y="455"/>
                  <a:pt x="407" y="455"/>
                </a:cubicBezTo>
                <a:cubicBezTo>
                  <a:pt x="406" y="455"/>
                  <a:pt x="406" y="456"/>
                  <a:pt x="405" y="456"/>
                </a:cubicBezTo>
                <a:cubicBezTo>
                  <a:pt x="405" y="456"/>
                  <a:pt x="405" y="456"/>
                  <a:pt x="405" y="456"/>
                </a:cubicBezTo>
                <a:cubicBezTo>
                  <a:pt x="404" y="456"/>
                  <a:pt x="404" y="456"/>
                  <a:pt x="404" y="456"/>
                </a:cubicBezTo>
                <a:cubicBezTo>
                  <a:pt x="403" y="456"/>
                  <a:pt x="403" y="457"/>
                  <a:pt x="403" y="457"/>
                </a:cubicBezTo>
                <a:cubicBezTo>
                  <a:pt x="403" y="457"/>
                  <a:pt x="403" y="457"/>
                  <a:pt x="402" y="457"/>
                </a:cubicBezTo>
                <a:cubicBezTo>
                  <a:pt x="402" y="457"/>
                  <a:pt x="402" y="457"/>
                  <a:pt x="402" y="457"/>
                </a:cubicBezTo>
                <a:cubicBezTo>
                  <a:pt x="402" y="457"/>
                  <a:pt x="401" y="457"/>
                  <a:pt x="400" y="457"/>
                </a:cubicBezTo>
                <a:cubicBezTo>
                  <a:pt x="400" y="457"/>
                  <a:pt x="399" y="457"/>
                  <a:pt x="399" y="457"/>
                </a:cubicBezTo>
                <a:cubicBezTo>
                  <a:pt x="398" y="458"/>
                  <a:pt x="398" y="458"/>
                  <a:pt x="397" y="458"/>
                </a:cubicBezTo>
                <a:cubicBezTo>
                  <a:pt x="397" y="458"/>
                  <a:pt x="397" y="458"/>
                  <a:pt x="397" y="458"/>
                </a:cubicBezTo>
                <a:cubicBezTo>
                  <a:pt x="396" y="458"/>
                  <a:pt x="396" y="458"/>
                  <a:pt x="396" y="458"/>
                </a:cubicBezTo>
                <a:cubicBezTo>
                  <a:pt x="396" y="458"/>
                  <a:pt x="396" y="458"/>
                  <a:pt x="396" y="458"/>
                </a:cubicBezTo>
                <a:cubicBezTo>
                  <a:pt x="393" y="458"/>
                  <a:pt x="390" y="458"/>
                  <a:pt x="387" y="458"/>
                </a:cubicBezTo>
                <a:cubicBezTo>
                  <a:pt x="373" y="458"/>
                  <a:pt x="212" y="458"/>
                  <a:pt x="200" y="458"/>
                </a:cubicBezTo>
                <a:cubicBezTo>
                  <a:pt x="199" y="458"/>
                  <a:pt x="198" y="458"/>
                  <a:pt x="198" y="458"/>
                </a:cubicBezTo>
                <a:cubicBezTo>
                  <a:pt x="197" y="458"/>
                  <a:pt x="196" y="458"/>
                  <a:pt x="195" y="457"/>
                </a:cubicBezTo>
                <a:cubicBezTo>
                  <a:pt x="193" y="457"/>
                  <a:pt x="192" y="456"/>
                  <a:pt x="191" y="455"/>
                </a:cubicBezTo>
                <a:cubicBezTo>
                  <a:pt x="190" y="454"/>
                  <a:pt x="190" y="453"/>
                  <a:pt x="189" y="452"/>
                </a:cubicBezTo>
                <a:cubicBezTo>
                  <a:pt x="189" y="451"/>
                  <a:pt x="189" y="450"/>
                  <a:pt x="190" y="449"/>
                </a:cubicBezTo>
                <a:cubicBezTo>
                  <a:pt x="191" y="448"/>
                  <a:pt x="191" y="448"/>
                  <a:pt x="191" y="448"/>
                </a:cubicBezTo>
                <a:cubicBezTo>
                  <a:pt x="191" y="448"/>
                  <a:pt x="191" y="448"/>
                  <a:pt x="191" y="448"/>
                </a:cubicBezTo>
                <a:cubicBezTo>
                  <a:pt x="192" y="444"/>
                  <a:pt x="194" y="440"/>
                  <a:pt x="196" y="437"/>
                </a:cubicBezTo>
                <a:cubicBezTo>
                  <a:pt x="196" y="436"/>
                  <a:pt x="197" y="435"/>
                  <a:pt x="197" y="435"/>
                </a:cubicBezTo>
                <a:cubicBezTo>
                  <a:pt x="198" y="432"/>
                  <a:pt x="198" y="432"/>
                  <a:pt x="198" y="432"/>
                </a:cubicBezTo>
                <a:cubicBezTo>
                  <a:pt x="199" y="431"/>
                  <a:pt x="200" y="430"/>
                  <a:pt x="201" y="428"/>
                </a:cubicBezTo>
                <a:cubicBezTo>
                  <a:pt x="201" y="428"/>
                  <a:pt x="202" y="428"/>
                  <a:pt x="202" y="428"/>
                </a:cubicBezTo>
                <a:cubicBezTo>
                  <a:pt x="202" y="428"/>
                  <a:pt x="202" y="428"/>
                  <a:pt x="203" y="428"/>
                </a:cubicBezTo>
                <a:cubicBezTo>
                  <a:pt x="203" y="427"/>
                  <a:pt x="203" y="427"/>
                  <a:pt x="203" y="427"/>
                </a:cubicBezTo>
                <a:cubicBezTo>
                  <a:pt x="203" y="427"/>
                  <a:pt x="203" y="427"/>
                  <a:pt x="203" y="427"/>
                </a:cubicBezTo>
                <a:cubicBezTo>
                  <a:pt x="204" y="427"/>
                  <a:pt x="204" y="427"/>
                  <a:pt x="204" y="427"/>
                </a:cubicBezTo>
                <a:cubicBezTo>
                  <a:pt x="204" y="426"/>
                  <a:pt x="205" y="426"/>
                  <a:pt x="205" y="426"/>
                </a:cubicBezTo>
                <a:cubicBezTo>
                  <a:pt x="205" y="426"/>
                  <a:pt x="206" y="426"/>
                  <a:pt x="206" y="425"/>
                </a:cubicBezTo>
                <a:cubicBezTo>
                  <a:pt x="206" y="425"/>
                  <a:pt x="207" y="425"/>
                  <a:pt x="207" y="425"/>
                </a:cubicBezTo>
                <a:cubicBezTo>
                  <a:pt x="208" y="425"/>
                  <a:pt x="208" y="425"/>
                  <a:pt x="209" y="424"/>
                </a:cubicBezTo>
                <a:cubicBezTo>
                  <a:pt x="209" y="424"/>
                  <a:pt x="210" y="424"/>
                  <a:pt x="210" y="424"/>
                </a:cubicBezTo>
                <a:cubicBezTo>
                  <a:pt x="210" y="424"/>
                  <a:pt x="210" y="424"/>
                  <a:pt x="210" y="424"/>
                </a:cubicBezTo>
                <a:cubicBezTo>
                  <a:pt x="212" y="423"/>
                  <a:pt x="214" y="423"/>
                  <a:pt x="216" y="423"/>
                </a:cubicBezTo>
                <a:cubicBezTo>
                  <a:pt x="216" y="423"/>
                  <a:pt x="385" y="423"/>
                  <a:pt x="392" y="423"/>
                </a:cubicBezTo>
                <a:cubicBezTo>
                  <a:pt x="393" y="423"/>
                  <a:pt x="395" y="423"/>
                  <a:pt x="397" y="423"/>
                </a:cubicBezTo>
                <a:cubicBezTo>
                  <a:pt x="398" y="423"/>
                  <a:pt x="399" y="423"/>
                  <a:pt x="400" y="423"/>
                </a:cubicBezTo>
                <a:cubicBezTo>
                  <a:pt x="400" y="423"/>
                  <a:pt x="400" y="423"/>
                  <a:pt x="400" y="423"/>
                </a:cubicBezTo>
                <a:cubicBezTo>
                  <a:pt x="401" y="423"/>
                  <a:pt x="402" y="423"/>
                  <a:pt x="402" y="423"/>
                </a:cubicBezTo>
                <a:cubicBezTo>
                  <a:pt x="403" y="423"/>
                  <a:pt x="403" y="423"/>
                  <a:pt x="403" y="423"/>
                </a:cubicBezTo>
                <a:cubicBezTo>
                  <a:pt x="403" y="423"/>
                  <a:pt x="403" y="423"/>
                  <a:pt x="403" y="423"/>
                </a:cubicBezTo>
                <a:cubicBezTo>
                  <a:pt x="404" y="424"/>
                  <a:pt x="404" y="424"/>
                  <a:pt x="405" y="424"/>
                </a:cubicBezTo>
                <a:cubicBezTo>
                  <a:pt x="405" y="424"/>
                  <a:pt x="405" y="424"/>
                  <a:pt x="405" y="424"/>
                </a:cubicBezTo>
                <a:cubicBezTo>
                  <a:pt x="406" y="425"/>
                  <a:pt x="406" y="425"/>
                  <a:pt x="407" y="425"/>
                </a:cubicBezTo>
                <a:cubicBezTo>
                  <a:pt x="407" y="425"/>
                  <a:pt x="407" y="425"/>
                  <a:pt x="407" y="425"/>
                </a:cubicBezTo>
                <a:cubicBezTo>
                  <a:pt x="407" y="425"/>
                  <a:pt x="407" y="425"/>
                  <a:pt x="407" y="425"/>
                </a:cubicBezTo>
                <a:cubicBezTo>
                  <a:pt x="408" y="426"/>
                  <a:pt x="408" y="426"/>
                  <a:pt x="408" y="426"/>
                </a:cubicBezTo>
                <a:cubicBezTo>
                  <a:pt x="409" y="427"/>
                  <a:pt x="409" y="427"/>
                  <a:pt x="410" y="428"/>
                </a:cubicBezTo>
                <a:cubicBezTo>
                  <a:pt x="411" y="429"/>
                  <a:pt x="411" y="430"/>
                  <a:pt x="411" y="431"/>
                </a:cubicBezTo>
                <a:cubicBezTo>
                  <a:pt x="411" y="432"/>
                  <a:pt x="411" y="432"/>
                  <a:pt x="411" y="432"/>
                </a:cubicBezTo>
                <a:cubicBezTo>
                  <a:pt x="411" y="432"/>
                  <a:pt x="411" y="432"/>
                  <a:pt x="411" y="432"/>
                </a:cubicBezTo>
                <a:cubicBezTo>
                  <a:pt x="411" y="436"/>
                  <a:pt x="411" y="441"/>
                  <a:pt x="411" y="445"/>
                </a:cubicBezTo>
                <a:cubicBezTo>
                  <a:pt x="411" y="446"/>
                  <a:pt x="411" y="447"/>
                  <a:pt x="411" y="448"/>
                </a:cubicBezTo>
                <a:close/>
                <a:moveTo>
                  <a:pt x="434" y="366"/>
                </a:moveTo>
                <a:cubicBezTo>
                  <a:pt x="434" y="366"/>
                  <a:pt x="434" y="366"/>
                  <a:pt x="434" y="366"/>
                </a:cubicBezTo>
                <a:cubicBezTo>
                  <a:pt x="434" y="366"/>
                  <a:pt x="434" y="366"/>
                  <a:pt x="434" y="365"/>
                </a:cubicBezTo>
                <a:cubicBezTo>
                  <a:pt x="433" y="365"/>
                  <a:pt x="433" y="364"/>
                  <a:pt x="432" y="363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32" y="362"/>
                  <a:pt x="432" y="361"/>
                  <a:pt x="432" y="360"/>
                </a:cubicBezTo>
                <a:cubicBezTo>
                  <a:pt x="432" y="360"/>
                  <a:pt x="432" y="360"/>
                  <a:pt x="432" y="360"/>
                </a:cubicBezTo>
                <a:cubicBezTo>
                  <a:pt x="432" y="358"/>
                  <a:pt x="432" y="355"/>
                  <a:pt x="432" y="353"/>
                </a:cubicBezTo>
                <a:cubicBezTo>
                  <a:pt x="432" y="352"/>
                  <a:pt x="432" y="352"/>
                  <a:pt x="432" y="352"/>
                </a:cubicBezTo>
                <a:cubicBezTo>
                  <a:pt x="432" y="351"/>
                  <a:pt x="432" y="350"/>
                  <a:pt x="432" y="350"/>
                </a:cubicBezTo>
                <a:cubicBezTo>
                  <a:pt x="433" y="349"/>
                  <a:pt x="434" y="349"/>
                  <a:pt x="435" y="348"/>
                </a:cubicBezTo>
                <a:cubicBezTo>
                  <a:pt x="436" y="348"/>
                  <a:pt x="437" y="347"/>
                  <a:pt x="438" y="347"/>
                </a:cubicBezTo>
                <a:cubicBezTo>
                  <a:pt x="438" y="347"/>
                  <a:pt x="438" y="347"/>
                  <a:pt x="438" y="347"/>
                </a:cubicBezTo>
                <a:cubicBezTo>
                  <a:pt x="438" y="347"/>
                  <a:pt x="438" y="347"/>
                  <a:pt x="438" y="347"/>
                </a:cubicBezTo>
                <a:cubicBezTo>
                  <a:pt x="439" y="347"/>
                  <a:pt x="439" y="347"/>
                  <a:pt x="440" y="347"/>
                </a:cubicBezTo>
                <a:cubicBezTo>
                  <a:pt x="440" y="347"/>
                  <a:pt x="440" y="347"/>
                  <a:pt x="441" y="347"/>
                </a:cubicBezTo>
                <a:cubicBezTo>
                  <a:pt x="443" y="346"/>
                  <a:pt x="445" y="346"/>
                  <a:pt x="447" y="346"/>
                </a:cubicBezTo>
                <a:cubicBezTo>
                  <a:pt x="463" y="346"/>
                  <a:pt x="463" y="346"/>
                  <a:pt x="463" y="346"/>
                </a:cubicBezTo>
                <a:cubicBezTo>
                  <a:pt x="464" y="346"/>
                  <a:pt x="465" y="346"/>
                  <a:pt x="465" y="347"/>
                </a:cubicBezTo>
                <a:cubicBezTo>
                  <a:pt x="469" y="347"/>
                  <a:pt x="474" y="348"/>
                  <a:pt x="475" y="352"/>
                </a:cubicBezTo>
                <a:cubicBezTo>
                  <a:pt x="476" y="355"/>
                  <a:pt x="476" y="359"/>
                  <a:pt x="477" y="362"/>
                </a:cubicBezTo>
                <a:cubicBezTo>
                  <a:pt x="477" y="363"/>
                  <a:pt x="477" y="363"/>
                  <a:pt x="477" y="363"/>
                </a:cubicBezTo>
                <a:cubicBezTo>
                  <a:pt x="477" y="364"/>
                  <a:pt x="477" y="364"/>
                  <a:pt x="477" y="365"/>
                </a:cubicBezTo>
                <a:cubicBezTo>
                  <a:pt x="477" y="365"/>
                  <a:pt x="477" y="365"/>
                  <a:pt x="477" y="365"/>
                </a:cubicBezTo>
                <a:cubicBezTo>
                  <a:pt x="477" y="365"/>
                  <a:pt x="477" y="365"/>
                  <a:pt x="477" y="365"/>
                </a:cubicBezTo>
                <a:cubicBezTo>
                  <a:pt x="477" y="365"/>
                  <a:pt x="477" y="365"/>
                  <a:pt x="477" y="365"/>
                </a:cubicBezTo>
                <a:cubicBezTo>
                  <a:pt x="476" y="367"/>
                  <a:pt x="474" y="368"/>
                  <a:pt x="472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70" y="369"/>
                </a:cubicBezTo>
                <a:cubicBezTo>
                  <a:pt x="470" y="369"/>
                  <a:pt x="470" y="369"/>
                  <a:pt x="470" y="369"/>
                </a:cubicBezTo>
                <a:cubicBezTo>
                  <a:pt x="469" y="369"/>
                  <a:pt x="469" y="369"/>
                  <a:pt x="469" y="369"/>
                </a:cubicBezTo>
                <a:cubicBezTo>
                  <a:pt x="463" y="370"/>
                  <a:pt x="457" y="369"/>
                  <a:pt x="455" y="369"/>
                </a:cubicBezTo>
                <a:cubicBezTo>
                  <a:pt x="445" y="369"/>
                  <a:pt x="445" y="369"/>
                  <a:pt x="445" y="369"/>
                </a:cubicBezTo>
                <a:cubicBezTo>
                  <a:pt x="444" y="369"/>
                  <a:pt x="443" y="369"/>
                  <a:pt x="442" y="369"/>
                </a:cubicBezTo>
                <a:cubicBezTo>
                  <a:pt x="442" y="369"/>
                  <a:pt x="441" y="369"/>
                  <a:pt x="441" y="369"/>
                </a:cubicBezTo>
                <a:cubicBezTo>
                  <a:pt x="440" y="369"/>
                  <a:pt x="440" y="369"/>
                  <a:pt x="440" y="369"/>
                </a:cubicBezTo>
                <a:cubicBezTo>
                  <a:pt x="440" y="369"/>
                  <a:pt x="440" y="369"/>
                  <a:pt x="440" y="369"/>
                </a:cubicBezTo>
                <a:cubicBezTo>
                  <a:pt x="439" y="369"/>
                  <a:pt x="439" y="369"/>
                  <a:pt x="438" y="368"/>
                </a:cubicBezTo>
                <a:cubicBezTo>
                  <a:pt x="438" y="368"/>
                  <a:pt x="438" y="368"/>
                  <a:pt x="438" y="368"/>
                </a:cubicBezTo>
                <a:cubicBezTo>
                  <a:pt x="437" y="368"/>
                  <a:pt x="437" y="368"/>
                  <a:pt x="436" y="367"/>
                </a:cubicBezTo>
                <a:cubicBezTo>
                  <a:pt x="436" y="367"/>
                  <a:pt x="435" y="367"/>
                  <a:pt x="434" y="366"/>
                </a:cubicBezTo>
                <a:cubicBezTo>
                  <a:pt x="434" y="366"/>
                  <a:pt x="434" y="366"/>
                  <a:pt x="434" y="366"/>
                </a:cubicBezTo>
                <a:close/>
                <a:moveTo>
                  <a:pt x="437" y="404"/>
                </a:moveTo>
                <a:cubicBezTo>
                  <a:pt x="436" y="403"/>
                  <a:pt x="436" y="402"/>
                  <a:pt x="435" y="402"/>
                </a:cubicBezTo>
                <a:cubicBezTo>
                  <a:pt x="435" y="400"/>
                  <a:pt x="435" y="400"/>
                  <a:pt x="435" y="400"/>
                </a:cubicBezTo>
                <a:cubicBezTo>
                  <a:pt x="435" y="400"/>
                  <a:pt x="435" y="400"/>
                  <a:pt x="435" y="400"/>
                </a:cubicBezTo>
                <a:cubicBezTo>
                  <a:pt x="435" y="396"/>
                  <a:pt x="435" y="392"/>
                  <a:pt x="434" y="388"/>
                </a:cubicBezTo>
                <a:cubicBezTo>
                  <a:pt x="434" y="388"/>
                  <a:pt x="434" y="388"/>
                  <a:pt x="434" y="388"/>
                </a:cubicBezTo>
                <a:cubicBezTo>
                  <a:pt x="434" y="388"/>
                  <a:pt x="434" y="388"/>
                  <a:pt x="434" y="388"/>
                </a:cubicBezTo>
                <a:cubicBezTo>
                  <a:pt x="434" y="388"/>
                  <a:pt x="434" y="388"/>
                  <a:pt x="434" y="387"/>
                </a:cubicBezTo>
                <a:cubicBezTo>
                  <a:pt x="435" y="379"/>
                  <a:pt x="453" y="381"/>
                  <a:pt x="458" y="381"/>
                </a:cubicBezTo>
                <a:cubicBezTo>
                  <a:pt x="465" y="381"/>
                  <a:pt x="477" y="380"/>
                  <a:pt x="481" y="386"/>
                </a:cubicBezTo>
                <a:cubicBezTo>
                  <a:pt x="481" y="387"/>
                  <a:pt x="482" y="387"/>
                  <a:pt x="482" y="388"/>
                </a:cubicBezTo>
                <a:cubicBezTo>
                  <a:pt x="482" y="389"/>
                  <a:pt x="482" y="389"/>
                  <a:pt x="482" y="389"/>
                </a:cubicBezTo>
                <a:cubicBezTo>
                  <a:pt x="482" y="389"/>
                  <a:pt x="482" y="389"/>
                  <a:pt x="482" y="389"/>
                </a:cubicBezTo>
                <a:cubicBezTo>
                  <a:pt x="483" y="391"/>
                  <a:pt x="483" y="392"/>
                  <a:pt x="484" y="395"/>
                </a:cubicBezTo>
                <a:cubicBezTo>
                  <a:pt x="485" y="401"/>
                  <a:pt x="485" y="401"/>
                  <a:pt x="485" y="401"/>
                </a:cubicBezTo>
                <a:cubicBezTo>
                  <a:pt x="485" y="402"/>
                  <a:pt x="485" y="403"/>
                  <a:pt x="484" y="404"/>
                </a:cubicBezTo>
                <a:cubicBezTo>
                  <a:pt x="484" y="405"/>
                  <a:pt x="484" y="405"/>
                  <a:pt x="483" y="406"/>
                </a:cubicBezTo>
                <a:cubicBezTo>
                  <a:pt x="483" y="406"/>
                  <a:pt x="483" y="406"/>
                  <a:pt x="482" y="407"/>
                </a:cubicBezTo>
                <a:cubicBezTo>
                  <a:pt x="482" y="407"/>
                  <a:pt x="482" y="407"/>
                  <a:pt x="482" y="407"/>
                </a:cubicBezTo>
                <a:cubicBezTo>
                  <a:pt x="482" y="407"/>
                  <a:pt x="482" y="407"/>
                  <a:pt x="482" y="407"/>
                </a:cubicBezTo>
                <a:cubicBezTo>
                  <a:pt x="481" y="407"/>
                  <a:pt x="481" y="407"/>
                  <a:pt x="481" y="407"/>
                </a:cubicBezTo>
                <a:cubicBezTo>
                  <a:pt x="480" y="408"/>
                  <a:pt x="480" y="408"/>
                  <a:pt x="480" y="408"/>
                </a:cubicBezTo>
                <a:cubicBezTo>
                  <a:pt x="479" y="408"/>
                  <a:pt x="479" y="408"/>
                  <a:pt x="479" y="408"/>
                </a:cubicBezTo>
                <a:cubicBezTo>
                  <a:pt x="479" y="408"/>
                  <a:pt x="479" y="408"/>
                  <a:pt x="478" y="408"/>
                </a:cubicBezTo>
                <a:cubicBezTo>
                  <a:pt x="478" y="408"/>
                  <a:pt x="478" y="409"/>
                  <a:pt x="477" y="409"/>
                </a:cubicBezTo>
                <a:cubicBezTo>
                  <a:pt x="477" y="409"/>
                  <a:pt x="477" y="409"/>
                  <a:pt x="477" y="409"/>
                </a:cubicBezTo>
                <a:cubicBezTo>
                  <a:pt x="477" y="409"/>
                  <a:pt x="476" y="409"/>
                  <a:pt x="475" y="409"/>
                </a:cubicBezTo>
                <a:cubicBezTo>
                  <a:pt x="474" y="409"/>
                  <a:pt x="474" y="409"/>
                  <a:pt x="473" y="409"/>
                </a:cubicBezTo>
                <a:cubicBezTo>
                  <a:pt x="473" y="409"/>
                  <a:pt x="473" y="409"/>
                  <a:pt x="473" y="409"/>
                </a:cubicBezTo>
                <a:cubicBezTo>
                  <a:pt x="473" y="409"/>
                  <a:pt x="473" y="409"/>
                  <a:pt x="473" y="409"/>
                </a:cubicBezTo>
                <a:cubicBezTo>
                  <a:pt x="473" y="409"/>
                  <a:pt x="473" y="409"/>
                  <a:pt x="473" y="409"/>
                </a:cubicBezTo>
                <a:cubicBezTo>
                  <a:pt x="465" y="409"/>
                  <a:pt x="457" y="409"/>
                  <a:pt x="449" y="409"/>
                </a:cubicBezTo>
                <a:cubicBezTo>
                  <a:pt x="448" y="409"/>
                  <a:pt x="447" y="409"/>
                  <a:pt x="447" y="409"/>
                </a:cubicBezTo>
                <a:cubicBezTo>
                  <a:pt x="446" y="409"/>
                  <a:pt x="446" y="409"/>
                  <a:pt x="446" y="409"/>
                </a:cubicBezTo>
                <a:cubicBezTo>
                  <a:pt x="445" y="409"/>
                  <a:pt x="445" y="409"/>
                  <a:pt x="444" y="409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408"/>
                  <a:pt x="444" y="408"/>
                  <a:pt x="444" y="408"/>
                </a:cubicBezTo>
                <a:cubicBezTo>
                  <a:pt x="443" y="408"/>
                  <a:pt x="442" y="408"/>
                  <a:pt x="442" y="408"/>
                </a:cubicBezTo>
                <a:cubicBezTo>
                  <a:pt x="441" y="408"/>
                  <a:pt x="441" y="407"/>
                  <a:pt x="441" y="407"/>
                </a:cubicBezTo>
                <a:cubicBezTo>
                  <a:pt x="441" y="407"/>
                  <a:pt x="440" y="407"/>
                  <a:pt x="440" y="407"/>
                </a:cubicBezTo>
                <a:cubicBezTo>
                  <a:pt x="440" y="407"/>
                  <a:pt x="440" y="407"/>
                  <a:pt x="440" y="407"/>
                </a:cubicBezTo>
                <a:cubicBezTo>
                  <a:pt x="439" y="406"/>
                  <a:pt x="437" y="405"/>
                  <a:pt x="437" y="404"/>
                </a:cubicBezTo>
                <a:close/>
                <a:moveTo>
                  <a:pt x="494" y="451"/>
                </a:moveTo>
                <a:cubicBezTo>
                  <a:pt x="493" y="453"/>
                  <a:pt x="492" y="453"/>
                  <a:pt x="491" y="454"/>
                </a:cubicBezTo>
                <a:cubicBezTo>
                  <a:pt x="490" y="455"/>
                  <a:pt x="489" y="456"/>
                  <a:pt x="487" y="456"/>
                </a:cubicBezTo>
                <a:cubicBezTo>
                  <a:pt x="485" y="457"/>
                  <a:pt x="484" y="457"/>
                  <a:pt x="481" y="457"/>
                </a:cubicBezTo>
                <a:cubicBezTo>
                  <a:pt x="476" y="457"/>
                  <a:pt x="476" y="457"/>
                  <a:pt x="476" y="457"/>
                </a:cubicBezTo>
                <a:cubicBezTo>
                  <a:pt x="476" y="457"/>
                  <a:pt x="476" y="457"/>
                  <a:pt x="476" y="457"/>
                </a:cubicBezTo>
                <a:cubicBezTo>
                  <a:pt x="469" y="457"/>
                  <a:pt x="462" y="457"/>
                  <a:pt x="454" y="457"/>
                </a:cubicBezTo>
                <a:cubicBezTo>
                  <a:pt x="453" y="457"/>
                  <a:pt x="453" y="457"/>
                  <a:pt x="452" y="457"/>
                </a:cubicBezTo>
                <a:cubicBezTo>
                  <a:pt x="451" y="457"/>
                  <a:pt x="451" y="457"/>
                  <a:pt x="451" y="457"/>
                </a:cubicBezTo>
                <a:cubicBezTo>
                  <a:pt x="450" y="457"/>
                  <a:pt x="450" y="457"/>
                  <a:pt x="449" y="457"/>
                </a:cubicBezTo>
                <a:cubicBezTo>
                  <a:pt x="449" y="457"/>
                  <a:pt x="449" y="457"/>
                  <a:pt x="448" y="457"/>
                </a:cubicBezTo>
                <a:cubicBezTo>
                  <a:pt x="448" y="457"/>
                  <a:pt x="448" y="457"/>
                  <a:pt x="448" y="457"/>
                </a:cubicBezTo>
                <a:cubicBezTo>
                  <a:pt x="445" y="456"/>
                  <a:pt x="442" y="454"/>
                  <a:pt x="440" y="451"/>
                </a:cubicBezTo>
                <a:cubicBezTo>
                  <a:pt x="440" y="451"/>
                  <a:pt x="440" y="451"/>
                  <a:pt x="440" y="451"/>
                </a:cubicBezTo>
                <a:cubicBezTo>
                  <a:pt x="440" y="451"/>
                  <a:pt x="440" y="451"/>
                  <a:pt x="440" y="451"/>
                </a:cubicBezTo>
                <a:cubicBezTo>
                  <a:pt x="440" y="451"/>
                  <a:pt x="440" y="451"/>
                  <a:pt x="440" y="450"/>
                </a:cubicBezTo>
                <a:cubicBezTo>
                  <a:pt x="439" y="450"/>
                  <a:pt x="439" y="449"/>
                  <a:pt x="439" y="449"/>
                </a:cubicBezTo>
                <a:cubicBezTo>
                  <a:pt x="439" y="449"/>
                  <a:pt x="439" y="449"/>
                  <a:pt x="439" y="448"/>
                </a:cubicBezTo>
                <a:cubicBezTo>
                  <a:pt x="439" y="448"/>
                  <a:pt x="439" y="448"/>
                  <a:pt x="439" y="448"/>
                </a:cubicBezTo>
                <a:cubicBezTo>
                  <a:pt x="439" y="447"/>
                  <a:pt x="439" y="447"/>
                  <a:pt x="439" y="447"/>
                </a:cubicBezTo>
                <a:cubicBezTo>
                  <a:pt x="439" y="447"/>
                  <a:pt x="439" y="447"/>
                  <a:pt x="439" y="447"/>
                </a:cubicBezTo>
                <a:cubicBezTo>
                  <a:pt x="439" y="444"/>
                  <a:pt x="438" y="439"/>
                  <a:pt x="438" y="435"/>
                </a:cubicBezTo>
                <a:cubicBezTo>
                  <a:pt x="438" y="435"/>
                  <a:pt x="438" y="434"/>
                  <a:pt x="438" y="433"/>
                </a:cubicBezTo>
                <a:cubicBezTo>
                  <a:pt x="438" y="431"/>
                  <a:pt x="438" y="431"/>
                  <a:pt x="438" y="431"/>
                </a:cubicBezTo>
                <a:cubicBezTo>
                  <a:pt x="438" y="431"/>
                  <a:pt x="438" y="431"/>
                  <a:pt x="438" y="431"/>
                </a:cubicBezTo>
                <a:cubicBezTo>
                  <a:pt x="438" y="430"/>
                  <a:pt x="438" y="430"/>
                  <a:pt x="438" y="430"/>
                </a:cubicBezTo>
                <a:cubicBezTo>
                  <a:pt x="438" y="430"/>
                  <a:pt x="438" y="429"/>
                  <a:pt x="438" y="429"/>
                </a:cubicBezTo>
                <a:cubicBezTo>
                  <a:pt x="438" y="429"/>
                  <a:pt x="438" y="429"/>
                  <a:pt x="438" y="428"/>
                </a:cubicBezTo>
                <a:cubicBezTo>
                  <a:pt x="439" y="428"/>
                  <a:pt x="439" y="428"/>
                  <a:pt x="439" y="428"/>
                </a:cubicBezTo>
                <a:cubicBezTo>
                  <a:pt x="439" y="428"/>
                  <a:pt x="439" y="428"/>
                  <a:pt x="439" y="428"/>
                </a:cubicBezTo>
                <a:cubicBezTo>
                  <a:pt x="439" y="427"/>
                  <a:pt x="439" y="427"/>
                  <a:pt x="439" y="427"/>
                </a:cubicBezTo>
                <a:cubicBezTo>
                  <a:pt x="440" y="426"/>
                  <a:pt x="440" y="426"/>
                  <a:pt x="440" y="426"/>
                </a:cubicBezTo>
                <a:cubicBezTo>
                  <a:pt x="440" y="426"/>
                  <a:pt x="441" y="426"/>
                  <a:pt x="441" y="425"/>
                </a:cubicBezTo>
                <a:cubicBezTo>
                  <a:pt x="441" y="425"/>
                  <a:pt x="441" y="425"/>
                  <a:pt x="441" y="425"/>
                </a:cubicBezTo>
                <a:cubicBezTo>
                  <a:pt x="441" y="425"/>
                  <a:pt x="441" y="425"/>
                  <a:pt x="441" y="425"/>
                </a:cubicBezTo>
                <a:cubicBezTo>
                  <a:pt x="442" y="425"/>
                  <a:pt x="442" y="425"/>
                  <a:pt x="443" y="424"/>
                </a:cubicBezTo>
                <a:cubicBezTo>
                  <a:pt x="443" y="424"/>
                  <a:pt x="443" y="424"/>
                  <a:pt x="443" y="424"/>
                </a:cubicBezTo>
                <a:cubicBezTo>
                  <a:pt x="444" y="424"/>
                  <a:pt x="444" y="424"/>
                  <a:pt x="444" y="424"/>
                </a:cubicBezTo>
                <a:cubicBezTo>
                  <a:pt x="444" y="424"/>
                  <a:pt x="444" y="424"/>
                  <a:pt x="444" y="424"/>
                </a:cubicBezTo>
                <a:cubicBezTo>
                  <a:pt x="444" y="424"/>
                  <a:pt x="445" y="423"/>
                  <a:pt x="445" y="423"/>
                </a:cubicBezTo>
                <a:cubicBezTo>
                  <a:pt x="446" y="423"/>
                  <a:pt x="446" y="423"/>
                  <a:pt x="446" y="423"/>
                </a:cubicBezTo>
                <a:cubicBezTo>
                  <a:pt x="446" y="423"/>
                  <a:pt x="447" y="423"/>
                  <a:pt x="447" y="423"/>
                </a:cubicBezTo>
                <a:cubicBezTo>
                  <a:pt x="448" y="423"/>
                  <a:pt x="448" y="423"/>
                  <a:pt x="449" y="423"/>
                </a:cubicBezTo>
                <a:cubicBezTo>
                  <a:pt x="450" y="423"/>
                  <a:pt x="450" y="423"/>
                  <a:pt x="450" y="423"/>
                </a:cubicBezTo>
                <a:cubicBezTo>
                  <a:pt x="450" y="423"/>
                  <a:pt x="450" y="423"/>
                  <a:pt x="451" y="423"/>
                </a:cubicBezTo>
                <a:cubicBezTo>
                  <a:pt x="452" y="423"/>
                  <a:pt x="452" y="423"/>
                  <a:pt x="452" y="423"/>
                </a:cubicBezTo>
                <a:cubicBezTo>
                  <a:pt x="453" y="423"/>
                  <a:pt x="454" y="423"/>
                  <a:pt x="455" y="423"/>
                </a:cubicBezTo>
                <a:cubicBezTo>
                  <a:pt x="457" y="423"/>
                  <a:pt x="458" y="423"/>
                  <a:pt x="459" y="423"/>
                </a:cubicBezTo>
                <a:cubicBezTo>
                  <a:pt x="469" y="423"/>
                  <a:pt x="469" y="423"/>
                  <a:pt x="469" y="423"/>
                </a:cubicBezTo>
                <a:cubicBezTo>
                  <a:pt x="472" y="423"/>
                  <a:pt x="475" y="423"/>
                  <a:pt x="478" y="423"/>
                </a:cubicBezTo>
                <a:cubicBezTo>
                  <a:pt x="478" y="423"/>
                  <a:pt x="479" y="423"/>
                  <a:pt x="479" y="423"/>
                </a:cubicBezTo>
                <a:cubicBezTo>
                  <a:pt x="479" y="423"/>
                  <a:pt x="480" y="423"/>
                  <a:pt x="480" y="423"/>
                </a:cubicBezTo>
                <a:cubicBezTo>
                  <a:pt x="480" y="423"/>
                  <a:pt x="480" y="423"/>
                  <a:pt x="481" y="423"/>
                </a:cubicBezTo>
                <a:cubicBezTo>
                  <a:pt x="481" y="423"/>
                  <a:pt x="481" y="423"/>
                  <a:pt x="481" y="423"/>
                </a:cubicBezTo>
                <a:cubicBezTo>
                  <a:pt x="481" y="423"/>
                  <a:pt x="481" y="423"/>
                  <a:pt x="481" y="423"/>
                </a:cubicBezTo>
                <a:cubicBezTo>
                  <a:pt x="482" y="423"/>
                  <a:pt x="482" y="424"/>
                  <a:pt x="483" y="424"/>
                </a:cubicBezTo>
                <a:cubicBezTo>
                  <a:pt x="483" y="424"/>
                  <a:pt x="484" y="424"/>
                  <a:pt x="484" y="424"/>
                </a:cubicBezTo>
                <a:cubicBezTo>
                  <a:pt x="484" y="424"/>
                  <a:pt x="484" y="424"/>
                  <a:pt x="484" y="425"/>
                </a:cubicBezTo>
                <a:cubicBezTo>
                  <a:pt x="485" y="425"/>
                  <a:pt x="485" y="425"/>
                  <a:pt x="486" y="425"/>
                </a:cubicBezTo>
                <a:cubicBezTo>
                  <a:pt x="487" y="426"/>
                  <a:pt x="488" y="427"/>
                  <a:pt x="489" y="428"/>
                </a:cubicBezTo>
                <a:cubicBezTo>
                  <a:pt x="490" y="429"/>
                  <a:pt x="491" y="430"/>
                  <a:pt x="491" y="431"/>
                </a:cubicBezTo>
                <a:cubicBezTo>
                  <a:pt x="492" y="438"/>
                  <a:pt x="492" y="438"/>
                  <a:pt x="492" y="438"/>
                </a:cubicBezTo>
                <a:cubicBezTo>
                  <a:pt x="493" y="441"/>
                  <a:pt x="493" y="443"/>
                  <a:pt x="494" y="446"/>
                </a:cubicBezTo>
                <a:cubicBezTo>
                  <a:pt x="494" y="446"/>
                  <a:pt x="494" y="446"/>
                  <a:pt x="494" y="446"/>
                </a:cubicBezTo>
                <a:cubicBezTo>
                  <a:pt x="494" y="448"/>
                  <a:pt x="494" y="448"/>
                  <a:pt x="494" y="448"/>
                </a:cubicBezTo>
                <a:cubicBezTo>
                  <a:pt x="494" y="449"/>
                  <a:pt x="494" y="450"/>
                  <a:pt x="494" y="451"/>
                </a:cubicBezTo>
                <a:close/>
                <a:moveTo>
                  <a:pt x="508" y="369"/>
                </a:moveTo>
                <a:cubicBezTo>
                  <a:pt x="507" y="368"/>
                  <a:pt x="505" y="368"/>
                  <a:pt x="505" y="367"/>
                </a:cubicBezTo>
                <a:cubicBezTo>
                  <a:pt x="504" y="366"/>
                  <a:pt x="503" y="365"/>
                  <a:pt x="503" y="365"/>
                </a:cubicBezTo>
                <a:cubicBezTo>
                  <a:pt x="502" y="363"/>
                  <a:pt x="502" y="363"/>
                  <a:pt x="502" y="363"/>
                </a:cubicBezTo>
                <a:cubicBezTo>
                  <a:pt x="502" y="361"/>
                  <a:pt x="501" y="359"/>
                  <a:pt x="500" y="357"/>
                </a:cubicBezTo>
                <a:cubicBezTo>
                  <a:pt x="500" y="356"/>
                  <a:pt x="499" y="355"/>
                  <a:pt x="499" y="353"/>
                </a:cubicBezTo>
                <a:cubicBezTo>
                  <a:pt x="499" y="353"/>
                  <a:pt x="499" y="353"/>
                  <a:pt x="499" y="353"/>
                </a:cubicBezTo>
                <a:cubicBezTo>
                  <a:pt x="499" y="353"/>
                  <a:pt x="499" y="353"/>
                  <a:pt x="499" y="353"/>
                </a:cubicBezTo>
                <a:cubicBezTo>
                  <a:pt x="499" y="352"/>
                  <a:pt x="499" y="352"/>
                  <a:pt x="499" y="352"/>
                </a:cubicBezTo>
                <a:cubicBezTo>
                  <a:pt x="499" y="352"/>
                  <a:pt x="499" y="352"/>
                  <a:pt x="499" y="352"/>
                </a:cubicBezTo>
                <a:cubicBezTo>
                  <a:pt x="499" y="352"/>
                  <a:pt x="499" y="352"/>
                  <a:pt x="499" y="352"/>
                </a:cubicBezTo>
                <a:cubicBezTo>
                  <a:pt x="501" y="348"/>
                  <a:pt x="508" y="348"/>
                  <a:pt x="511" y="348"/>
                </a:cubicBezTo>
                <a:cubicBezTo>
                  <a:pt x="528" y="348"/>
                  <a:pt x="528" y="348"/>
                  <a:pt x="528" y="348"/>
                </a:cubicBezTo>
                <a:cubicBezTo>
                  <a:pt x="529" y="348"/>
                  <a:pt x="531" y="348"/>
                  <a:pt x="532" y="349"/>
                </a:cubicBezTo>
                <a:cubicBezTo>
                  <a:pt x="532" y="349"/>
                  <a:pt x="533" y="349"/>
                  <a:pt x="533" y="349"/>
                </a:cubicBezTo>
                <a:cubicBezTo>
                  <a:pt x="533" y="349"/>
                  <a:pt x="534" y="349"/>
                  <a:pt x="534" y="349"/>
                </a:cubicBezTo>
                <a:cubicBezTo>
                  <a:pt x="534" y="349"/>
                  <a:pt x="534" y="349"/>
                  <a:pt x="534" y="349"/>
                </a:cubicBezTo>
                <a:cubicBezTo>
                  <a:pt x="535" y="349"/>
                  <a:pt x="536" y="350"/>
                  <a:pt x="536" y="350"/>
                </a:cubicBezTo>
                <a:cubicBezTo>
                  <a:pt x="536" y="350"/>
                  <a:pt x="536" y="350"/>
                  <a:pt x="536" y="350"/>
                </a:cubicBezTo>
                <a:cubicBezTo>
                  <a:pt x="536" y="350"/>
                  <a:pt x="536" y="350"/>
                  <a:pt x="536" y="350"/>
                </a:cubicBezTo>
                <a:cubicBezTo>
                  <a:pt x="537" y="350"/>
                  <a:pt x="537" y="350"/>
                  <a:pt x="538" y="350"/>
                </a:cubicBezTo>
                <a:cubicBezTo>
                  <a:pt x="538" y="351"/>
                  <a:pt x="538" y="351"/>
                  <a:pt x="538" y="351"/>
                </a:cubicBezTo>
                <a:cubicBezTo>
                  <a:pt x="538" y="351"/>
                  <a:pt x="538" y="351"/>
                  <a:pt x="539" y="351"/>
                </a:cubicBezTo>
                <a:cubicBezTo>
                  <a:pt x="539" y="351"/>
                  <a:pt x="539" y="351"/>
                  <a:pt x="539" y="351"/>
                </a:cubicBezTo>
                <a:cubicBezTo>
                  <a:pt x="539" y="352"/>
                  <a:pt x="539" y="352"/>
                  <a:pt x="539" y="352"/>
                </a:cubicBezTo>
                <a:cubicBezTo>
                  <a:pt x="540" y="352"/>
                  <a:pt x="541" y="353"/>
                  <a:pt x="541" y="354"/>
                </a:cubicBezTo>
                <a:cubicBezTo>
                  <a:pt x="541" y="354"/>
                  <a:pt x="541" y="354"/>
                  <a:pt x="541" y="354"/>
                </a:cubicBezTo>
                <a:cubicBezTo>
                  <a:pt x="543" y="356"/>
                  <a:pt x="544" y="359"/>
                  <a:pt x="545" y="361"/>
                </a:cubicBezTo>
                <a:cubicBezTo>
                  <a:pt x="545" y="361"/>
                  <a:pt x="545" y="361"/>
                  <a:pt x="545" y="361"/>
                </a:cubicBezTo>
                <a:cubicBezTo>
                  <a:pt x="546" y="363"/>
                  <a:pt x="547" y="364"/>
                  <a:pt x="547" y="365"/>
                </a:cubicBezTo>
                <a:cubicBezTo>
                  <a:pt x="547" y="366"/>
                  <a:pt x="547" y="366"/>
                  <a:pt x="547" y="366"/>
                </a:cubicBezTo>
                <a:cubicBezTo>
                  <a:pt x="547" y="366"/>
                  <a:pt x="547" y="366"/>
                  <a:pt x="547" y="366"/>
                </a:cubicBezTo>
                <a:cubicBezTo>
                  <a:pt x="547" y="368"/>
                  <a:pt x="545" y="369"/>
                  <a:pt x="543" y="370"/>
                </a:cubicBezTo>
                <a:cubicBezTo>
                  <a:pt x="542" y="370"/>
                  <a:pt x="542" y="370"/>
                  <a:pt x="542" y="370"/>
                </a:cubicBezTo>
                <a:cubicBezTo>
                  <a:pt x="542" y="370"/>
                  <a:pt x="542" y="370"/>
                  <a:pt x="542" y="370"/>
                </a:cubicBezTo>
                <a:cubicBezTo>
                  <a:pt x="542" y="370"/>
                  <a:pt x="541" y="370"/>
                  <a:pt x="541" y="371"/>
                </a:cubicBezTo>
                <a:cubicBezTo>
                  <a:pt x="540" y="371"/>
                  <a:pt x="540" y="371"/>
                  <a:pt x="540" y="371"/>
                </a:cubicBezTo>
                <a:cubicBezTo>
                  <a:pt x="540" y="371"/>
                  <a:pt x="539" y="371"/>
                  <a:pt x="539" y="371"/>
                </a:cubicBezTo>
                <a:cubicBezTo>
                  <a:pt x="539" y="371"/>
                  <a:pt x="538" y="371"/>
                  <a:pt x="538" y="371"/>
                </a:cubicBezTo>
                <a:cubicBezTo>
                  <a:pt x="538" y="371"/>
                  <a:pt x="538" y="371"/>
                  <a:pt x="538" y="371"/>
                </a:cubicBezTo>
                <a:cubicBezTo>
                  <a:pt x="538" y="371"/>
                  <a:pt x="538" y="371"/>
                  <a:pt x="538" y="371"/>
                </a:cubicBezTo>
                <a:cubicBezTo>
                  <a:pt x="535" y="371"/>
                  <a:pt x="532" y="371"/>
                  <a:pt x="530" y="371"/>
                </a:cubicBezTo>
                <a:cubicBezTo>
                  <a:pt x="526" y="371"/>
                  <a:pt x="521" y="371"/>
                  <a:pt x="517" y="371"/>
                </a:cubicBezTo>
                <a:cubicBezTo>
                  <a:pt x="514" y="371"/>
                  <a:pt x="511" y="370"/>
                  <a:pt x="508" y="369"/>
                </a:cubicBezTo>
                <a:cubicBezTo>
                  <a:pt x="508" y="369"/>
                  <a:pt x="508" y="369"/>
                  <a:pt x="508" y="369"/>
                </a:cubicBezTo>
                <a:close/>
                <a:moveTo>
                  <a:pt x="519" y="405"/>
                </a:moveTo>
                <a:cubicBezTo>
                  <a:pt x="518" y="404"/>
                  <a:pt x="517" y="403"/>
                  <a:pt x="517" y="402"/>
                </a:cubicBezTo>
                <a:cubicBezTo>
                  <a:pt x="515" y="396"/>
                  <a:pt x="515" y="396"/>
                  <a:pt x="515" y="396"/>
                </a:cubicBezTo>
                <a:cubicBezTo>
                  <a:pt x="514" y="394"/>
                  <a:pt x="513" y="392"/>
                  <a:pt x="512" y="390"/>
                </a:cubicBezTo>
                <a:cubicBezTo>
                  <a:pt x="512" y="390"/>
                  <a:pt x="512" y="390"/>
                  <a:pt x="512" y="390"/>
                </a:cubicBezTo>
                <a:cubicBezTo>
                  <a:pt x="512" y="389"/>
                  <a:pt x="512" y="389"/>
                  <a:pt x="512" y="389"/>
                </a:cubicBezTo>
                <a:cubicBezTo>
                  <a:pt x="512" y="388"/>
                  <a:pt x="512" y="387"/>
                  <a:pt x="512" y="386"/>
                </a:cubicBezTo>
                <a:cubicBezTo>
                  <a:pt x="512" y="386"/>
                  <a:pt x="513" y="385"/>
                  <a:pt x="513" y="385"/>
                </a:cubicBezTo>
                <a:cubicBezTo>
                  <a:pt x="513" y="385"/>
                  <a:pt x="513" y="385"/>
                  <a:pt x="514" y="385"/>
                </a:cubicBezTo>
                <a:cubicBezTo>
                  <a:pt x="514" y="384"/>
                  <a:pt x="514" y="384"/>
                  <a:pt x="514" y="384"/>
                </a:cubicBezTo>
                <a:cubicBezTo>
                  <a:pt x="515" y="384"/>
                  <a:pt x="516" y="383"/>
                  <a:pt x="517" y="383"/>
                </a:cubicBezTo>
                <a:cubicBezTo>
                  <a:pt x="518" y="383"/>
                  <a:pt x="519" y="383"/>
                  <a:pt x="520" y="382"/>
                </a:cubicBezTo>
                <a:cubicBezTo>
                  <a:pt x="525" y="382"/>
                  <a:pt x="530" y="382"/>
                  <a:pt x="532" y="382"/>
                </a:cubicBezTo>
                <a:cubicBezTo>
                  <a:pt x="540" y="382"/>
                  <a:pt x="554" y="381"/>
                  <a:pt x="559" y="389"/>
                </a:cubicBezTo>
                <a:cubicBezTo>
                  <a:pt x="559" y="389"/>
                  <a:pt x="559" y="389"/>
                  <a:pt x="559" y="389"/>
                </a:cubicBezTo>
                <a:cubicBezTo>
                  <a:pt x="559" y="389"/>
                  <a:pt x="559" y="389"/>
                  <a:pt x="559" y="389"/>
                </a:cubicBezTo>
                <a:cubicBezTo>
                  <a:pt x="559" y="389"/>
                  <a:pt x="559" y="389"/>
                  <a:pt x="559" y="389"/>
                </a:cubicBezTo>
                <a:cubicBezTo>
                  <a:pt x="561" y="393"/>
                  <a:pt x="562" y="396"/>
                  <a:pt x="564" y="400"/>
                </a:cubicBezTo>
                <a:cubicBezTo>
                  <a:pt x="565" y="401"/>
                  <a:pt x="565" y="402"/>
                  <a:pt x="566" y="403"/>
                </a:cubicBezTo>
                <a:cubicBezTo>
                  <a:pt x="566" y="403"/>
                  <a:pt x="566" y="403"/>
                  <a:pt x="566" y="403"/>
                </a:cubicBezTo>
                <a:cubicBezTo>
                  <a:pt x="566" y="404"/>
                  <a:pt x="566" y="404"/>
                  <a:pt x="566" y="404"/>
                </a:cubicBezTo>
                <a:cubicBezTo>
                  <a:pt x="566" y="404"/>
                  <a:pt x="566" y="405"/>
                  <a:pt x="566" y="405"/>
                </a:cubicBezTo>
                <a:cubicBezTo>
                  <a:pt x="566" y="405"/>
                  <a:pt x="566" y="405"/>
                  <a:pt x="566" y="405"/>
                </a:cubicBezTo>
                <a:cubicBezTo>
                  <a:pt x="566" y="405"/>
                  <a:pt x="566" y="405"/>
                  <a:pt x="566" y="405"/>
                </a:cubicBezTo>
                <a:cubicBezTo>
                  <a:pt x="566" y="406"/>
                  <a:pt x="565" y="406"/>
                  <a:pt x="565" y="406"/>
                </a:cubicBezTo>
                <a:cubicBezTo>
                  <a:pt x="565" y="406"/>
                  <a:pt x="565" y="406"/>
                  <a:pt x="565" y="406"/>
                </a:cubicBezTo>
                <a:cubicBezTo>
                  <a:pt x="565" y="407"/>
                  <a:pt x="565" y="407"/>
                  <a:pt x="564" y="407"/>
                </a:cubicBezTo>
                <a:cubicBezTo>
                  <a:pt x="564" y="407"/>
                  <a:pt x="564" y="407"/>
                  <a:pt x="564" y="407"/>
                </a:cubicBezTo>
                <a:cubicBezTo>
                  <a:pt x="564" y="408"/>
                  <a:pt x="564" y="408"/>
                  <a:pt x="564" y="408"/>
                </a:cubicBezTo>
                <a:cubicBezTo>
                  <a:pt x="564" y="408"/>
                  <a:pt x="563" y="408"/>
                  <a:pt x="563" y="408"/>
                </a:cubicBezTo>
                <a:cubicBezTo>
                  <a:pt x="563" y="408"/>
                  <a:pt x="562" y="409"/>
                  <a:pt x="561" y="409"/>
                </a:cubicBezTo>
                <a:cubicBezTo>
                  <a:pt x="561" y="409"/>
                  <a:pt x="561" y="409"/>
                  <a:pt x="560" y="409"/>
                </a:cubicBezTo>
                <a:cubicBezTo>
                  <a:pt x="560" y="409"/>
                  <a:pt x="559" y="409"/>
                  <a:pt x="559" y="410"/>
                </a:cubicBezTo>
                <a:cubicBezTo>
                  <a:pt x="559" y="410"/>
                  <a:pt x="559" y="410"/>
                  <a:pt x="559" y="410"/>
                </a:cubicBezTo>
                <a:cubicBezTo>
                  <a:pt x="558" y="410"/>
                  <a:pt x="558" y="410"/>
                  <a:pt x="558" y="410"/>
                </a:cubicBezTo>
                <a:cubicBezTo>
                  <a:pt x="550" y="410"/>
                  <a:pt x="541" y="410"/>
                  <a:pt x="532" y="410"/>
                </a:cubicBezTo>
                <a:cubicBezTo>
                  <a:pt x="532" y="410"/>
                  <a:pt x="531" y="410"/>
                  <a:pt x="530" y="410"/>
                </a:cubicBezTo>
                <a:cubicBezTo>
                  <a:pt x="530" y="410"/>
                  <a:pt x="530" y="410"/>
                  <a:pt x="530" y="410"/>
                </a:cubicBezTo>
                <a:cubicBezTo>
                  <a:pt x="527" y="409"/>
                  <a:pt x="524" y="408"/>
                  <a:pt x="521" y="406"/>
                </a:cubicBezTo>
                <a:cubicBezTo>
                  <a:pt x="520" y="406"/>
                  <a:pt x="520" y="406"/>
                  <a:pt x="519" y="405"/>
                </a:cubicBezTo>
                <a:close/>
                <a:moveTo>
                  <a:pt x="589" y="451"/>
                </a:moveTo>
                <a:cubicBezTo>
                  <a:pt x="589" y="452"/>
                  <a:pt x="588" y="452"/>
                  <a:pt x="588" y="452"/>
                </a:cubicBezTo>
                <a:cubicBezTo>
                  <a:pt x="588" y="452"/>
                  <a:pt x="588" y="452"/>
                  <a:pt x="588" y="453"/>
                </a:cubicBezTo>
                <a:cubicBezTo>
                  <a:pt x="588" y="453"/>
                  <a:pt x="588" y="453"/>
                  <a:pt x="588" y="453"/>
                </a:cubicBezTo>
                <a:cubicBezTo>
                  <a:pt x="588" y="453"/>
                  <a:pt x="588" y="453"/>
                  <a:pt x="588" y="454"/>
                </a:cubicBezTo>
                <a:cubicBezTo>
                  <a:pt x="588" y="454"/>
                  <a:pt x="588" y="454"/>
                  <a:pt x="587" y="454"/>
                </a:cubicBezTo>
                <a:cubicBezTo>
                  <a:pt x="587" y="454"/>
                  <a:pt x="587" y="454"/>
                  <a:pt x="587" y="454"/>
                </a:cubicBezTo>
                <a:cubicBezTo>
                  <a:pt x="587" y="454"/>
                  <a:pt x="587" y="454"/>
                  <a:pt x="587" y="455"/>
                </a:cubicBezTo>
                <a:cubicBezTo>
                  <a:pt x="585" y="456"/>
                  <a:pt x="583" y="457"/>
                  <a:pt x="581" y="457"/>
                </a:cubicBezTo>
                <a:cubicBezTo>
                  <a:pt x="581" y="457"/>
                  <a:pt x="581" y="457"/>
                  <a:pt x="581" y="457"/>
                </a:cubicBezTo>
                <a:cubicBezTo>
                  <a:pt x="580" y="457"/>
                  <a:pt x="579" y="457"/>
                  <a:pt x="578" y="457"/>
                </a:cubicBezTo>
                <a:cubicBezTo>
                  <a:pt x="578" y="457"/>
                  <a:pt x="578" y="457"/>
                  <a:pt x="578" y="457"/>
                </a:cubicBezTo>
                <a:cubicBezTo>
                  <a:pt x="577" y="457"/>
                  <a:pt x="577" y="457"/>
                  <a:pt x="577" y="457"/>
                </a:cubicBezTo>
                <a:cubicBezTo>
                  <a:pt x="577" y="457"/>
                  <a:pt x="576" y="457"/>
                  <a:pt x="575" y="457"/>
                </a:cubicBezTo>
                <a:cubicBezTo>
                  <a:pt x="552" y="457"/>
                  <a:pt x="552" y="457"/>
                  <a:pt x="552" y="457"/>
                </a:cubicBezTo>
                <a:cubicBezTo>
                  <a:pt x="551" y="457"/>
                  <a:pt x="550" y="457"/>
                  <a:pt x="549" y="457"/>
                </a:cubicBezTo>
                <a:cubicBezTo>
                  <a:pt x="549" y="457"/>
                  <a:pt x="549" y="457"/>
                  <a:pt x="548" y="457"/>
                </a:cubicBezTo>
                <a:cubicBezTo>
                  <a:pt x="543" y="456"/>
                  <a:pt x="538" y="454"/>
                  <a:pt x="535" y="450"/>
                </a:cubicBezTo>
                <a:cubicBezTo>
                  <a:pt x="534" y="449"/>
                  <a:pt x="534" y="449"/>
                  <a:pt x="534" y="448"/>
                </a:cubicBezTo>
                <a:cubicBezTo>
                  <a:pt x="534" y="448"/>
                  <a:pt x="534" y="448"/>
                  <a:pt x="534" y="448"/>
                </a:cubicBezTo>
                <a:cubicBezTo>
                  <a:pt x="534" y="448"/>
                  <a:pt x="534" y="448"/>
                  <a:pt x="534" y="448"/>
                </a:cubicBezTo>
                <a:cubicBezTo>
                  <a:pt x="533" y="444"/>
                  <a:pt x="531" y="441"/>
                  <a:pt x="530" y="438"/>
                </a:cubicBezTo>
                <a:cubicBezTo>
                  <a:pt x="530" y="436"/>
                  <a:pt x="528" y="434"/>
                  <a:pt x="528" y="432"/>
                </a:cubicBezTo>
                <a:cubicBezTo>
                  <a:pt x="528" y="432"/>
                  <a:pt x="528" y="432"/>
                  <a:pt x="528" y="432"/>
                </a:cubicBezTo>
                <a:cubicBezTo>
                  <a:pt x="528" y="431"/>
                  <a:pt x="528" y="431"/>
                  <a:pt x="528" y="431"/>
                </a:cubicBezTo>
                <a:cubicBezTo>
                  <a:pt x="528" y="431"/>
                  <a:pt x="528" y="431"/>
                  <a:pt x="528" y="431"/>
                </a:cubicBezTo>
                <a:cubicBezTo>
                  <a:pt x="528" y="430"/>
                  <a:pt x="528" y="429"/>
                  <a:pt x="528" y="428"/>
                </a:cubicBezTo>
                <a:cubicBezTo>
                  <a:pt x="528" y="428"/>
                  <a:pt x="528" y="427"/>
                  <a:pt x="528" y="427"/>
                </a:cubicBezTo>
                <a:cubicBezTo>
                  <a:pt x="528" y="427"/>
                  <a:pt x="528" y="427"/>
                  <a:pt x="528" y="427"/>
                </a:cubicBezTo>
                <a:cubicBezTo>
                  <a:pt x="530" y="425"/>
                  <a:pt x="532" y="424"/>
                  <a:pt x="535" y="423"/>
                </a:cubicBezTo>
                <a:cubicBezTo>
                  <a:pt x="535" y="423"/>
                  <a:pt x="535" y="423"/>
                  <a:pt x="536" y="423"/>
                </a:cubicBezTo>
                <a:cubicBezTo>
                  <a:pt x="536" y="423"/>
                  <a:pt x="537" y="423"/>
                  <a:pt x="538" y="423"/>
                </a:cubicBezTo>
                <a:cubicBezTo>
                  <a:pt x="538" y="423"/>
                  <a:pt x="538" y="423"/>
                  <a:pt x="538" y="423"/>
                </a:cubicBezTo>
                <a:cubicBezTo>
                  <a:pt x="540" y="423"/>
                  <a:pt x="540" y="423"/>
                  <a:pt x="540" y="423"/>
                </a:cubicBezTo>
                <a:cubicBezTo>
                  <a:pt x="540" y="423"/>
                  <a:pt x="540" y="423"/>
                  <a:pt x="541" y="423"/>
                </a:cubicBezTo>
                <a:cubicBezTo>
                  <a:pt x="548" y="423"/>
                  <a:pt x="555" y="423"/>
                  <a:pt x="563" y="423"/>
                </a:cubicBezTo>
                <a:cubicBezTo>
                  <a:pt x="563" y="423"/>
                  <a:pt x="563" y="423"/>
                  <a:pt x="563" y="423"/>
                </a:cubicBezTo>
                <a:cubicBezTo>
                  <a:pt x="563" y="423"/>
                  <a:pt x="563" y="423"/>
                  <a:pt x="563" y="423"/>
                </a:cubicBezTo>
                <a:cubicBezTo>
                  <a:pt x="563" y="423"/>
                  <a:pt x="564" y="423"/>
                  <a:pt x="565" y="423"/>
                </a:cubicBezTo>
                <a:cubicBezTo>
                  <a:pt x="565" y="423"/>
                  <a:pt x="565" y="423"/>
                  <a:pt x="565" y="423"/>
                </a:cubicBezTo>
                <a:cubicBezTo>
                  <a:pt x="570" y="424"/>
                  <a:pt x="576" y="426"/>
                  <a:pt x="579" y="430"/>
                </a:cubicBezTo>
                <a:cubicBezTo>
                  <a:pt x="579" y="430"/>
                  <a:pt x="579" y="431"/>
                  <a:pt x="580" y="431"/>
                </a:cubicBezTo>
                <a:cubicBezTo>
                  <a:pt x="581" y="433"/>
                  <a:pt x="581" y="433"/>
                  <a:pt x="581" y="433"/>
                </a:cubicBezTo>
                <a:cubicBezTo>
                  <a:pt x="582" y="436"/>
                  <a:pt x="584" y="439"/>
                  <a:pt x="585" y="442"/>
                </a:cubicBezTo>
                <a:cubicBezTo>
                  <a:pt x="586" y="443"/>
                  <a:pt x="588" y="446"/>
                  <a:pt x="588" y="448"/>
                </a:cubicBezTo>
                <a:cubicBezTo>
                  <a:pt x="589" y="449"/>
                  <a:pt x="589" y="450"/>
                  <a:pt x="589" y="451"/>
                </a:cubicBezTo>
                <a:close/>
                <a:moveTo>
                  <a:pt x="594" y="406"/>
                </a:moveTo>
                <a:cubicBezTo>
                  <a:pt x="593" y="406"/>
                  <a:pt x="593" y="405"/>
                  <a:pt x="592" y="405"/>
                </a:cubicBezTo>
                <a:cubicBezTo>
                  <a:pt x="591" y="404"/>
                  <a:pt x="590" y="403"/>
                  <a:pt x="590" y="402"/>
                </a:cubicBezTo>
                <a:cubicBezTo>
                  <a:pt x="589" y="401"/>
                  <a:pt x="589" y="401"/>
                  <a:pt x="589" y="401"/>
                </a:cubicBezTo>
                <a:cubicBezTo>
                  <a:pt x="589" y="401"/>
                  <a:pt x="589" y="401"/>
                  <a:pt x="589" y="401"/>
                </a:cubicBezTo>
                <a:cubicBezTo>
                  <a:pt x="587" y="398"/>
                  <a:pt x="585" y="394"/>
                  <a:pt x="583" y="390"/>
                </a:cubicBezTo>
                <a:cubicBezTo>
                  <a:pt x="583" y="390"/>
                  <a:pt x="583" y="390"/>
                  <a:pt x="583" y="390"/>
                </a:cubicBezTo>
                <a:cubicBezTo>
                  <a:pt x="582" y="389"/>
                  <a:pt x="582" y="389"/>
                  <a:pt x="582" y="389"/>
                </a:cubicBezTo>
                <a:cubicBezTo>
                  <a:pt x="582" y="388"/>
                  <a:pt x="582" y="387"/>
                  <a:pt x="582" y="386"/>
                </a:cubicBezTo>
                <a:cubicBezTo>
                  <a:pt x="582" y="385"/>
                  <a:pt x="582" y="385"/>
                  <a:pt x="583" y="384"/>
                </a:cubicBezTo>
                <a:cubicBezTo>
                  <a:pt x="584" y="383"/>
                  <a:pt x="585" y="383"/>
                  <a:pt x="586" y="383"/>
                </a:cubicBezTo>
                <a:cubicBezTo>
                  <a:pt x="588" y="382"/>
                  <a:pt x="589" y="382"/>
                  <a:pt x="591" y="382"/>
                </a:cubicBezTo>
                <a:cubicBezTo>
                  <a:pt x="591" y="382"/>
                  <a:pt x="591" y="382"/>
                  <a:pt x="591" y="382"/>
                </a:cubicBezTo>
                <a:cubicBezTo>
                  <a:pt x="594" y="382"/>
                  <a:pt x="598" y="382"/>
                  <a:pt x="600" y="382"/>
                </a:cubicBezTo>
                <a:cubicBezTo>
                  <a:pt x="609" y="382"/>
                  <a:pt x="623" y="380"/>
                  <a:pt x="629" y="389"/>
                </a:cubicBezTo>
                <a:cubicBezTo>
                  <a:pt x="631" y="392"/>
                  <a:pt x="633" y="394"/>
                  <a:pt x="635" y="397"/>
                </a:cubicBezTo>
                <a:cubicBezTo>
                  <a:pt x="636" y="399"/>
                  <a:pt x="637" y="401"/>
                  <a:pt x="638" y="402"/>
                </a:cubicBezTo>
                <a:cubicBezTo>
                  <a:pt x="639" y="403"/>
                  <a:pt x="639" y="404"/>
                  <a:pt x="639" y="405"/>
                </a:cubicBezTo>
                <a:cubicBezTo>
                  <a:pt x="639" y="405"/>
                  <a:pt x="639" y="406"/>
                  <a:pt x="639" y="406"/>
                </a:cubicBezTo>
                <a:cubicBezTo>
                  <a:pt x="639" y="407"/>
                  <a:pt x="638" y="407"/>
                  <a:pt x="638" y="407"/>
                </a:cubicBezTo>
                <a:cubicBezTo>
                  <a:pt x="638" y="407"/>
                  <a:pt x="638" y="407"/>
                  <a:pt x="638" y="407"/>
                </a:cubicBezTo>
                <a:cubicBezTo>
                  <a:pt x="638" y="407"/>
                  <a:pt x="638" y="407"/>
                  <a:pt x="638" y="407"/>
                </a:cubicBezTo>
                <a:cubicBezTo>
                  <a:pt x="638" y="408"/>
                  <a:pt x="638" y="408"/>
                  <a:pt x="637" y="408"/>
                </a:cubicBezTo>
                <a:cubicBezTo>
                  <a:pt x="637" y="408"/>
                  <a:pt x="637" y="408"/>
                  <a:pt x="637" y="408"/>
                </a:cubicBezTo>
                <a:cubicBezTo>
                  <a:pt x="637" y="408"/>
                  <a:pt x="637" y="408"/>
                  <a:pt x="636" y="408"/>
                </a:cubicBezTo>
                <a:cubicBezTo>
                  <a:pt x="636" y="408"/>
                  <a:pt x="635" y="409"/>
                  <a:pt x="635" y="409"/>
                </a:cubicBezTo>
                <a:cubicBezTo>
                  <a:pt x="635" y="409"/>
                  <a:pt x="635" y="409"/>
                  <a:pt x="635" y="409"/>
                </a:cubicBezTo>
                <a:cubicBezTo>
                  <a:pt x="635" y="409"/>
                  <a:pt x="635" y="409"/>
                  <a:pt x="635" y="409"/>
                </a:cubicBezTo>
                <a:cubicBezTo>
                  <a:pt x="631" y="410"/>
                  <a:pt x="625" y="410"/>
                  <a:pt x="621" y="410"/>
                </a:cubicBezTo>
                <a:cubicBezTo>
                  <a:pt x="616" y="410"/>
                  <a:pt x="611" y="410"/>
                  <a:pt x="607" y="410"/>
                </a:cubicBezTo>
                <a:cubicBezTo>
                  <a:pt x="602" y="410"/>
                  <a:pt x="598" y="408"/>
                  <a:pt x="594" y="406"/>
                </a:cubicBezTo>
                <a:close/>
                <a:moveTo>
                  <a:pt x="670" y="454"/>
                </a:moveTo>
                <a:cubicBezTo>
                  <a:pt x="670" y="454"/>
                  <a:pt x="670" y="454"/>
                  <a:pt x="670" y="454"/>
                </a:cubicBezTo>
                <a:cubicBezTo>
                  <a:pt x="669" y="455"/>
                  <a:pt x="668" y="456"/>
                  <a:pt x="666" y="456"/>
                </a:cubicBezTo>
                <a:cubicBezTo>
                  <a:pt x="665" y="457"/>
                  <a:pt x="664" y="457"/>
                  <a:pt x="662" y="457"/>
                </a:cubicBezTo>
                <a:cubicBezTo>
                  <a:pt x="660" y="457"/>
                  <a:pt x="660" y="457"/>
                  <a:pt x="660" y="457"/>
                </a:cubicBezTo>
                <a:cubicBezTo>
                  <a:pt x="660" y="457"/>
                  <a:pt x="660" y="457"/>
                  <a:pt x="660" y="457"/>
                </a:cubicBezTo>
                <a:cubicBezTo>
                  <a:pt x="651" y="457"/>
                  <a:pt x="643" y="457"/>
                  <a:pt x="635" y="457"/>
                </a:cubicBezTo>
                <a:cubicBezTo>
                  <a:pt x="634" y="457"/>
                  <a:pt x="633" y="457"/>
                  <a:pt x="632" y="457"/>
                </a:cubicBezTo>
                <a:cubicBezTo>
                  <a:pt x="632" y="457"/>
                  <a:pt x="632" y="457"/>
                  <a:pt x="632" y="457"/>
                </a:cubicBezTo>
                <a:cubicBezTo>
                  <a:pt x="626" y="456"/>
                  <a:pt x="620" y="454"/>
                  <a:pt x="616" y="449"/>
                </a:cubicBezTo>
                <a:cubicBezTo>
                  <a:pt x="616" y="449"/>
                  <a:pt x="616" y="448"/>
                  <a:pt x="615" y="448"/>
                </a:cubicBezTo>
                <a:cubicBezTo>
                  <a:pt x="615" y="448"/>
                  <a:pt x="615" y="448"/>
                  <a:pt x="615" y="448"/>
                </a:cubicBezTo>
                <a:cubicBezTo>
                  <a:pt x="615" y="448"/>
                  <a:pt x="615" y="448"/>
                  <a:pt x="615" y="448"/>
                </a:cubicBezTo>
                <a:cubicBezTo>
                  <a:pt x="614" y="445"/>
                  <a:pt x="612" y="441"/>
                  <a:pt x="610" y="438"/>
                </a:cubicBezTo>
                <a:cubicBezTo>
                  <a:pt x="609" y="436"/>
                  <a:pt x="606" y="433"/>
                  <a:pt x="606" y="430"/>
                </a:cubicBezTo>
                <a:cubicBezTo>
                  <a:pt x="606" y="430"/>
                  <a:pt x="606" y="430"/>
                  <a:pt x="606" y="430"/>
                </a:cubicBezTo>
                <a:cubicBezTo>
                  <a:pt x="605" y="429"/>
                  <a:pt x="605" y="429"/>
                  <a:pt x="605" y="429"/>
                </a:cubicBezTo>
                <a:cubicBezTo>
                  <a:pt x="605" y="426"/>
                  <a:pt x="607" y="425"/>
                  <a:pt x="610" y="424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610" y="424"/>
                  <a:pt x="610" y="424"/>
                  <a:pt x="610" y="424"/>
                </a:cubicBezTo>
                <a:cubicBezTo>
                  <a:pt x="610" y="424"/>
                  <a:pt x="610" y="424"/>
                  <a:pt x="611" y="423"/>
                </a:cubicBezTo>
                <a:cubicBezTo>
                  <a:pt x="612" y="423"/>
                  <a:pt x="613" y="423"/>
                  <a:pt x="615" y="423"/>
                </a:cubicBezTo>
                <a:cubicBezTo>
                  <a:pt x="631" y="423"/>
                  <a:pt x="631" y="423"/>
                  <a:pt x="631" y="423"/>
                </a:cubicBezTo>
                <a:cubicBezTo>
                  <a:pt x="634" y="423"/>
                  <a:pt x="637" y="423"/>
                  <a:pt x="639" y="423"/>
                </a:cubicBezTo>
                <a:cubicBezTo>
                  <a:pt x="639" y="423"/>
                  <a:pt x="639" y="423"/>
                  <a:pt x="639" y="423"/>
                </a:cubicBezTo>
                <a:cubicBezTo>
                  <a:pt x="639" y="423"/>
                  <a:pt x="639" y="423"/>
                  <a:pt x="640" y="423"/>
                </a:cubicBezTo>
                <a:cubicBezTo>
                  <a:pt x="640" y="423"/>
                  <a:pt x="641" y="423"/>
                  <a:pt x="642" y="423"/>
                </a:cubicBezTo>
                <a:cubicBezTo>
                  <a:pt x="642" y="423"/>
                  <a:pt x="642" y="423"/>
                  <a:pt x="642" y="423"/>
                </a:cubicBezTo>
                <a:cubicBezTo>
                  <a:pt x="647" y="424"/>
                  <a:pt x="653" y="426"/>
                  <a:pt x="656" y="429"/>
                </a:cubicBezTo>
                <a:cubicBezTo>
                  <a:pt x="657" y="429"/>
                  <a:pt x="657" y="430"/>
                  <a:pt x="657" y="430"/>
                </a:cubicBezTo>
                <a:cubicBezTo>
                  <a:pt x="657" y="430"/>
                  <a:pt x="657" y="430"/>
                  <a:pt x="657" y="431"/>
                </a:cubicBezTo>
                <a:cubicBezTo>
                  <a:pt x="658" y="431"/>
                  <a:pt x="658" y="431"/>
                  <a:pt x="658" y="431"/>
                </a:cubicBezTo>
                <a:cubicBezTo>
                  <a:pt x="658" y="431"/>
                  <a:pt x="658" y="431"/>
                  <a:pt x="658" y="431"/>
                </a:cubicBezTo>
                <a:cubicBezTo>
                  <a:pt x="659" y="432"/>
                  <a:pt x="659" y="432"/>
                  <a:pt x="659" y="432"/>
                </a:cubicBezTo>
                <a:cubicBezTo>
                  <a:pt x="660" y="434"/>
                  <a:pt x="662" y="436"/>
                  <a:pt x="663" y="439"/>
                </a:cubicBezTo>
                <a:cubicBezTo>
                  <a:pt x="663" y="439"/>
                  <a:pt x="663" y="439"/>
                  <a:pt x="663" y="439"/>
                </a:cubicBezTo>
                <a:cubicBezTo>
                  <a:pt x="665" y="442"/>
                  <a:pt x="668" y="445"/>
                  <a:pt x="670" y="449"/>
                </a:cubicBezTo>
                <a:cubicBezTo>
                  <a:pt x="670" y="449"/>
                  <a:pt x="670" y="449"/>
                  <a:pt x="670" y="449"/>
                </a:cubicBezTo>
                <a:cubicBezTo>
                  <a:pt x="670" y="449"/>
                  <a:pt x="670" y="449"/>
                  <a:pt x="670" y="449"/>
                </a:cubicBezTo>
                <a:cubicBezTo>
                  <a:pt x="671" y="451"/>
                  <a:pt x="671" y="453"/>
                  <a:pt x="670" y="454"/>
                </a:cubicBezTo>
                <a:close/>
                <a:moveTo>
                  <a:pt x="729" y="79"/>
                </a:moveTo>
                <a:cubicBezTo>
                  <a:pt x="753" y="103"/>
                  <a:pt x="766" y="136"/>
                  <a:pt x="766" y="170"/>
                </a:cubicBezTo>
                <a:cubicBezTo>
                  <a:pt x="766" y="204"/>
                  <a:pt x="753" y="237"/>
                  <a:pt x="729" y="261"/>
                </a:cubicBezTo>
                <a:cubicBezTo>
                  <a:pt x="757" y="248"/>
                  <a:pt x="782" y="212"/>
                  <a:pt x="782" y="170"/>
                </a:cubicBezTo>
                <a:cubicBezTo>
                  <a:pt x="782" y="127"/>
                  <a:pt x="757" y="92"/>
                  <a:pt x="729" y="79"/>
                </a:cubicBezTo>
                <a:close/>
                <a:moveTo>
                  <a:pt x="53" y="79"/>
                </a:moveTo>
                <a:cubicBezTo>
                  <a:pt x="26" y="92"/>
                  <a:pt x="0" y="127"/>
                  <a:pt x="0" y="170"/>
                </a:cubicBezTo>
                <a:cubicBezTo>
                  <a:pt x="0" y="212"/>
                  <a:pt x="26" y="248"/>
                  <a:pt x="53" y="261"/>
                </a:cubicBezTo>
                <a:cubicBezTo>
                  <a:pt x="30" y="237"/>
                  <a:pt x="16" y="204"/>
                  <a:pt x="16" y="170"/>
                </a:cubicBezTo>
                <a:cubicBezTo>
                  <a:pt x="16" y="136"/>
                  <a:pt x="30" y="103"/>
                  <a:pt x="53" y="7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</a:ln>
        </p:spPr>
        <p:txBody>
          <a:bodyPr vert="horz" wrap="square" lIns="91427" tIns="45713" rIns="91427" bIns="45713" numCol="1" anchor="t" anchorCtr="0" compatLnSpc="1"/>
          <a:lstStyle/>
          <a:p>
            <a:pPr defTabSz="932180"/>
            <a:endParaRPr lang="en-GB">
              <a:solidFill>
                <a:srgbClr val="FFFFFF"/>
              </a:solidFill>
            </a:endParaRPr>
          </a:p>
        </p:txBody>
      </p:sp>
      <p:sp>
        <p:nvSpPr>
          <p:cNvPr id="220" name="Freeform 45"/>
          <p:cNvSpPr>
            <a:spLocks noEditPoints="1"/>
          </p:cNvSpPr>
          <p:nvPr/>
        </p:nvSpPr>
        <p:spPr bwMode="auto">
          <a:xfrm>
            <a:off x="6911223" y="2786321"/>
            <a:ext cx="476439" cy="795114"/>
          </a:xfrm>
          <a:custGeom>
            <a:avLst/>
            <a:gdLst>
              <a:gd name="T0" fmla="*/ 427 w 463"/>
              <a:gd name="T1" fmla="*/ 0 h 773"/>
              <a:gd name="T2" fmla="*/ 42 w 463"/>
              <a:gd name="T3" fmla="*/ 0 h 773"/>
              <a:gd name="T4" fmla="*/ 0 w 463"/>
              <a:gd name="T5" fmla="*/ 35 h 773"/>
              <a:gd name="T6" fmla="*/ 0 w 463"/>
              <a:gd name="T7" fmla="*/ 733 h 773"/>
              <a:gd name="T8" fmla="*/ 42 w 463"/>
              <a:gd name="T9" fmla="*/ 773 h 773"/>
              <a:gd name="T10" fmla="*/ 427 w 463"/>
              <a:gd name="T11" fmla="*/ 773 h 773"/>
              <a:gd name="T12" fmla="*/ 463 w 463"/>
              <a:gd name="T13" fmla="*/ 733 h 773"/>
              <a:gd name="T14" fmla="*/ 463 w 463"/>
              <a:gd name="T15" fmla="*/ 35 h 773"/>
              <a:gd name="T16" fmla="*/ 427 w 463"/>
              <a:gd name="T17" fmla="*/ 0 h 773"/>
              <a:gd name="T18" fmla="*/ 152 w 463"/>
              <a:gd name="T19" fmla="*/ 730 h 773"/>
              <a:gd name="T20" fmla="*/ 139 w 463"/>
              <a:gd name="T21" fmla="*/ 743 h 773"/>
              <a:gd name="T22" fmla="*/ 112 w 463"/>
              <a:gd name="T23" fmla="*/ 743 h 773"/>
              <a:gd name="T24" fmla="*/ 99 w 463"/>
              <a:gd name="T25" fmla="*/ 730 h 773"/>
              <a:gd name="T26" fmla="*/ 99 w 463"/>
              <a:gd name="T27" fmla="*/ 722 h 773"/>
              <a:gd name="T28" fmla="*/ 112 w 463"/>
              <a:gd name="T29" fmla="*/ 709 h 773"/>
              <a:gd name="T30" fmla="*/ 139 w 463"/>
              <a:gd name="T31" fmla="*/ 709 h 773"/>
              <a:gd name="T32" fmla="*/ 152 w 463"/>
              <a:gd name="T33" fmla="*/ 722 h 773"/>
              <a:gd name="T34" fmla="*/ 152 w 463"/>
              <a:gd name="T35" fmla="*/ 730 h 773"/>
              <a:gd name="T36" fmla="*/ 263 w 463"/>
              <a:gd name="T37" fmla="*/ 724 h 773"/>
              <a:gd name="T38" fmla="*/ 247 w 463"/>
              <a:gd name="T39" fmla="*/ 743 h 773"/>
              <a:gd name="T40" fmla="*/ 219 w 463"/>
              <a:gd name="T41" fmla="*/ 743 h 773"/>
              <a:gd name="T42" fmla="*/ 202 w 463"/>
              <a:gd name="T43" fmla="*/ 724 h 773"/>
              <a:gd name="T44" fmla="*/ 202 w 463"/>
              <a:gd name="T45" fmla="*/ 716 h 773"/>
              <a:gd name="T46" fmla="*/ 219 w 463"/>
              <a:gd name="T47" fmla="*/ 699 h 773"/>
              <a:gd name="T48" fmla="*/ 247 w 463"/>
              <a:gd name="T49" fmla="*/ 699 h 773"/>
              <a:gd name="T50" fmla="*/ 263 w 463"/>
              <a:gd name="T51" fmla="*/ 716 h 773"/>
              <a:gd name="T52" fmla="*/ 263 w 463"/>
              <a:gd name="T53" fmla="*/ 724 h 773"/>
              <a:gd name="T54" fmla="*/ 366 w 463"/>
              <a:gd name="T55" fmla="*/ 730 h 773"/>
              <a:gd name="T56" fmla="*/ 354 w 463"/>
              <a:gd name="T57" fmla="*/ 743 h 773"/>
              <a:gd name="T58" fmla="*/ 326 w 463"/>
              <a:gd name="T59" fmla="*/ 743 h 773"/>
              <a:gd name="T60" fmla="*/ 314 w 463"/>
              <a:gd name="T61" fmla="*/ 730 h 773"/>
              <a:gd name="T62" fmla="*/ 314 w 463"/>
              <a:gd name="T63" fmla="*/ 722 h 773"/>
              <a:gd name="T64" fmla="*/ 326 w 463"/>
              <a:gd name="T65" fmla="*/ 709 h 773"/>
              <a:gd name="T66" fmla="*/ 354 w 463"/>
              <a:gd name="T67" fmla="*/ 709 h 773"/>
              <a:gd name="T68" fmla="*/ 366 w 463"/>
              <a:gd name="T69" fmla="*/ 722 h 773"/>
              <a:gd name="T70" fmla="*/ 366 w 463"/>
              <a:gd name="T71" fmla="*/ 730 h 773"/>
              <a:gd name="T72" fmla="*/ 417 w 463"/>
              <a:gd name="T73" fmla="*/ 644 h 773"/>
              <a:gd name="T74" fmla="*/ 394 w 463"/>
              <a:gd name="T75" fmla="*/ 671 h 773"/>
              <a:gd name="T76" fmla="*/ 74 w 463"/>
              <a:gd name="T77" fmla="*/ 671 h 773"/>
              <a:gd name="T78" fmla="*/ 49 w 463"/>
              <a:gd name="T79" fmla="*/ 644 h 773"/>
              <a:gd name="T80" fmla="*/ 49 w 463"/>
              <a:gd name="T81" fmla="*/ 67 h 773"/>
              <a:gd name="T82" fmla="*/ 74 w 463"/>
              <a:gd name="T83" fmla="*/ 46 h 773"/>
              <a:gd name="T84" fmla="*/ 394 w 463"/>
              <a:gd name="T85" fmla="*/ 46 h 773"/>
              <a:gd name="T86" fmla="*/ 417 w 463"/>
              <a:gd name="T87" fmla="*/ 67 h 773"/>
              <a:gd name="T88" fmla="*/ 417 w 463"/>
              <a:gd name="T89" fmla="*/ 644 h 7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3" h="773">
                <a:moveTo>
                  <a:pt x="427" y="0"/>
                </a:move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0" y="17"/>
                  <a:pt x="0" y="35"/>
                </a:cubicBezTo>
                <a:cubicBezTo>
                  <a:pt x="0" y="733"/>
                  <a:pt x="0" y="733"/>
                  <a:pt x="0" y="733"/>
                </a:cubicBezTo>
                <a:cubicBezTo>
                  <a:pt x="0" y="756"/>
                  <a:pt x="17" y="773"/>
                  <a:pt x="42" y="773"/>
                </a:cubicBezTo>
                <a:cubicBezTo>
                  <a:pt x="427" y="773"/>
                  <a:pt x="427" y="773"/>
                  <a:pt x="427" y="773"/>
                </a:cubicBezTo>
                <a:cubicBezTo>
                  <a:pt x="448" y="773"/>
                  <a:pt x="463" y="756"/>
                  <a:pt x="463" y="733"/>
                </a:cubicBezTo>
                <a:cubicBezTo>
                  <a:pt x="463" y="35"/>
                  <a:pt x="463" y="35"/>
                  <a:pt x="463" y="35"/>
                </a:cubicBezTo>
                <a:cubicBezTo>
                  <a:pt x="463" y="19"/>
                  <a:pt x="451" y="0"/>
                  <a:pt x="427" y="0"/>
                </a:cubicBezTo>
                <a:close/>
                <a:moveTo>
                  <a:pt x="152" y="730"/>
                </a:moveTo>
                <a:cubicBezTo>
                  <a:pt x="152" y="737"/>
                  <a:pt x="146" y="743"/>
                  <a:pt x="139" y="743"/>
                </a:cubicBezTo>
                <a:cubicBezTo>
                  <a:pt x="112" y="743"/>
                  <a:pt x="112" y="743"/>
                  <a:pt x="112" y="743"/>
                </a:cubicBezTo>
                <a:cubicBezTo>
                  <a:pt x="106" y="743"/>
                  <a:pt x="99" y="737"/>
                  <a:pt x="99" y="730"/>
                </a:cubicBezTo>
                <a:cubicBezTo>
                  <a:pt x="99" y="722"/>
                  <a:pt x="99" y="722"/>
                  <a:pt x="99" y="722"/>
                </a:cubicBezTo>
                <a:cubicBezTo>
                  <a:pt x="99" y="714"/>
                  <a:pt x="106" y="709"/>
                  <a:pt x="112" y="709"/>
                </a:cubicBezTo>
                <a:cubicBezTo>
                  <a:pt x="139" y="709"/>
                  <a:pt x="139" y="709"/>
                  <a:pt x="139" y="709"/>
                </a:cubicBezTo>
                <a:cubicBezTo>
                  <a:pt x="146" y="709"/>
                  <a:pt x="152" y="714"/>
                  <a:pt x="152" y="722"/>
                </a:cubicBezTo>
                <a:cubicBezTo>
                  <a:pt x="152" y="730"/>
                  <a:pt x="152" y="730"/>
                  <a:pt x="152" y="730"/>
                </a:cubicBezTo>
                <a:close/>
                <a:moveTo>
                  <a:pt x="263" y="724"/>
                </a:moveTo>
                <a:cubicBezTo>
                  <a:pt x="263" y="735"/>
                  <a:pt x="255" y="743"/>
                  <a:pt x="247" y="743"/>
                </a:cubicBezTo>
                <a:cubicBezTo>
                  <a:pt x="219" y="743"/>
                  <a:pt x="219" y="743"/>
                  <a:pt x="219" y="743"/>
                </a:cubicBezTo>
                <a:cubicBezTo>
                  <a:pt x="211" y="743"/>
                  <a:pt x="202" y="735"/>
                  <a:pt x="202" y="724"/>
                </a:cubicBezTo>
                <a:cubicBezTo>
                  <a:pt x="202" y="716"/>
                  <a:pt x="202" y="716"/>
                  <a:pt x="202" y="716"/>
                </a:cubicBezTo>
                <a:cubicBezTo>
                  <a:pt x="202" y="705"/>
                  <a:pt x="209" y="699"/>
                  <a:pt x="219" y="699"/>
                </a:cubicBezTo>
                <a:cubicBezTo>
                  <a:pt x="247" y="699"/>
                  <a:pt x="247" y="699"/>
                  <a:pt x="247" y="699"/>
                </a:cubicBezTo>
                <a:cubicBezTo>
                  <a:pt x="255" y="699"/>
                  <a:pt x="263" y="705"/>
                  <a:pt x="263" y="716"/>
                </a:cubicBezTo>
                <a:cubicBezTo>
                  <a:pt x="263" y="724"/>
                  <a:pt x="263" y="724"/>
                  <a:pt x="263" y="724"/>
                </a:cubicBezTo>
                <a:close/>
                <a:moveTo>
                  <a:pt x="366" y="730"/>
                </a:moveTo>
                <a:cubicBezTo>
                  <a:pt x="366" y="737"/>
                  <a:pt x="360" y="743"/>
                  <a:pt x="354" y="743"/>
                </a:cubicBezTo>
                <a:cubicBezTo>
                  <a:pt x="326" y="743"/>
                  <a:pt x="326" y="743"/>
                  <a:pt x="326" y="743"/>
                </a:cubicBezTo>
                <a:cubicBezTo>
                  <a:pt x="320" y="743"/>
                  <a:pt x="314" y="737"/>
                  <a:pt x="314" y="730"/>
                </a:cubicBezTo>
                <a:cubicBezTo>
                  <a:pt x="314" y="722"/>
                  <a:pt x="314" y="722"/>
                  <a:pt x="314" y="722"/>
                </a:cubicBezTo>
                <a:cubicBezTo>
                  <a:pt x="314" y="714"/>
                  <a:pt x="320" y="709"/>
                  <a:pt x="326" y="709"/>
                </a:cubicBezTo>
                <a:cubicBezTo>
                  <a:pt x="354" y="709"/>
                  <a:pt x="354" y="709"/>
                  <a:pt x="354" y="709"/>
                </a:cubicBezTo>
                <a:cubicBezTo>
                  <a:pt x="360" y="709"/>
                  <a:pt x="366" y="714"/>
                  <a:pt x="366" y="722"/>
                </a:cubicBezTo>
                <a:cubicBezTo>
                  <a:pt x="366" y="730"/>
                  <a:pt x="366" y="730"/>
                  <a:pt x="366" y="730"/>
                </a:cubicBezTo>
                <a:close/>
                <a:moveTo>
                  <a:pt x="417" y="644"/>
                </a:moveTo>
                <a:cubicBezTo>
                  <a:pt x="417" y="657"/>
                  <a:pt x="409" y="671"/>
                  <a:pt x="394" y="671"/>
                </a:cubicBezTo>
                <a:cubicBezTo>
                  <a:pt x="74" y="671"/>
                  <a:pt x="74" y="671"/>
                  <a:pt x="74" y="671"/>
                </a:cubicBezTo>
                <a:cubicBezTo>
                  <a:pt x="59" y="671"/>
                  <a:pt x="49" y="659"/>
                  <a:pt x="49" y="644"/>
                </a:cubicBezTo>
                <a:cubicBezTo>
                  <a:pt x="49" y="67"/>
                  <a:pt x="49" y="67"/>
                  <a:pt x="49" y="67"/>
                </a:cubicBezTo>
                <a:cubicBezTo>
                  <a:pt x="49" y="50"/>
                  <a:pt x="61" y="46"/>
                  <a:pt x="74" y="46"/>
                </a:cubicBezTo>
                <a:cubicBezTo>
                  <a:pt x="394" y="46"/>
                  <a:pt x="394" y="46"/>
                  <a:pt x="394" y="46"/>
                </a:cubicBezTo>
                <a:cubicBezTo>
                  <a:pt x="404" y="46"/>
                  <a:pt x="417" y="48"/>
                  <a:pt x="417" y="67"/>
                </a:cubicBezTo>
                <a:cubicBezTo>
                  <a:pt x="417" y="644"/>
                  <a:pt x="417" y="644"/>
                  <a:pt x="417" y="64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56" tIns="46627" rIns="93256" bIns="46627" numCol="1" anchor="t" anchorCtr="0" compatLnSpc="1"/>
          <a:lstStyle/>
          <a:p>
            <a:pPr>
              <a:defRPr/>
            </a:pP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221" name="Freeform 9"/>
          <p:cNvSpPr>
            <a:spLocks noEditPoints="1"/>
          </p:cNvSpPr>
          <p:nvPr/>
        </p:nvSpPr>
        <p:spPr bwMode="auto">
          <a:xfrm>
            <a:off x="5649091" y="2787774"/>
            <a:ext cx="435077" cy="832793"/>
          </a:xfrm>
          <a:custGeom>
            <a:avLst/>
            <a:gdLst>
              <a:gd name="T0" fmla="*/ 39 w 347"/>
              <a:gd name="T1" fmla="*/ 575 h 666"/>
              <a:gd name="T2" fmla="*/ 39 w 347"/>
              <a:gd name="T3" fmla="*/ 598 h 666"/>
              <a:gd name="T4" fmla="*/ 308 w 347"/>
              <a:gd name="T5" fmla="*/ 598 h 666"/>
              <a:gd name="T6" fmla="*/ 308 w 347"/>
              <a:gd name="T7" fmla="*/ 575 h 666"/>
              <a:gd name="T8" fmla="*/ 39 w 347"/>
              <a:gd name="T9" fmla="*/ 575 h 666"/>
              <a:gd name="T10" fmla="*/ 39 w 347"/>
              <a:gd name="T11" fmla="*/ 524 h 666"/>
              <a:gd name="T12" fmla="*/ 39 w 347"/>
              <a:gd name="T13" fmla="*/ 547 h 666"/>
              <a:gd name="T14" fmla="*/ 93 w 347"/>
              <a:gd name="T15" fmla="*/ 547 h 666"/>
              <a:gd name="T16" fmla="*/ 93 w 347"/>
              <a:gd name="T17" fmla="*/ 524 h 666"/>
              <a:gd name="T18" fmla="*/ 39 w 347"/>
              <a:gd name="T19" fmla="*/ 524 h 666"/>
              <a:gd name="T20" fmla="*/ 39 w 347"/>
              <a:gd name="T21" fmla="*/ 472 h 666"/>
              <a:gd name="T22" fmla="*/ 39 w 347"/>
              <a:gd name="T23" fmla="*/ 496 h 666"/>
              <a:gd name="T24" fmla="*/ 93 w 347"/>
              <a:gd name="T25" fmla="*/ 496 h 666"/>
              <a:gd name="T26" fmla="*/ 93 w 347"/>
              <a:gd name="T27" fmla="*/ 472 h 666"/>
              <a:gd name="T28" fmla="*/ 39 w 347"/>
              <a:gd name="T29" fmla="*/ 472 h 666"/>
              <a:gd name="T30" fmla="*/ 39 w 347"/>
              <a:gd name="T31" fmla="*/ 124 h 666"/>
              <a:gd name="T32" fmla="*/ 39 w 347"/>
              <a:gd name="T33" fmla="*/ 158 h 666"/>
              <a:gd name="T34" fmla="*/ 308 w 347"/>
              <a:gd name="T35" fmla="*/ 158 h 666"/>
              <a:gd name="T36" fmla="*/ 308 w 347"/>
              <a:gd name="T37" fmla="*/ 124 h 666"/>
              <a:gd name="T38" fmla="*/ 39 w 347"/>
              <a:gd name="T39" fmla="*/ 124 h 666"/>
              <a:gd name="T40" fmla="*/ 39 w 347"/>
              <a:gd name="T41" fmla="*/ 68 h 666"/>
              <a:gd name="T42" fmla="*/ 39 w 347"/>
              <a:gd name="T43" fmla="*/ 103 h 666"/>
              <a:gd name="T44" fmla="*/ 308 w 347"/>
              <a:gd name="T45" fmla="*/ 103 h 666"/>
              <a:gd name="T46" fmla="*/ 308 w 347"/>
              <a:gd name="T47" fmla="*/ 68 h 666"/>
              <a:gd name="T48" fmla="*/ 39 w 347"/>
              <a:gd name="T49" fmla="*/ 68 h 666"/>
              <a:gd name="T50" fmla="*/ 46 w 347"/>
              <a:gd name="T51" fmla="*/ 0 h 666"/>
              <a:gd name="T52" fmla="*/ 301 w 347"/>
              <a:gd name="T53" fmla="*/ 0 h 666"/>
              <a:gd name="T54" fmla="*/ 347 w 347"/>
              <a:gd name="T55" fmla="*/ 40 h 666"/>
              <a:gd name="T56" fmla="*/ 347 w 347"/>
              <a:gd name="T57" fmla="*/ 626 h 666"/>
              <a:gd name="T58" fmla="*/ 301 w 347"/>
              <a:gd name="T59" fmla="*/ 666 h 666"/>
              <a:gd name="T60" fmla="*/ 46 w 347"/>
              <a:gd name="T61" fmla="*/ 666 h 666"/>
              <a:gd name="T62" fmla="*/ 0 w 347"/>
              <a:gd name="T63" fmla="*/ 626 h 666"/>
              <a:gd name="T64" fmla="*/ 0 w 347"/>
              <a:gd name="T65" fmla="*/ 40 h 666"/>
              <a:gd name="T66" fmla="*/ 46 w 347"/>
              <a:gd name="T67" fmla="*/ 0 h 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47" h="666">
                <a:moveTo>
                  <a:pt x="39" y="575"/>
                </a:moveTo>
                <a:cubicBezTo>
                  <a:pt x="39" y="598"/>
                  <a:pt x="39" y="598"/>
                  <a:pt x="39" y="598"/>
                </a:cubicBezTo>
                <a:cubicBezTo>
                  <a:pt x="308" y="598"/>
                  <a:pt x="308" y="598"/>
                  <a:pt x="308" y="598"/>
                </a:cubicBezTo>
                <a:cubicBezTo>
                  <a:pt x="308" y="575"/>
                  <a:pt x="308" y="575"/>
                  <a:pt x="308" y="575"/>
                </a:cubicBezTo>
                <a:cubicBezTo>
                  <a:pt x="39" y="575"/>
                  <a:pt x="39" y="575"/>
                  <a:pt x="39" y="575"/>
                </a:cubicBezTo>
                <a:close/>
                <a:moveTo>
                  <a:pt x="39" y="524"/>
                </a:moveTo>
                <a:cubicBezTo>
                  <a:pt x="39" y="547"/>
                  <a:pt x="39" y="547"/>
                  <a:pt x="39" y="547"/>
                </a:cubicBezTo>
                <a:cubicBezTo>
                  <a:pt x="93" y="547"/>
                  <a:pt x="93" y="547"/>
                  <a:pt x="93" y="547"/>
                </a:cubicBezTo>
                <a:cubicBezTo>
                  <a:pt x="93" y="524"/>
                  <a:pt x="93" y="524"/>
                  <a:pt x="93" y="524"/>
                </a:cubicBezTo>
                <a:cubicBezTo>
                  <a:pt x="39" y="524"/>
                  <a:pt x="39" y="524"/>
                  <a:pt x="39" y="524"/>
                </a:cubicBezTo>
                <a:close/>
                <a:moveTo>
                  <a:pt x="39" y="472"/>
                </a:moveTo>
                <a:cubicBezTo>
                  <a:pt x="39" y="496"/>
                  <a:pt x="39" y="496"/>
                  <a:pt x="39" y="496"/>
                </a:cubicBezTo>
                <a:cubicBezTo>
                  <a:pt x="93" y="496"/>
                  <a:pt x="93" y="496"/>
                  <a:pt x="93" y="496"/>
                </a:cubicBezTo>
                <a:cubicBezTo>
                  <a:pt x="93" y="472"/>
                  <a:pt x="93" y="472"/>
                  <a:pt x="93" y="472"/>
                </a:cubicBezTo>
                <a:cubicBezTo>
                  <a:pt x="39" y="472"/>
                  <a:pt x="39" y="472"/>
                  <a:pt x="39" y="472"/>
                </a:cubicBezTo>
                <a:close/>
                <a:moveTo>
                  <a:pt x="39" y="124"/>
                </a:moveTo>
                <a:cubicBezTo>
                  <a:pt x="39" y="158"/>
                  <a:pt x="39" y="158"/>
                  <a:pt x="39" y="158"/>
                </a:cubicBezTo>
                <a:cubicBezTo>
                  <a:pt x="308" y="158"/>
                  <a:pt x="308" y="158"/>
                  <a:pt x="308" y="158"/>
                </a:cubicBezTo>
                <a:cubicBezTo>
                  <a:pt x="308" y="124"/>
                  <a:pt x="308" y="124"/>
                  <a:pt x="308" y="124"/>
                </a:cubicBezTo>
                <a:cubicBezTo>
                  <a:pt x="39" y="124"/>
                  <a:pt x="39" y="124"/>
                  <a:pt x="39" y="124"/>
                </a:cubicBezTo>
                <a:close/>
                <a:moveTo>
                  <a:pt x="39" y="68"/>
                </a:moveTo>
                <a:cubicBezTo>
                  <a:pt x="39" y="103"/>
                  <a:pt x="39" y="103"/>
                  <a:pt x="39" y="103"/>
                </a:cubicBezTo>
                <a:cubicBezTo>
                  <a:pt x="308" y="103"/>
                  <a:pt x="308" y="103"/>
                  <a:pt x="308" y="103"/>
                </a:cubicBezTo>
                <a:cubicBezTo>
                  <a:pt x="308" y="68"/>
                  <a:pt x="308" y="68"/>
                  <a:pt x="308" y="68"/>
                </a:cubicBezTo>
                <a:cubicBezTo>
                  <a:pt x="39" y="68"/>
                  <a:pt x="39" y="68"/>
                  <a:pt x="39" y="68"/>
                </a:cubicBezTo>
                <a:close/>
                <a:moveTo>
                  <a:pt x="46" y="0"/>
                </a:moveTo>
                <a:cubicBezTo>
                  <a:pt x="301" y="0"/>
                  <a:pt x="301" y="0"/>
                  <a:pt x="301" y="0"/>
                </a:cubicBezTo>
                <a:cubicBezTo>
                  <a:pt x="326" y="0"/>
                  <a:pt x="347" y="18"/>
                  <a:pt x="347" y="40"/>
                </a:cubicBezTo>
                <a:cubicBezTo>
                  <a:pt x="347" y="626"/>
                  <a:pt x="347" y="626"/>
                  <a:pt x="347" y="626"/>
                </a:cubicBezTo>
                <a:cubicBezTo>
                  <a:pt x="347" y="648"/>
                  <a:pt x="326" y="666"/>
                  <a:pt x="301" y="666"/>
                </a:cubicBezTo>
                <a:cubicBezTo>
                  <a:pt x="46" y="666"/>
                  <a:pt x="46" y="666"/>
                  <a:pt x="46" y="666"/>
                </a:cubicBezTo>
                <a:cubicBezTo>
                  <a:pt x="21" y="666"/>
                  <a:pt x="0" y="648"/>
                  <a:pt x="0" y="62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18"/>
                  <a:pt x="21" y="0"/>
                  <a:pt x="46" y="0"/>
                </a:cubicBez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  <a:miter lim="800000"/>
          </a:ln>
        </p:spPr>
        <p:txBody>
          <a:bodyPr vert="horz" wrap="square" lIns="91427" tIns="45713" rIns="91427" bIns="45713" numCol="1" anchor="t" anchorCtr="0" compatLnSpc="1"/>
          <a:lstStyle/>
          <a:p>
            <a:pPr defTabSz="932180"/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313580" y="2787774"/>
            <a:ext cx="526283" cy="733400"/>
            <a:chOff x="6200285" y="1394342"/>
            <a:chExt cx="811098" cy="1130304"/>
          </a:xfrm>
        </p:grpSpPr>
        <p:sp>
          <p:nvSpPr>
            <p:cNvPr id="222" name="Freeform 6"/>
            <p:cNvSpPr>
              <a:spLocks noEditPoints="1"/>
            </p:cNvSpPr>
            <p:nvPr/>
          </p:nvSpPr>
          <p:spPr bwMode="auto">
            <a:xfrm>
              <a:off x="6433149" y="1394342"/>
              <a:ext cx="578234" cy="1130304"/>
            </a:xfrm>
            <a:custGeom>
              <a:avLst/>
              <a:gdLst>
                <a:gd name="T0" fmla="*/ 1547 w 1766"/>
                <a:gd name="T1" fmla="*/ 3217 h 3458"/>
                <a:gd name="T2" fmla="*/ 195 w 1766"/>
                <a:gd name="T3" fmla="*/ 3054 h 3458"/>
                <a:gd name="T4" fmla="*/ 195 w 1766"/>
                <a:gd name="T5" fmla="*/ 3240 h 3458"/>
                <a:gd name="T6" fmla="*/ 218 w 1766"/>
                <a:gd name="T7" fmla="*/ 2908 h 3458"/>
                <a:gd name="T8" fmla="*/ 218 w 1766"/>
                <a:gd name="T9" fmla="*/ 2724 h 3458"/>
                <a:gd name="T10" fmla="*/ 489 w 1766"/>
                <a:gd name="T11" fmla="*/ 2931 h 3458"/>
                <a:gd name="T12" fmla="*/ 314 w 1766"/>
                <a:gd name="T13" fmla="*/ 2348 h 3458"/>
                <a:gd name="T14" fmla="*/ 195 w 1766"/>
                <a:gd name="T15" fmla="*/ 2578 h 3458"/>
                <a:gd name="T16" fmla="*/ 218 w 1766"/>
                <a:gd name="T17" fmla="*/ 2556 h 3458"/>
                <a:gd name="T18" fmla="*/ 316 w 1766"/>
                <a:gd name="T19" fmla="*/ 2372 h 3458"/>
                <a:gd name="T20" fmla="*/ 22 w 1766"/>
                <a:gd name="T21" fmla="*/ 1204 h 3458"/>
                <a:gd name="T22" fmla="*/ 0 w 1766"/>
                <a:gd name="T23" fmla="*/ 1204 h 3458"/>
                <a:gd name="T24" fmla="*/ 1547 w 1766"/>
                <a:gd name="T25" fmla="*/ 775 h 3458"/>
                <a:gd name="T26" fmla="*/ 195 w 1766"/>
                <a:gd name="T27" fmla="*/ 595 h 3458"/>
                <a:gd name="T28" fmla="*/ 195 w 1766"/>
                <a:gd name="T29" fmla="*/ 797 h 3458"/>
                <a:gd name="T30" fmla="*/ 218 w 1766"/>
                <a:gd name="T31" fmla="*/ 429 h 3458"/>
                <a:gd name="T32" fmla="*/ 218 w 1766"/>
                <a:gd name="T33" fmla="*/ 288 h 3458"/>
                <a:gd name="T34" fmla="*/ 1569 w 1766"/>
                <a:gd name="T35" fmla="*/ 452 h 3458"/>
                <a:gd name="T36" fmla="*/ 243 w 1766"/>
                <a:gd name="T37" fmla="*/ 0 h 3458"/>
                <a:gd name="T38" fmla="*/ 1599 w 1766"/>
                <a:gd name="T39" fmla="*/ 12 h 3458"/>
                <a:gd name="T40" fmla="*/ 1694 w 1766"/>
                <a:gd name="T41" fmla="*/ 64 h 3458"/>
                <a:gd name="T42" fmla="*/ 1753 w 1766"/>
                <a:gd name="T43" fmla="*/ 149 h 3458"/>
                <a:gd name="T44" fmla="*/ 1766 w 1766"/>
                <a:gd name="T45" fmla="*/ 3241 h 3458"/>
                <a:gd name="T46" fmla="*/ 1739 w 1766"/>
                <a:gd name="T47" fmla="*/ 3340 h 3458"/>
                <a:gd name="T48" fmla="*/ 1666 w 1766"/>
                <a:gd name="T49" fmla="*/ 3416 h 3458"/>
                <a:gd name="T50" fmla="*/ 1562 w 1766"/>
                <a:gd name="T51" fmla="*/ 3455 h 3458"/>
                <a:gd name="T52" fmla="*/ 204 w 1766"/>
                <a:gd name="T53" fmla="*/ 3455 h 3458"/>
                <a:gd name="T54" fmla="*/ 100 w 1766"/>
                <a:gd name="T55" fmla="*/ 3416 h 3458"/>
                <a:gd name="T56" fmla="*/ 27 w 1766"/>
                <a:gd name="T57" fmla="*/ 3340 h 3458"/>
                <a:gd name="T58" fmla="*/ 0 w 1766"/>
                <a:gd name="T59" fmla="*/ 3241 h 3458"/>
                <a:gd name="T60" fmla="*/ 22 w 1766"/>
                <a:gd name="T61" fmla="*/ 3241 h 3458"/>
                <a:gd name="T62" fmla="*/ 47 w 1766"/>
                <a:gd name="T63" fmla="*/ 3330 h 3458"/>
                <a:gd name="T64" fmla="*/ 112 w 1766"/>
                <a:gd name="T65" fmla="*/ 3398 h 3458"/>
                <a:gd name="T66" fmla="*/ 207 w 1766"/>
                <a:gd name="T67" fmla="*/ 3433 h 3458"/>
                <a:gd name="T68" fmla="*/ 1558 w 1766"/>
                <a:gd name="T69" fmla="*/ 3433 h 3458"/>
                <a:gd name="T70" fmla="*/ 1652 w 1766"/>
                <a:gd name="T71" fmla="*/ 3398 h 3458"/>
                <a:gd name="T72" fmla="*/ 1719 w 1766"/>
                <a:gd name="T73" fmla="*/ 3330 h 3458"/>
                <a:gd name="T74" fmla="*/ 1743 w 1766"/>
                <a:gd name="T75" fmla="*/ 3241 h 3458"/>
                <a:gd name="T76" fmla="*/ 1731 w 1766"/>
                <a:gd name="T77" fmla="*/ 156 h 3458"/>
                <a:gd name="T78" fmla="*/ 1678 w 1766"/>
                <a:gd name="T79" fmla="*/ 80 h 3458"/>
                <a:gd name="T80" fmla="*/ 1591 w 1766"/>
                <a:gd name="T81" fmla="*/ 33 h 3458"/>
                <a:gd name="T82" fmla="*/ 243 w 1766"/>
                <a:gd name="T83" fmla="*/ 23 h 3458"/>
                <a:gd name="T84" fmla="*/ 142 w 1766"/>
                <a:gd name="T85" fmla="*/ 45 h 3458"/>
                <a:gd name="T86" fmla="*/ 65 w 1766"/>
                <a:gd name="T87" fmla="*/ 103 h 3458"/>
                <a:gd name="T88" fmla="*/ 25 w 1766"/>
                <a:gd name="T89" fmla="*/ 186 h 3458"/>
                <a:gd name="T90" fmla="*/ 0 w 1766"/>
                <a:gd name="T91" fmla="*/ 1011 h 3458"/>
                <a:gd name="T92" fmla="*/ 12 w 1766"/>
                <a:gd name="T93" fmla="*/ 149 h 3458"/>
                <a:gd name="T94" fmla="*/ 71 w 1766"/>
                <a:gd name="T95" fmla="*/ 64 h 3458"/>
                <a:gd name="T96" fmla="*/ 166 w 1766"/>
                <a:gd name="T97" fmla="*/ 12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66" h="3458">
                  <a:moveTo>
                    <a:pt x="218" y="3076"/>
                  </a:moveTo>
                  <a:lnTo>
                    <a:pt x="218" y="3217"/>
                  </a:lnTo>
                  <a:lnTo>
                    <a:pt x="1547" y="3217"/>
                  </a:lnTo>
                  <a:lnTo>
                    <a:pt x="1547" y="3076"/>
                  </a:lnTo>
                  <a:lnTo>
                    <a:pt x="218" y="3076"/>
                  </a:lnTo>
                  <a:close/>
                  <a:moveTo>
                    <a:pt x="195" y="3054"/>
                  </a:moveTo>
                  <a:lnTo>
                    <a:pt x="1569" y="3054"/>
                  </a:lnTo>
                  <a:lnTo>
                    <a:pt x="1569" y="3240"/>
                  </a:lnTo>
                  <a:lnTo>
                    <a:pt x="195" y="3240"/>
                  </a:lnTo>
                  <a:lnTo>
                    <a:pt x="195" y="3054"/>
                  </a:lnTo>
                  <a:close/>
                  <a:moveTo>
                    <a:pt x="218" y="2724"/>
                  </a:moveTo>
                  <a:lnTo>
                    <a:pt x="218" y="2908"/>
                  </a:lnTo>
                  <a:lnTo>
                    <a:pt x="465" y="2908"/>
                  </a:lnTo>
                  <a:lnTo>
                    <a:pt x="465" y="2724"/>
                  </a:lnTo>
                  <a:lnTo>
                    <a:pt x="218" y="2724"/>
                  </a:lnTo>
                  <a:close/>
                  <a:moveTo>
                    <a:pt x="195" y="2701"/>
                  </a:moveTo>
                  <a:lnTo>
                    <a:pt x="489" y="2701"/>
                  </a:lnTo>
                  <a:lnTo>
                    <a:pt x="489" y="2931"/>
                  </a:lnTo>
                  <a:lnTo>
                    <a:pt x="195" y="2931"/>
                  </a:lnTo>
                  <a:lnTo>
                    <a:pt x="195" y="2701"/>
                  </a:lnTo>
                  <a:close/>
                  <a:moveTo>
                    <a:pt x="314" y="2348"/>
                  </a:moveTo>
                  <a:lnTo>
                    <a:pt x="489" y="2348"/>
                  </a:lnTo>
                  <a:lnTo>
                    <a:pt x="489" y="2578"/>
                  </a:lnTo>
                  <a:lnTo>
                    <a:pt x="195" y="2578"/>
                  </a:lnTo>
                  <a:lnTo>
                    <a:pt x="195" y="2445"/>
                  </a:lnTo>
                  <a:lnTo>
                    <a:pt x="218" y="2445"/>
                  </a:lnTo>
                  <a:lnTo>
                    <a:pt x="218" y="2556"/>
                  </a:lnTo>
                  <a:lnTo>
                    <a:pt x="465" y="2556"/>
                  </a:lnTo>
                  <a:lnTo>
                    <a:pt x="465" y="2372"/>
                  </a:lnTo>
                  <a:lnTo>
                    <a:pt x="316" y="2372"/>
                  </a:lnTo>
                  <a:lnTo>
                    <a:pt x="314" y="2348"/>
                  </a:lnTo>
                  <a:close/>
                  <a:moveTo>
                    <a:pt x="0" y="1204"/>
                  </a:moveTo>
                  <a:lnTo>
                    <a:pt x="22" y="1204"/>
                  </a:lnTo>
                  <a:lnTo>
                    <a:pt x="22" y="1558"/>
                  </a:lnTo>
                  <a:lnTo>
                    <a:pt x="0" y="1558"/>
                  </a:lnTo>
                  <a:lnTo>
                    <a:pt x="0" y="1204"/>
                  </a:lnTo>
                  <a:close/>
                  <a:moveTo>
                    <a:pt x="218" y="618"/>
                  </a:moveTo>
                  <a:lnTo>
                    <a:pt x="218" y="775"/>
                  </a:lnTo>
                  <a:lnTo>
                    <a:pt x="1547" y="775"/>
                  </a:lnTo>
                  <a:lnTo>
                    <a:pt x="1547" y="618"/>
                  </a:lnTo>
                  <a:lnTo>
                    <a:pt x="218" y="618"/>
                  </a:lnTo>
                  <a:close/>
                  <a:moveTo>
                    <a:pt x="195" y="595"/>
                  </a:moveTo>
                  <a:lnTo>
                    <a:pt x="1569" y="595"/>
                  </a:lnTo>
                  <a:lnTo>
                    <a:pt x="1569" y="797"/>
                  </a:lnTo>
                  <a:lnTo>
                    <a:pt x="195" y="797"/>
                  </a:lnTo>
                  <a:lnTo>
                    <a:pt x="195" y="595"/>
                  </a:lnTo>
                  <a:close/>
                  <a:moveTo>
                    <a:pt x="218" y="288"/>
                  </a:moveTo>
                  <a:lnTo>
                    <a:pt x="218" y="429"/>
                  </a:lnTo>
                  <a:lnTo>
                    <a:pt x="1547" y="429"/>
                  </a:lnTo>
                  <a:lnTo>
                    <a:pt x="1547" y="288"/>
                  </a:lnTo>
                  <a:lnTo>
                    <a:pt x="218" y="288"/>
                  </a:lnTo>
                  <a:close/>
                  <a:moveTo>
                    <a:pt x="195" y="265"/>
                  </a:moveTo>
                  <a:lnTo>
                    <a:pt x="1569" y="265"/>
                  </a:lnTo>
                  <a:lnTo>
                    <a:pt x="1569" y="452"/>
                  </a:lnTo>
                  <a:lnTo>
                    <a:pt x="195" y="452"/>
                  </a:lnTo>
                  <a:lnTo>
                    <a:pt x="195" y="265"/>
                  </a:lnTo>
                  <a:close/>
                  <a:moveTo>
                    <a:pt x="243" y="0"/>
                  </a:moveTo>
                  <a:lnTo>
                    <a:pt x="1522" y="0"/>
                  </a:lnTo>
                  <a:lnTo>
                    <a:pt x="1562" y="3"/>
                  </a:lnTo>
                  <a:lnTo>
                    <a:pt x="1599" y="12"/>
                  </a:lnTo>
                  <a:lnTo>
                    <a:pt x="1635" y="24"/>
                  </a:lnTo>
                  <a:lnTo>
                    <a:pt x="1666" y="42"/>
                  </a:lnTo>
                  <a:lnTo>
                    <a:pt x="1694" y="64"/>
                  </a:lnTo>
                  <a:lnTo>
                    <a:pt x="1719" y="90"/>
                  </a:lnTo>
                  <a:lnTo>
                    <a:pt x="1739" y="118"/>
                  </a:lnTo>
                  <a:lnTo>
                    <a:pt x="1753" y="149"/>
                  </a:lnTo>
                  <a:lnTo>
                    <a:pt x="1763" y="182"/>
                  </a:lnTo>
                  <a:lnTo>
                    <a:pt x="1766" y="218"/>
                  </a:lnTo>
                  <a:lnTo>
                    <a:pt x="1766" y="3241"/>
                  </a:lnTo>
                  <a:lnTo>
                    <a:pt x="1763" y="3276"/>
                  </a:lnTo>
                  <a:lnTo>
                    <a:pt x="1753" y="3310"/>
                  </a:lnTo>
                  <a:lnTo>
                    <a:pt x="1739" y="3340"/>
                  </a:lnTo>
                  <a:lnTo>
                    <a:pt x="1719" y="3369"/>
                  </a:lnTo>
                  <a:lnTo>
                    <a:pt x="1694" y="3394"/>
                  </a:lnTo>
                  <a:lnTo>
                    <a:pt x="1666" y="3416"/>
                  </a:lnTo>
                  <a:lnTo>
                    <a:pt x="1635" y="3434"/>
                  </a:lnTo>
                  <a:lnTo>
                    <a:pt x="1599" y="3446"/>
                  </a:lnTo>
                  <a:lnTo>
                    <a:pt x="1562" y="3455"/>
                  </a:lnTo>
                  <a:lnTo>
                    <a:pt x="1522" y="3458"/>
                  </a:lnTo>
                  <a:lnTo>
                    <a:pt x="243" y="3458"/>
                  </a:lnTo>
                  <a:lnTo>
                    <a:pt x="204" y="3455"/>
                  </a:lnTo>
                  <a:lnTo>
                    <a:pt x="166" y="3446"/>
                  </a:lnTo>
                  <a:lnTo>
                    <a:pt x="131" y="3434"/>
                  </a:lnTo>
                  <a:lnTo>
                    <a:pt x="100" y="3416"/>
                  </a:lnTo>
                  <a:lnTo>
                    <a:pt x="71" y="3394"/>
                  </a:lnTo>
                  <a:lnTo>
                    <a:pt x="46" y="3369"/>
                  </a:lnTo>
                  <a:lnTo>
                    <a:pt x="27" y="3340"/>
                  </a:lnTo>
                  <a:lnTo>
                    <a:pt x="12" y="3310"/>
                  </a:lnTo>
                  <a:lnTo>
                    <a:pt x="3" y="3276"/>
                  </a:lnTo>
                  <a:lnTo>
                    <a:pt x="0" y="3241"/>
                  </a:lnTo>
                  <a:lnTo>
                    <a:pt x="0" y="2408"/>
                  </a:lnTo>
                  <a:lnTo>
                    <a:pt x="22" y="2408"/>
                  </a:lnTo>
                  <a:lnTo>
                    <a:pt x="22" y="3241"/>
                  </a:lnTo>
                  <a:lnTo>
                    <a:pt x="25" y="3272"/>
                  </a:lnTo>
                  <a:lnTo>
                    <a:pt x="33" y="3303"/>
                  </a:lnTo>
                  <a:lnTo>
                    <a:pt x="47" y="3330"/>
                  </a:lnTo>
                  <a:lnTo>
                    <a:pt x="65" y="3356"/>
                  </a:lnTo>
                  <a:lnTo>
                    <a:pt x="87" y="3378"/>
                  </a:lnTo>
                  <a:lnTo>
                    <a:pt x="112" y="3398"/>
                  </a:lnTo>
                  <a:lnTo>
                    <a:pt x="142" y="3414"/>
                  </a:lnTo>
                  <a:lnTo>
                    <a:pt x="173" y="3425"/>
                  </a:lnTo>
                  <a:lnTo>
                    <a:pt x="207" y="3433"/>
                  </a:lnTo>
                  <a:lnTo>
                    <a:pt x="243" y="3435"/>
                  </a:lnTo>
                  <a:lnTo>
                    <a:pt x="1522" y="3435"/>
                  </a:lnTo>
                  <a:lnTo>
                    <a:pt x="1558" y="3433"/>
                  </a:lnTo>
                  <a:lnTo>
                    <a:pt x="1591" y="3425"/>
                  </a:lnTo>
                  <a:lnTo>
                    <a:pt x="1624" y="3414"/>
                  </a:lnTo>
                  <a:lnTo>
                    <a:pt x="1652" y="3398"/>
                  </a:lnTo>
                  <a:lnTo>
                    <a:pt x="1678" y="3378"/>
                  </a:lnTo>
                  <a:lnTo>
                    <a:pt x="1700" y="3356"/>
                  </a:lnTo>
                  <a:lnTo>
                    <a:pt x="1719" y="3330"/>
                  </a:lnTo>
                  <a:lnTo>
                    <a:pt x="1731" y="3303"/>
                  </a:lnTo>
                  <a:lnTo>
                    <a:pt x="1740" y="3272"/>
                  </a:lnTo>
                  <a:lnTo>
                    <a:pt x="1743" y="3241"/>
                  </a:lnTo>
                  <a:lnTo>
                    <a:pt x="1743" y="218"/>
                  </a:lnTo>
                  <a:lnTo>
                    <a:pt x="1740" y="186"/>
                  </a:lnTo>
                  <a:lnTo>
                    <a:pt x="1731" y="156"/>
                  </a:lnTo>
                  <a:lnTo>
                    <a:pt x="1719" y="128"/>
                  </a:lnTo>
                  <a:lnTo>
                    <a:pt x="1700" y="103"/>
                  </a:lnTo>
                  <a:lnTo>
                    <a:pt x="1678" y="80"/>
                  </a:lnTo>
                  <a:lnTo>
                    <a:pt x="1652" y="61"/>
                  </a:lnTo>
                  <a:lnTo>
                    <a:pt x="1624" y="45"/>
                  </a:lnTo>
                  <a:lnTo>
                    <a:pt x="1591" y="33"/>
                  </a:lnTo>
                  <a:lnTo>
                    <a:pt x="1558" y="25"/>
                  </a:lnTo>
                  <a:lnTo>
                    <a:pt x="1522" y="23"/>
                  </a:lnTo>
                  <a:lnTo>
                    <a:pt x="243" y="23"/>
                  </a:lnTo>
                  <a:lnTo>
                    <a:pt x="207" y="25"/>
                  </a:lnTo>
                  <a:lnTo>
                    <a:pt x="173" y="33"/>
                  </a:lnTo>
                  <a:lnTo>
                    <a:pt x="142" y="45"/>
                  </a:lnTo>
                  <a:lnTo>
                    <a:pt x="112" y="61"/>
                  </a:lnTo>
                  <a:lnTo>
                    <a:pt x="87" y="80"/>
                  </a:lnTo>
                  <a:lnTo>
                    <a:pt x="65" y="103"/>
                  </a:lnTo>
                  <a:lnTo>
                    <a:pt x="47" y="128"/>
                  </a:lnTo>
                  <a:lnTo>
                    <a:pt x="33" y="156"/>
                  </a:lnTo>
                  <a:lnTo>
                    <a:pt x="25" y="186"/>
                  </a:lnTo>
                  <a:lnTo>
                    <a:pt x="22" y="218"/>
                  </a:lnTo>
                  <a:lnTo>
                    <a:pt x="22" y="1011"/>
                  </a:lnTo>
                  <a:lnTo>
                    <a:pt x="0" y="1011"/>
                  </a:lnTo>
                  <a:lnTo>
                    <a:pt x="0" y="218"/>
                  </a:lnTo>
                  <a:lnTo>
                    <a:pt x="3" y="182"/>
                  </a:lnTo>
                  <a:lnTo>
                    <a:pt x="12" y="149"/>
                  </a:lnTo>
                  <a:lnTo>
                    <a:pt x="27" y="118"/>
                  </a:lnTo>
                  <a:lnTo>
                    <a:pt x="46" y="90"/>
                  </a:lnTo>
                  <a:lnTo>
                    <a:pt x="71" y="64"/>
                  </a:lnTo>
                  <a:lnTo>
                    <a:pt x="100" y="42"/>
                  </a:lnTo>
                  <a:lnTo>
                    <a:pt x="131" y="24"/>
                  </a:lnTo>
                  <a:lnTo>
                    <a:pt x="166" y="12"/>
                  </a:lnTo>
                  <a:lnTo>
                    <a:pt x="204" y="3"/>
                  </a:lnTo>
                  <a:lnTo>
                    <a:pt x="24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32180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223" name="Freeform 7"/>
            <p:cNvSpPr>
              <a:spLocks noEditPoints="1"/>
            </p:cNvSpPr>
            <p:nvPr/>
          </p:nvSpPr>
          <p:spPr bwMode="auto">
            <a:xfrm>
              <a:off x="6200285" y="1717473"/>
              <a:ext cx="392467" cy="484042"/>
            </a:xfrm>
            <a:custGeom>
              <a:avLst/>
              <a:gdLst>
                <a:gd name="T0" fmla="*/ 630 w 1202"/>
                <a:gd name="T1" fmla="*/ 234 h 1478"/>
                <a:gd name="T2" fmla="*/ 596 w 1202"/>
                <a:gd name="T3" fmla="*/ 255 h 1478"/>
                <a:gd name="T4" fmla="*/ 555 w 1202"/>
                <a:gd name="T5" fmla="*/ 347 h 1478"/>
                <a:gd name="T6" fmla="*/ 927 w 1202"/>
                <a:gd name="T7" fmla="*/ 616 h 1478"/>
                <a:gd name="T8" fmla="*/ 967 w 1202"/>
                <a:gd name="T9" fmla="*/ 468 h 1478"/>
                <a:gd name="T10" fmla="*/ 981 w 1202"/>
                <a:gd name="T11" fmla="*/ 375 h 1478"/>
                <a:gd name="T12" fmla="*/ 965 w 1202"/>
                <a:gd name="T13" fmla="*/ 331 h 1478"/>
                <a:gd name="T14" fmla="*/ 935 w 1202"/>
                <a:gd name="T15" fmla="*/ 292 h 1478"/>
                <a:gd name="T16" fmla="*/ 846 w 1202"/>
                <a:gd name="T17" fmla="*/ 258 h 1478"/>
                <a:gd name="T18" fmla="*/ 721 w 1202"/>
                <a:gd name="T19" fmla="*/ 226 h 1478"/>
                <a:gd name="T20" fmla="*/ 697 w 1202"/>
                <a:gd name="T21" fmla="*/ 199 h 1478"/>
                <a:gd name="T22" fmla="*/ 824 w 1202"/>
                <a:gd name="T23" fmla="*/ 229 h 1478"/>
                <a:gd name="T24" fmla="*/ 930 w 1202"/>
                <a:gd name="T25" fmla="*/ 264 h 1478"/>
                <a:gd name="T26" fmla="*/ 985 w 1202"/>
                <a:gd name="T27" fmla="*/ 319 h 1478"/>
                <a:gd name="T28" fmla="*/ 1004 w 1202"/>
                <a:gd name="T29" fmla="*/ 390 h 1478"/>
                <a:gd name="T30" fmla="*/ 984 w 1202"/>
                <a:gd name="T31" fmla="*/ 495 h 1478"/>
                <a:gd name="T32" fmla="*/ 484 w 1202"/>
                <a:gd name="T33" fmla="*/ 517 h 1478"/>
                <a:gd name="T34" fmla="*/ 541 w 1202"/>
                <a:gd name="T35" fmla="*/ 314 h 1478"/>
                <a:gd name="T36" fmla="*/ 586 w 1202"/>
                <a:gd name="T37" fmla="*/ 233 h 1478"/>
                <a:gd name="T38" fmla="*/ 651 w 1202"/>
                <a:gd name="T39" fmla="*/ 199 h 1478"/>
                <a:gd name="T40" fmla="*/ 592 w 1202"/>
                <a:gd name="T41" fmla="*/ 32 h 1478"/>
                <a:gd name="T42" fmla="*/ 463 w 1202"/>
                <a:gd name="T43" fmla="*/ 106 h 1478"/>
                <a:gd name="T44" fmla="*/ 389 w 1202"/>
                <a:gd name="T45" fmla="*/ 230 h 1478"/>
                <a:gd name="T46" fmla="*/ 342 w 1202"/>
                <a:gd name="T47" fmla="*/ 380 h 1478"/>
                <a:gd name="T48" fmla="*/ 253 w 1202"/>
                <a:gd name="T49" fmla="*/ 477 h 1478"/>
                <a:gd name="T50" fmla="*/ 190 w 1202"/>
                <a:gd name="T51" fmla="*/ 529 h 1478"/>
                <a:gd name="T52" fmla="*/ 31 w 1202"/>
                <a:gd name="T53" fmla="*/ 1172 h 1478"/>
                <a:gd name="T54" fmla="*/ 92 w 1202"/>
                <a:gd name="T55" fmla="*/ 1228 h 1478"/>
                <a:gd name="T56" fmla="*/ 920 w 1202"/>
                <a:gd name="T57" fmla="*/ 1456 h 1478"/>
                <a:gd name="T58" fmla="*/ 973 w 1202"/>
                <a:gd name="T59" fmla="*/ 1438 h 1478"/>
                <a:gd name="T60" fmla="*/ 1169 w 1202"/>
                <a:gd name="T61" fmla="*/ 802 h 1478"/>
                <a:gd name="T62" fmla="*/ 1147 w 1202"/>
                <a:gd name="T63" fmla="*/ 734 h 1478"/>
                <a:gd name="T64" fmla="*/ 1134 w 1202"/>
                <a:gd name="T65" fmla="*/ 601 h 1478"/>
                <a:gd name="T66" fmla="*/ 1176 w 1202"/>
                <a:gd name="T67" fmla="*/ 411 h 1478"/>
                <a:gd name="T68" fmla="*/ 1150 w 1202"/>
                <a:gd name="T69" fmla="*/ 233 h 1478"/>
                <a:gd name="T70" fmla="*/ 1022 w 1202"/>
                <a:gd name="T71" fmla="*/ 114 h 1478"/>
                <a:gd name="T72" fmla="*/ 820 w 1202"/>
                <a:gd name="T73" fmla="*/ 40 h 1478"/>
                <a:gd name="T74" fmla="*/ 678 w 1202"/>
                <a:gd name="T75" fmla="*/ 0 h 1478"/>
                <a:gd name="T76" fmla="*/ 880 w 1202"/>
                <a:gd name="T77" fmla="*/ 32 h 1478"/>
                <a:gd name="T78" fmla="*/ 1056 w 1202"/>
                <a:gd name="T79" fmla="*/ 109 h 1478"/>
                <a:gd name="T80" fmla="*/ 1170 w 1202"/>
                <a:gd name="T81" fmla="*/ 222 h 1478"/>
                <a:gd name="T82" fmla="*/ 1202 w 1202"/>
                <a:gd name="T83" fmla="*/ 348 h 1478"/>
                <a:gd name="T84" fmla="*/ 1181 w 1202"/>
                <a:gd name="T85" fmla="*/ 518 h 1478"/>
                <a:gd name="T86" fmla="*/ 1149 w 1202"/>
                <a:gd name="T87" fmla="*/ 706 h 1478"/>
                <a:gd name="T88" fmla="*/ 1191 w 1202"/>
                <a:gd name="T89" fmla="*/ 771 h 1478"/>
                <a:gd name="T90" fmla="*/ 1018 w 1202"/>
                <a:gd name="T91" fmla="*/ 1419 h 1478"/>
                <a:gd name="T92" fmla="*/ 944 w 1202"/>
                <a:gd name="T93" fmla="*/ 1476 h 1478"/>
                <a:gd name="T94" fmla="*/ 880 w 1202"/>
                <a:gd name="T95" fmla="*/ 1473 h 1478"/>
                <a:gd name="T96" fmla="*/ 40 w 1202"/>
                <a:gd name="T97" fmla="*/ 1221 h 1478"/>
                <a:gd name="T98" fmla="*/ 0 w 1202"/>
                <a:gd name="T99" fmla="*/ 1134 h 1478"/>
                <a:gd name="T100" fmla="*/ 188 w 1202"/>
                <a:gd name="T101" fmla="*/ 489 h 1478"/>
                <a:gd name="T102" fmla="*/ 272 w 1202"/>
                <a:gd name="T103" fmla="*/ 448 h 1478"/>
                <a:gd name="T104" fmla="*/ 343 w 1202"/>
                <a:gd name="T105" fmla="*/ 293 h 1478"/>
                <a:gd name="T106" fmla="*/ 403 w 1202"/>
                <a:gd name="T107" fmla="*/ 150 h 1478"/>
                <a:gd name="T108" fmla="*/ 507 w 1202"/>
                <a:gd name="T109" fmla="*/ 38 h 1478"/>
                <a:gd name="T110" fmla="*/ 630 w 1202"/>
                <a:gd name="T111" fmla="*/ 2 h 1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02" h="1478">
                  <a:moveTo>
                    <a:pt x="673" y="220"/>
                  </a:moveTo>
                  <a:lnTo>
                    <a:pt x="655" y="222"/>
                  </a:lnTo>
                  <a:lnTo>
                    <a:pt x="641" y="226"/>
                  </a:lnTo>
                  <a:lnTo>
                    <a:pt x="630" y="234"/>
                  </a:lnTo>
                  <a:lnTo>
                    <a:pt x="628" y="237"/>
                  </a:lnTo>
                  <a:lnTo>
                    <a:pt x="623" y="237"/>
                  </a:lnTo>
                  <a:lnTo>
                    <a:pt x="609" y="244"/>
                  </a:lnTo>
                  <a:lnTo>
                    <a:pt x="596" y="255"/>
                  </a:lnTo>
                  <a:lnTo>
                    <a:pt x="584" y="271"/>
                  </a:lnTo>
                  <a:lnTo>
                    <a:pt x="574" y="293"/>
                  </a:lnTo>
                  <a:lnTo>
                    <a:pt x="564" y="318"/>
                  </a:lnTo>
                  <a:lnTo>
                    <a:pt x="555" y="347"/>
                  </a:lnTo>
                  <a:lnTo>
                    <a:pt x="546" y="378"/>
                  </a:lnTo>
                  <a:lnTo>
                    <a:pt x="536" y="413"/>
                  </a:lnTo>
                  <a:lnTo>
                    <a:pt x="512" y="501"/>
                  </a:lnTo>
                  <a:lnTo>
                    <a:pt x="927" y="616"/>
                  </a:lnTo>
                  <a:lnTo>
                    <a:pt x="946" y="548"/>
                  </a:lnTo>
                  <a:lnTo>
                    <a:pt x="953" y="522"/>
                  </a:lnTo>
                  <a:lnTo>
                    <a:pt x="961" y="495"/>
                  </a:lnTo>
                  <a:lnTo>
                    <a:pt x="967" y="468"/>
                  </a:lnTo>
                  <a:lnTo>
                    <a:pt x="973" y="442"/>
                  </a:lnTo>
                  <a:lnTo>
                    <a:pt x="978" y="418"/>
                  </a:lnTo>
                  <a:lnTo>
                    <a:pt x="980" y="396"/>
                  </a:lnTo>
                  <a:lnTo>
                    <a:pt x="981" y="375"/>
                  </a:lnTo>
                  <a:lnTo>
                    <a:pt x="980" y="358"/>
                  </a:lnTo>
                  <a:lnTo>
                    <a:pt x="974" y="343"/>
                  </a:lnTo>
                  <a:lnTo>
                    <a:pt x="967" y="334"/>
                  </a:lnTo>
                  <a:lnTo>
                    <a:pt x="965" y="331"/>
                  </a:lnTo>
                  <a:lnTo>
                    <a:pt x="964" y="328"/>
                  </a:lnTo>
                  <a:lnTo>
                    <a:pt x="958" y="314"/>
                  </a:lnTo>
                  <a:lnTo>
                    <a:pt x="948" y="302"/>
                  </a:lnTo>
                  <a:lnTo>
                    <a:pt x="935" y="292"/>
                  </a:lnTo>
                  <a:lnTo>
                    <a:pt x="917" y="283"/>
                  </a:lnTo>
                  <a:lnTo>
                    <a:pt x="896" y="274"/>
                  </a:lnTo>
                  <a:lnTo>
                    <a:pt x="871" y="267"/>
                  </a:lnTo>
                  <a:lnTo>
                    <a:pt x="846" y="258"/>
                  </a:lnTo>
                  <a:lnTo>
                    <a:pt x="818" y="251"/>
                  </a:lnTo>
                  <a:lnTo>
                    <a:pt x="782" y="241"/>
                  </a:lnTo>
                  <a:lnTo>
                    <a:pt x="750" y="232"/>
                  </a:lnTo>
                  <a:lnTo>
                    <a:pt x="721" y="226"/>
                  </a:lnTo>
                  <a:lnTo>
                    <a:pt x="695" y="222"/>
                  </a:lnTo>
                  <a:lnTo>
                    <a:pt x="673" y="220"/>
                  </a:lnTo>
                  <a:close/>
                  <a:moveTo>
                    <a:pt x="673" y="196"/>
                  </a:moveTo>
                  <a:lnTo>
                    <a:pt x="697" y="199"/>
                  </a:lnTo>
                  <a:lnTo>
                    <a:pt x="723" y="203"/>
                  </a:lnTo>
                  <a:lnTo>
                    <a:pt x="753" y="209"/>
                  </a:lnTo>
                  <a:lnTo>
                    <a:pt x="786" y="218"/>
                  </a:lnTo>
                  <a:lnTo>
                    <a:pt x="824" y="229"/>
                  </a:lnTo>
                  <a:lnTo>
                    <a:pt x="854" y="237"/>
                  </a:lnTo>
                  <a:lnTo>
                    <a:pt x="882" y="246"/>
                  </a:lnTo>
                  <a:lnTo>
                    <a:pt x="907" y="254"/>
                  </a:lnTo>
                  <a:lnTo>
                    <a:pt x="930" y="264"/>
                  </a:lnTo>
                  <a:lnTo>
                    <a:pt x="950" y="275"/>
                  </a:lnTo>
                  <a:lnTo>
                    <a:pt x="966" y="288"/>
                  </a:lnTo>
                  <a:lnTo>
                    <a:pt x="978" y="302"/>
                  </a:lnTo>
                  <a:lnTo>
                    <a:pt x="985" y="319"/>
                  </a:lnTo>
                  <a:lnTo>
                    <a:pt x="994" y="332"/>
                  </a:lnTo>
                  <a:lnTo>
                    <a:pt x="1001" y="349"/>
                  </a:lnTo>
                  <a:lnTo>
                    <a:pt x="1004" y="368"/>
                  </a:lnTo>
                  <a:lnTo>
                    <a:pt x="1004" y="390"/>
                  </a:lnTo>
                  <a:lnTo>
                    <a:pt x="1001" y="413"/>
                  </a:lnTo>
                  <a:lnTo>
                    <a:pt x="997" y="439"/>
                  </a:lnTo>
                  <a:lnTo>
                    <a:pt x="991" y="466"/>
                  </a:lnTo>
                  <a:lnTo>
                    <a:pt x="984" y="495"/>
                  </a:lnTo>
                  <a:lnTo>
                    <a:pt x="977" y="524"/>
                  </a:lnTo>
                  <a:lnTo>
                    <a:pt x="968" y="554"/>
                  </a:lnTo>
                  <a:lnTo>
                    <a:pt x="943" y="645"/>
                  </a:lnTo>
                  <a:lnTo>
                    <a:pt x="484" y="517"/>
                  </a:lnTo>
                  <a:lnTo>
                    <a:pt x="514" y="406"/>
                  </a:lnTo>
                  <a:lnTo>
                    <a:pt x="523" y="373"/>
                  </a:lnTo>
                  <a:lnTo>
                    <a:pt x="533" y="342"/>
                  </a:lnTo>
                  <a:lnTo>
                    <a:pt x="541" y="314"/>
                  </a:lnTo>
                  <a:lnTo>
                    <a:pt x="551" y="289"/>
                  </a:lnTo>
                  <a:lnTo>
                    <a:pt x="561" y="267"/>
                  </a:lnTo>
                  <a:lnTo>
                    <a:pt x="573" y="248"/>
                  </a:lnTo>
                  <a:lnTo>
                    <a:pt x="586" y="233"/>
                  </a:lnTo>
                  <a:lnTo>
                    <a:pt x="599" y="223"/>
                  </a:lnTo>
                  <a:lnTo>
                    <a:pt x="616" y="216"/>
                  </a:lnTo>
                  <a:lnTo>
                    <a:pt x="632" y="206"/>
                  </a:lnTo>
                  <a:lnTo>
                    <a:pt x="651" y="199"/>
                  </a:lnTo>
                  <a:lnTo>
                    <a:pt x="673" y="196"/>
                  </a:lnTo>
                  <a:close/>
                  <a:moveTo>
                    <a:pt x="678" y="22"/>
                  </a:moveTo>
                  <a:lnTo>
                    <a:pt x="633" y="25"/>
                  </a:lnTo>
                  <a:lnTo>
                    <a:pt x="592" y="32"/>
                  </a:lnTo>
                  <a:lnTo>
                    <a:pt x="554" y="42"/>
                  </a:lnTo>
                  <a:lnTo>
                    <a:pt x="519" y="57"/>
                  </a:lnTo>
                  <a:lnTo>
                    <a:pt x="489" y="80"/>
                  </a:lnTo>
                  <a:lnTo>
                    <a:pt x="463" y="106"/>
                  </a:lnTo>
                  <a:lnTo>
                    <a:pt x="440" y="133"/>
                  </a:lnTo>
                  <a:lnTo>
                    <a:pt x="420" y="164"/>
                  </a:lnTo>
                  <a:lnTo>
                    <a:pt x="404" y="195"/>
                  </a:lnTo>
                  <a:lnTo>
                    <a:pt x="389" y="230"/>
                  </a:lnTo>
                  <a:lnTo>
                    <a:pt x="376" y="265"/>
                  </a:lnTo>
                  <a:lnTo>
                    <a:pt x="365" y="302"/>
                  </a:lnTo>
                  <a:lnTo>
                    <a:pt x="353" y="340"/>
                  </a:lnTo>
                  <a:lnTo>
                    <a:pt x="342" y="380"/>
                  </a:lnTo>
                  <a:lnTo>
                    <a:pt x="317" y="467"/>
                  </a:lnTo>
                  <a:lnTo>
                    <a:pt x="309" y="467"/>
                  </a:lnTo>
                  <a:lnTo>
                    <a:pt x="280" y="470"/>
                  </a:lnTo>
                  <a:lnTo>
                    <a:pt x="253" y="477"/>
                  </a:lnTo>
                  <a:lnTo>
                    <a:pt x="230" y="486"/>
                  </a:lnTo>
                  <a:lnTo>
                    <a:pt x="211" y="498"/>
                  </a:lnTo>
                  <a:lnTo>
                    <a:pt x="199" y="512"/>
                  </a:lnTo>
                  <a:lnTo>
                    <a:pt x="190" y="529"/>
                  </a:lnTo>
                  <a:lnTo>
                    <a:pt x="26" y="1117"/>
                  </a:lnTo>
                  <a:lnTo>
                    <a:pt x="23" y="1135"/>
                  </a:lnTo>
                  <a:lnTo>
                    <a:pt x="25" y="1154"/>
                  </a:lnTo>
                  <a:lnTo>
                    <a:pt x="31" y="1172"/>
                  </a:lnTo>
                  <a:lnTo>
                    <a:pt x="42" y="1188"/>
                  </a:lnTo>
                  <a:lnTo>
                    <a:pt x="56" y="1204"/>
                  </a:lnTo>
                  <a:lnTo>
                    <a:pt x="72" y="1218"/>
                  </a:lnTo>
                  <a:lnTo>
                    <a:pt x="92" y="1228"/>
                  </a:lnTo>
                  <a:lnTo>
                    <a:pt x="113" y="1236"/>
                  </a:lnTo>
                  <a:lnTo>
                    <a:pt x="886" y="1451"/>
                  </a:lnTo>
                  <a:lnTo>
                    <a:pt x="903" y="1455"/>
                  </a:lnTo>
                  <a:lnTo>
                    <a:pt x="920" y="1456"/>
                  </a:lnTo>
                  <a:lnTo>
                    <a:pt x="920" y="1456"/>
                  </a:lnTo>
                  <a:lnTo>
                    <a:pt x="940" y="1454"/>
                  </a:lnTo>
                  <a:lnTo>
                    <a:pt x="958" y="1448"/>
                  </a:lnTo>
                  <a:lnTo>
                    <a:pt x="973" y="1438"/>
                  </a:lnTo>
                  <a:lnTo>
                    <a:pt x="986" y="1425"/>
                  </a:lnTo>
                  <a:lnTo>
                    <a:pt x="998" y="1409"/>
                  </a:lnTo>
                  <a:lnTo>
                    <a:pt x="1005" y="1389"/>
                  </a:lnTo>
                  <a:lnTo>
                    <a:pt x="1169" y="802"/>
                  </a:lnTo>
                  <a:lnTo>
                    <a:pt x="1170" y="784"/>
                  </a:lnTo>
                  <a:lnTo>
                    <a:pt x="1167" y="766"/>
                  </a:lnTo>
                  <a:lnTo>
                    <a:pt x="1158" y="749"/>
                  </a:lnTo>
                  <a:lnTo>
                    <a:pt x="1147" y="734"/>
                  </a:lnTo>
                  <a:lnTo>
                    <a:pt x="1132" y="721"/>
                  </a:lnTo>
                  <a:lnTo>
                    <a:pt x="1114" y="714"/>
                  </a:lnTo>
                  <a:lnTo>
                    <a:pt x="1104" y="711"/>
                  </a:lnTo>
                  <a:lnTo>
                    <a:pt x="1134" y="601"/>
                  </a:lnTo>
                  <a:lnTo>
                    <a:pt x="1148" y="551"/>
                  </a:lnTo>
                  <a:lnTo>
                    <a:pt x="1161" y="504"/>
                  </a:lnTo>
                  <a:lnTo>
                    <a:pt x="1170" y="457"/>
                  </a:lnTo>
                  <a:lnTo>
                    <a:pt x="1176" y="411"/>
                  </a:lnTo>
                  <a:lnTo>
                    <a:pt x="1178" y="367"/>
                  </a:lnTo>
                  <a:lnTo>
                    <a:pt x="1176" y="321"/>
                  </a:lnTo>
                  <a:lnTo>
                    <a:pt x="1167" y="277"/>
                  </a:lnTo>
                  <a:lnTo>
                    <a:pt x="1150" y="233"/>
                  </a:lnTo>
                  <a:lnTo>
                    <a:pt x="1127" y="200"/>
                  </a:lnTo>
                  <a:lnTo>
                    <a:pt x="1096" y="169"/>
                  </a:lnTo>
                  <a:lnTo>
                    <a:pt x="1062" y="140"/>
                  </a:lnTo>
                  <a:lnTo>
                    <a:pt x="1022" y="114"/>
                  </a:lnTo>
                  <a:lnTo>
                    <a:pt x="977" y="90"/>
                  </a:lnTo>
                  <a:lnTo>
                    <a:pt x="927" y="70"/>
                  </a:lnTo>
                  <a:lnTo>
                    <a:pt x="874" y="53"/>
                  </a:lnTo>
                  <a:lnTo>
                    <a:pt x="820" y="40"/>
                  </a:lnTo>
                  <a:lnTo>
                    <a:pt x="769" y="31"/>
                  </a:lnTo>
                  <a:lnTo>
                    <a:pt x="722" y="24"/>
                  </a:lnTo>
                  <a:lnTo>
                    <a:pt x="678" y="22"/>
                  </a:lnTo>
                  <a:close/>
                  <a:moveTo>
                    <a:pt x="678" y="0"/>
                  </a:moveTo>
                  <a:lnTo>
                    <a:pt x="724" y="2"/>
                  </a:lnTo>
                  <a:lnTo>
                    <a:pt x="773" y="8"/>
                  </a:lnTo>
                  <a:lnTo>
                    <a:pt x="825" y="18"/>
                  </a:lnTo>
                  <a:lnTo>
                    <a:pt x="880" y="32"/>
                  </a:lnTo>
                  <a:lnTo>
                    <a:pt x="929" y="46"/>
                  </a:lnTo>
                  <a:lnTo>
                    <a:pt x="976" y="65"/>
                  </a:lnTo>
                  <a:lnTo>
                    <a:pt x="1018" y="86"/>
                  </a:lnTo>
                  <a:lnTo>
                    <a:pt x="1056" y="109"/>
                  </a:lnTo>
                  <a:lnTo>
                    <a:pt x="1091" y="135"/>
                  </a:lnTo>
                  <a:lnTo>
                    <a:pt x="1122" y="162"/>
                  </a:lnTo>
                  <a:lnTo>
                    <a:pt x="1148" y="191"/>
                  </a:lnTo>
                  <a:lnTo>
                    <a:pt x="1170" y="222"/>
                  </a:lnTo>
                  <a:lnTo>
                    <a:pt x="1171" y="223"/>
                  </a:lnTo>
                  <a:lnTo>
                    <a:pt x="1187" y="265"/>
                  </a:lnTo>
                  <a:lnTo>
                    <a:pt x="1196" y="307"/>
                  </a:lnTo>
                  <a:lnTo>
                    <a:pt x="1202" y="348"/>
                  </a:lnTo>
                  <a:lnTo>
                    <a:pt x="1202" y="390"/>
                  </a:lnTo>
                  <a:lnTo>
                    <a:pt x="1197" y="432"/>
                  </a:lnTo>
                  <a:lnTo>
                    <a:pt x="1190" y="474"/>
                  </a:lnTo>
                  <a:lnTo>
                    <a:pt x="1181" y="518"/>
                  </a:lnTo>
                  <a:lnTo>
                    <a:pt x="1169" y="562"/>
                  </a:lnTo>
                  <a:lnTo>
                    <a:pt x="1156" y="607"/>
                  </a:lnTo>
                  <a:lnTo>
                    <a:pt x="1132" y="696"/>
                  </a:lnTo>
                  <a:lnTo>
                    <a:pt x="1149" y="706"/>
                  </a:lnTo>
                  <a:lnTo>
                    <a:pt x="1164" y="718"/>
                  </a:lnTo>
                  <a:lnTo>
                    <a:pt x="1176" y="735"/>
                  </a:lnTo>
                  <a:lnTo>
                    <a:pt x="1186" y="752"/>
                  </a:lnTo>
                  <a:lnTo>
                    <a:pt x="1191" y="771"/>
                  </a:lnTo>
                  <a:lnTo>
                    <a:pt x="1193" y="790"/>
                  </a:lnTo>
                  <a:lnTo>
                    <a:pt x="1191" y="808"/>
                  </a:lnTo>
                  <a:lnTo>
                    <a:pt x="1027" y="1395"/>
                  </a:lnTo>
                  <a:lnTo>
                    <a:pt x="1018" y="1419"/>
                  </a:lnTo>
                  <a:lnTo>
                    <a:pt x="1004" y="1440"/>
                  </a:lnTo>
                  <a:lnTo>
                    <a:pt x="987" y="1456"/>
                  </a:lnTo>
                  <a:lnTo>
                    <a:pt x="967" y="1469"/>
                  </a:lnTo>
                  <a:lnTo>
                    <a:pt x="944" y="1476"/>
                  </a:lnTo>
                  <a:lnTo>
                    <a:pt x="920" y="1478"/>
                  </a:lnTo>
                  <a:lnTo>
                    <a:pt x="920" y="1478"/>
                  </a:lnTo>
                  <a:lnTo>
                    <a:pt x="900" y="1477"/>
                  </a:lnTo>
                  <a:lnTo>
                    <a:pt x="880" y="1473"/>
                  </a:lnTo>
                  <a:lnTo>
                    <a:pt x="107" y="1258"/>
                  </a:lnTo>
                  <a:lnTo>
                    <a:pt x="83" y="1248"/>
                  </a:lnTo>
                  <a:lnTo>
                    <a:pt x="60" y="1236"/>
                  </a:lnTo>
                  <a:lnTo>
                    <a:pt x="40" y="1221"/>
                  </a:lnTo>
                  <a:lnTo>
                    <a:pt x="24" y="1203"/>
                  </a:lnTo>
                  <a:lnTo>
                    <a:pt x="10" y="1181"/>
                  </a:lnTo>
                  <a:lnTo>
                    <a:pt x="2" y="1158"/>
                  </a:lnTo>
                  <a:lnTo>
                    <a:pt x="0" y="1134"/>
                  </a:lnTo>
                  <a:lnTo>
                    <a:pt x="4" y="1111"/>
                  </a:lnTo>
                  <a:lnTo>
                    <a:pt x="168" y="523"/>
                  </a:lnTo>
                  <a:lnTo>
                    <a:pt x="176" y="505"/>
                  </a:lnTo>
                  <a:lnTo>
                    <a:pt x="188" y="489"/>
                  </a:lnTo>
                  <a:lnTo>
                    <a:pt x="204" y="476"/>
                  </a:lnTo>
                  <a:lnTo>
                    <a:pt x="223" y="464"/>
                  </a:lnTo>
                  <a:lnTo>
                    <a:pt x="246" y="455"/>
                  </a:lnTo>
                  <a:lnTo>
                    <a:pt x="272" y="448"/>
                  </a:lnTo>
                  <a:lnTo>
                    <a:pt x="300" y="445"/>
                  </a:lnTo>
                  <a:lnTo>
                    <a:pt x="320" y="374"/>
                  </a:lnTo>
                  <a:lnTo>
                    <a:pt x="331" y="333"/>
                  </a:lnTo>
                  <a:lnTo>
                    <a:pt x="343" y="293"/>
                  </a:lnTo>
                  <a:lnTo>
                    <a:pt x="355" y="255"/>
                  </a:lnTo>
                  <a:lnTo>
                    <a:pt x="369" y="218"/>
                  </a:lnTo>
                  <a:lnTo>
                    <a:pt x="385" y="183"/>
                  </a:lnTo>
                  <a:lnTo>
                    <a:pt x="403" y="150"/>
                  </a:lnTo>
                  <a:lnTo>
                    <a:pt x="423" y="119"/>
                  </a:lnTo>
                  <a:lnTo>
                    <a:pt x="447" y="89"/>
                  </a:lnTo>
                  <a:lnTo>
                    <a:pt x="475" y="62"/>
                  </a:lnTo>
                  <a:lnTo>
                    <a:pt x="507" y="38"/>
                  </a:lnTo>
                  <a:lnTo>
                    <a:pt x="508" y="37"/>
                  </a:lnTo>
                  <a:lnTo>
                    <a:pt x="546" y="21"/>
                  </a:lnTo>
                  <a:lnTo>
                    <a:pt x="586" y="10"/>
                  </a:lnTo>
                  <a:lnTo>
                    <a:pt x="630" y="2"/>
                  </a:lnTo>
                  <a:lnTo>
                    <a:pt x="67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prstDash val="solid"/>
              <a:round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32180"/>
              <a:endParaRPr lang="en-GB">
                <a:solidFill>
                  <a:srgbClr val="FFFFFF"/>
                </a:solidFill>
              </a:endParaRPr>
            </a:p>
          </p:txBody>
        </p:sp>
      </p:grpSp>
      <p:grpSp>
        <p:nvGrpSpPr>
          <p:cNvPr id="224" name="Group 43"/>
          <p:cNvGrpSpPr/>
          <p:nvPr/>
        </p:nvGrpSpPr>
        <p:grpSpPr>
          <a:xfrm>
            <a:off x="498468" y="3075985"/>
            <a:ext cx="720219" cy="279699"/>
            <a:chOff x="5114000" y="3637094"/>
            <a:chExt cx="706529" cy="274311"/>
          </a:xfrm>
        </p:grpSpPr>
        <p:grpSp>
          <p:nvGrpSpPr>
            <p:cNvPr id="225" name="Group 77"/>
            <p:cNvGrpSpPr/>
            <p:nvPr/>
          </p:nvGrpSpPr>
          <p:grpSpPr>
            <a:xfrm>
              <a:off x="5114000" y="3637094"/>
              <a:ext cx="706529" cy="274311"/>
              <a:chOff x="9682880" y="4250207"/>
              <a:chExt cx="674544" cy="228599"/>
            </a:xfrm>
            <a:solidFill>
              <a:schemeClr val="accent2"/>
            </a:solidFill>
          </p:grpSpPr>
          <p:pic>
            <p:nvPicPr>
              <p:cNvPr id="227" name="Picture 57"/>
              <p:cNvPicPr>
                <a:picLocks noChangeAspect="1"/>
              </p:cNvPicPr>
              <p:nvPr/>
            </p:nvPicPr>
            <p:blipFill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100000" contrast="4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flipH="1">
                <a:off x="9731008" y="4276740"/>
                <a:ext cx="365760" cy="175565"/>
              </a:xfrm>
              <a:prstGeom prst="rect">
                <a:avLst/>
              </a:prstGeom>
              <a:grpFill/>
            </p:spPr>
          </p:pic>
          <p:sp>
            <p:nvSpPr>
              <p:cNvPr id="228" name="Round Same Side Corner Rectangle 58"/>
              <p:cNvSpPr/>
              <p:nvPr/>
            </p:nvSpPr>
            <p:spPr>
              <a:xfrm rot="5400000">
                <a:off x="9968804" y="4090186"/>
                <a:ext cx="228599" cy="548641"/>
              </a:xfrm>
              <a:prstGeom prst="round2SameRect">
                <a:avLst>
                  <a:gd name="adj1" fmla="val 26135"/>
                  <a:gd name="adj2" fmla="val 0"/>
                </a:avLst>
              </a:prstGeom>
              <a:solidFill>
                <a:schemeClr val="accent1"/>
              </a:solidFill>
              <a:ln w="222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545">
                  <a:defRPr/>
                </a:pPr>
                <a:endParaRPr lang="en-US" sz="1700" kern="0">
                  <a:solidFill>
                    <a:srgbClr val="FFFFFF"/>
                  </a:soli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9" name="Rectangle 59"/>
              <p:cNvSpPr/>
              <p:nvPr/>
            </p:nvSpPr>
            <p:spPr>
              <a:xfrm>
                <a:off x="9682880" y="4292574"/>
                <a:ext cx="125918" cy="143905"/>
              </a:xfrm>
              <a:prstGeom prst="rect">
                <a:avLst/>
              </a:prstGeom>
              <a:solidFill>
                <a:schemeClr val="accent1"/>
              </a:solidFill>
              <a:ln w="2222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31545">
                  <a:defRPr/>
                </a:pPr>
                <a:endParaRPr lang="en-US" sz="1700" kern="0">
                  <a:solidFill>
                    <a:srgbClr val="FFFFFF"/>
                  </a:solidFill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226" name="Picture 106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 flipH="1">
              <a:off x="5317612" y="3686841"/>
              <a:ext cx="375041" cy="175566"/>
            </a:xfrm>
            <a:prstGeom prst="rect">
              <a:avLst/>
            </a:prstGeom>
          </p:spPr>
        </p:pic>
      </p:grpSp>
      <p:pic>
        <p:nvPicPr>
          <p:cNvPr id="230" name="Picture 35"/>
          <p:cNvPicPr>
            <a:picLocks noChangeAspect="1"/>
          </p:cNvPicPr>
          <p:nvPr/>
        </p:nvPicPr>
        <p:blipFill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522" y="2984583"/>
            <a:ext cx="762000" cy="4625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76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77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78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79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0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1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2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3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4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7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8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6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7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1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2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4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5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0072C6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grpSp>
        <p:nvGrpSpPr>
          <p:cNvPr id="16" name="Group 139"/>
          <p:cNvGrpSpPr/>
          <p:nvPr/>
        </p:nvGrpSpPr>
        <p:grpSpPr>
          <a:xfrm>
            <a:off x="1795347" y="2812679"/>
            <a:ext cx="536868" cy="742399"/>
            <a:chOff x="7688566" y="3019100"/>
            <a:chExt cx="907340" cy="1254619"/>
          </a:xfrm>
          <a:solidFill>
            <a:srgbClr val="FFFFFF"/>
          </a:solidFill>
        </p:grpSpPr>
        <p:grpSp>
          <p:nvGrpSpPr>
            <p:cNvPr id="17" name="Group 140"/>
            <p:cNvGrpSpPr/>
            <p:nvPr/>
          </p:nvGrpSpPr>
          <p:grpSpPr bwMode="black">
            <a:xfrm>
              <a:off x="7928584" y="3223998"/>
              <a:ext cx="429598" cy="1049721"/>
              <a:chOff x="3233738" y="168276"/>
              <a:chExt cx="2651125" cy="6480174"/>
            </a:xfrm>
            <a:grpFill/>
          </p:grpSpPr>
          <p:sp>
            <p:nvSpPr>
              <p:cNvPr id="27" name="Freeform 150"/>
              <p:cNvSpPr/>
              <p:nvPr/>
            </p:nvSpPr>
            <p:spPr bwMode="black">
              <a:xfrm>
                <a:off x="3679825" y="5110163"/>
                <a:ext cx="2028825" cy="1538287"/>
              </a:xfrm>
              <a:custGeom>
                <a:avLst/>
                <a:gdLst>
                  <a:gd name="T0" fmla="*/ 422 w 541"/>
                  <a:gd name="T1" fmla="*/ 196 h 410"/>
                  <a:gd name="T2" fmla="*/ 536 w 541"/>
                  <a:gd name="T3" fmla="*/ 14 h 410"/>
                  <a:gd name="T4" fmla="*/ 528 w 541"/>
                  <a:gd name="T5" fmla="*/ 0 h 410"/>
                  <a:gd name="T6" fmla="*/ 12 w 541"/>
                  <a:gd name="T7" fmla="*/ 0 h 410"/>
                  <a:gd name="T8" fmla="*/ 5 w 541"/>
                  <a:gd name="T9" fmla="*/ 14 h 410"/>
                  <a:gd name="T10" fmla="*/ 138 w 541"/>
                  <a:gd name="T11" fmla="*/ 197 h 410"/>
                  <a:gd name="T12" fmla="*/ 149 w 541"/>
                  <a:gd name="T13" fmla="*/ 206 h 410"/>
                  <a:gd name="T14" fmla="*/ 142 w 541"/>
                  <a:gd name="T15" fmla="*/ 229 h 410"/>
                  <a:gd name="T16" fmla="*/ 152 w 541"/>
                  <a:gd name="T17" fmla="*/ 256 h 410"/>
                  <a:gd name="T18" fmla="*/ 142 w 541"/>
                  <a:gd name="T19" fmla="*/ 282 h 410"/>
                  <a:gd name="T20" fmla="*/ 152 w 541"/>
                  <a:gd name="T21" fmla="*/ 309 h 410"/>
                  <a:gd name="T22" fmla="*/ 142 w 541"/>
                  <a:gd name="T23" fmla="*/ 336 h 410"/>
                  <a:gd name="T24" fmla="*/ 184 w 541"/>
                  <a:gd name="T25" fmla="*/ 377 h 410"/>
                  <a:gd name="T26" fmla="*/ 212 w 541"/>
                  <a:gd name="T27" fmla="*/ 377 h 410"/>
                  <a:gd name="T28" fmla="*/ 234 w 541"/>
                  <a:gd name="T29" fmla="*/ 407 h 410"/>
                  <a:gd name="T30" fmla="*/ 240 w 541"/>
                  <a:gd name="T31" fmla="*/ 410 h 410"/>
                  <a:gd name="T32" fmla="*/ 335 w 541"/>
                  <a:gd name="T33" fmla="*/ 410 h 410"/>
                  <a:gd name="T34" fmla="*/ 341 w 541"/>
                  <a:gd name="T35" fmla="*/ 407 h 410"/>
                  <a:gd name="T36" fmla="*/ 360 w 541"/>
                  <a:gd name="T37" fmla="*/ 377 h 410"/>
                  <a:gd name="T38" fmla="*/ 384 w 541"/>
                  <a:gd name="T39" fmla="*/ 377 h 410"/>
                  <a:gd name="T40" fmla="*/ 425 w 541"/>
                  <a:gd name="T41" fmla="*/ 336 h 410"/>
                  <a:gd name="T42" fmla="*/ 415 w 541"/>
                  <a:gd name="T43" fmla="*/ 309 h 410"/>
                  <a:gd name="T44" fmla="*/ 425 w 541"/>
                  <a:gd name="T45" fmla="*/ 282 h 410"/>
                  <a:gd name="T46" fmla="*/ 415 w 541"/>
                  <a:gd name="T47" fmla="*/ 256 h 410"/>
                  <a:gd name="T48" fmla="*/ 425 w 541"/>
                  <a:gd name="T49" fmla="*/ 229 h 410"/>
                  <a:gd name="T50" fmla="*/ 416 w 541"/>
                  <a:gd name="T51" fmla="*/ 203 h 410"/>
                  <a:gd name="T52" fmla="*/ 422 w 541"/>
                  <a:gd name="T53" fmla="*/ 196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1" h="410">
                    <a:moveTo>
                      <a:pt x="422" y="196"/>
                    </a:moveTo>
                    <a:cubicBezTo>
                      <a:pt x="536" y="14"/>
                      <a:pt x="536" y="14"/>
                      <a:pt x="536" y="14"/>
                    </a:cubicBezTo>
                    <a:cubicBezTo>
                      <a:pt x="541" y="7"/>
                      <a:pt x="537" y="0"/>
                      <a:pt x="52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3" y="0"/>
                      <a:pt x="0" y="6"/>
                      <a:pt x="5" y="14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0" y="201"/>
                      <a:pt x="145" y="204"/>
                      <a:pt x="149" y="206"/>
                    </a:cubicBezTo>
                    <a:cubicBezTo>
                      <a:pt x="145" y="213"/>
                      <a:pt x="142" y="221"/>
                      <a:pt x="142" y="229"/>
                    </a:cubicBezTo>
                    <a:cubicBezTo>
                      <a:pt x="142" y="239"/>
                      <a:pt x="146" y="248"/>
                      <a:pt x="152" y="256"/>
                    </a:cubicBezTo>
                    <a:cubicBezTo>
                      <a:pt x="146" y="263"/>
                      <a:pt x="142" y="272"/>
                      <a:pt x="142" y="282"/>
                    </a:cubicBezTo>
                    <a:cubicBezTo>
                      <a:pt x="142" y="293"/>
                      <a:pt x="146" y="302"/>
                      <a:pt x="152" y="309"/>
                    </a:cubicBezTo>
                    <a:cubicBezTo>
                      <a:pt x="146" y="316"/>
                      <a:pt x="142" y="326"/>
                      <a:pt x="142" y="336"/>
                    </a:cubicBezTo>
                    <a:cubicBezTo>
                      <a:pt x="142" y="359"/>
                      <a:pt x="161" y="377"/>
                      <a:pt x="184" y="377"/>
                    </a:cubicBezTo>
                    <a:cubicBezTo>
                      <a:pt x="212" y="377"/>
                      <a:pt x="212" y="377"/>
                      <a:pt x="212" y="377"/>
                    </a:cubicBezTo>
                    <a:cubicBezTo>
                      <a:pt x="234" y="407"/>
                      <a:pt x="234" y="407"/>
                      <a:pt x="234" y="407"/>
                    </a:cubicBezTo>
                    <a:cubicBezTo>
                      <a:pt x="235" y="409"/>
                      <a:pt x="238" y="410"/>
                      <a:pt x="240" y="410"/>
                    </a:cubicBezTo>
                    <a:cubicBezTo>
                      <a:pt x="335" y="410"/>
                      <a:pt x="335" y="410"/>
                      <a:pt x="335" y="410"/>
                    </a:cubicBezTo>
                    <a:cubicBezTo>
                      <a:pt x="337" y="410"/>
                      <a:pt x="340" y="409"/>
                      <a:pt x="341" y="407"/>
                    </a:cubicBezTo>
                    <a:cubicBezTo>
                      <a:pt x="360" y="377"/>
                      <a:pt x="360" y="377"/>
                      <a:pt x="360" y="377"/>
                    </a:cubicBezTo>
                    <a:cubicBezTo>
                      <a:pt x="384" y="377"/>
                      <a:pt x="384" y="377"/>
                      <a:pt x="384" y="377"/>
                    </a:cubicBezTo>
                    <a:cubicBezTo>
                      <a:pt x="407" y="377"/>
                      <a:pt x="425" y="359"/>
                      <a:pt x="425" y="336"/>
                    </a:cubicBezTo>
                    <a:cubicBezTo>
                      <a:pt x="425" y="326"/>
                      <a:pt x="421" y="316"/>
                      <a:pt x="415" y="309"/>
                    </a:cubicBezTo>
                    <a:cubicBezTo>
                      <a:pt x="421" y="302"/>
                      <a:pt x="425" y="293"/>
                      <a:pt x="425" y="282"/>
                    </a:cubicBezTo>
                    <a:cubicBezTo>
                      <a:pt x="425" y="272"/>
                      <a:pt x="421" y="263"/>
                      <a:pt x="415" y="256"/>
                    </a:cubicBezTo>
                    <a:cubicBezTo>
                      <a:pt x="421" y="248"/>
                      <a:pt x="425" y="239"/>
                      <a:pt x="425" y="229"/>
                    </a:cubicBezTo>
                    <a:cubicBezTo>
                      <a:pt x="425" y="219"/>
                      <a:pt x="421" y="210"/>
                      <a:pt x="416" y="203"/>
                    </a:cubicBezTo>
                    <a:cubicBezTo>
                      <a:pt x="418" y="201"/>
                      <a:pt x="420" y="198"/>
                      <a:pt x="422" y="19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28" name="Freeform 151"/>
              <p:cNvSpPr>
                <a:spLocks noEditPoints="1"/>
              </p:cNvSpPr>
              <p:nvPr/>
            </p:nvSpPr>
            <p:spPr bwMode="black">
              <a:xfrm>
                <a:off x="3233738" y="168276"/>
                <a:ext cx="2651125" cy="4124325"/>
              </a:xfrm>
              <a:custGeom>
                <a:avLst/>
                <a:gdLst>
                  <a:gd name="T0" fmla="*/ 122 w 707"/>
                  <a:gd name="T1" fmla="*/ 705 h 1100"/>
                  <a:gd name="T2" fmla="*/ 642 w 707"/>
                  <a:gd name="T3" fmla="*/ 515 h 1100"/>
                  <a:gd name="T4" fmla="*/ 691 w 707"/>
                  <a:gd name="T5" fmla="*/ 408 h 1100"/>
                  <a:gd name="T6" fmla="*/ 584 w 707"/>
                  <a:gd name="T7" fmla="*/ 359 h 1100"/>
                  <a:gd name="T8" fmla="*/ 65 w 707"/>
                  <a:gd name="T9" fmla="*/ 548 h 1100"/>
                  <a:gd name="T10" fmla="*/ 15 w 707"/>
                  <a:gd name="T11" fmla="*/ 655 h 1100"/>
                  <a:gd name="T12" fmla="*/ 122 w 707"/>
                  <a:gd name="T13" fmla="*/ 705 h 1100"/>
                  <a:gd name="T14" fmla="*/ 652 w 707"/>
                  <a:gd name="T15" fmla="*/ 714 h 1100"/>
                  <a:gd name="T16" fmla="*/ 706 w 707"/>
                  <a:gd name="T17" fmla="*/ 636 h 1100"/>
                  <a:gd name="T18" fmla="*/ 701 w 707"/>
                  <a:gd name="T19" fmla="*/ 608 h 1100"/>
                  <a:gd name="T20" fmla="*/ 594 w 707"/>
                  <a:gd name="T21" fmla="*/ 558 h 1100"/>
                  <a:gd name="T22" fmla="*/ 75 w 707"/>
                  <a:gd name="T23" fmla="*/ 748 h 1100"/>
                  <a:gd name="T24" fmla="*/ 20 w 707"/>
                  <a:gd name="T25" fmla="*/ 825 h 1100"/>
                  <a:gd name="T26" fmla="*/ 20 w 707"/>
                  <a:gd name="T27" fmla="*/ 826 h 1100"/>
                  <a:gd name="T28" fmla="*/ 73 w 707"/>
                  <a:gd name="T29" fmla="*/ 904 h 1100"/>
                  <a:gd name="T30" fmla="*/ 190 w 707"/>
                  <a:gd name="T31" fmla="*/ 951 h 1100"/>
                  <a:gd name="T32" fmla="*/ 190 w 707"/>
                  <a:gd name="T33" fmla="*/ 1014 h 1100"/>
                  <a:gd name="T34" fmla="*/ 191 w 707"/>
                  <a:gd name="T35" fmla="*/ 1023 h 1100"/>
                  <a:gd name="T36" fmla="*/ 132 w 707"/>
                  <a:gd name="T37" fmla="*/ 1023 h 1100"/>
                  <a:gd name="T38" fmla="*/ 115 w 707"/>
                  <a:gd name="T39" fmla="*/ 1040 h 1100"/>
                  <a:gd name="T40" fmla="*/ 115 w 707"/>
                  <a:gd name="T41" fmla="*/ 1083 h 1100"/>
                  <a:gd name="T42" fmla="*/ 132 w 707"/>
                  <a:gd name="T43" fmla="*/ 1100 h 1100"/>
                  <a:gd name="T44" fmla="*/ 648 w 707"/>
                  <a:gd name="T45" fmla="*/ 1100 h 1100"/>
                  <a:gd name="T46" fmla="*/ 664 w 707"/>
                  <a:gd name="T47" fmla="*/ 1083 h 1100"/>
                  <a:gd name="T48" fmla="*/ 664 w 707"/>
                  <a:gd name="T49" fmla="*/ 1040 h 1100"/>
                  <a:gd name="T50" fmla="*/ 648 w 707"/>
                  <a:gd name="T51" fmla="*/ 1023 h 1100"/>
                  <a:gd name="T52" fmla="*/ 622 w 707"/>
                  <a:gd name="T53" fmla="*/ 1023 h 1100"/>
                  <a:gd name="T54" fmla="*/ 622 w 707"/>
                  <a:gd name="T55" fmla="*/ 1013 h 1100"/>
                  <a:gd name="T56" fmla="*/ 622 w 707"/>
                  <a:gd name="T57" fmla="*/ 873 h 1100"/>
                  <a:gd name="T58" fmla="*/ 539 w 707"/>
                  <a:gd name="T59" fmla="*/ 790 h 1100"/>
                  <a:gd name="T60" fmla="*/ 456 w 707"/>
                  <a:gd name="T61" fmla="*/ 873 h 1100"/>
                  <a:gd name="T62" fmla="*/ 456 w 707"/>
                  <a:gd name="T63" fmla="*/ 1013 h 1100"/>
                  <a:gd name="T64" fmla="*/ 457 w 707"/>
                  <a:gd name="T65" fmla="*/ 1023 h 1100"/>
                  <a:gd name="T66" fmla="*/ 355 w 707"/>
                  <a:gd name="T67" fmla="*/ 1023 h 1100"/>
                  <a:gd name="T68" fmla="*/ 356 w 707"/>
                  <a:gd name="T69" fmla="*/ 1014 h 1100"/>
                  <a:gd name="T70" fmla="*/ 357 w 707"/>
                  <a:gd name="T71" fmla="*/ 895 h 1100"/>
                  <a:gd name="T72" fmla="*/ 346 w 707"/>
                  <a:gd name="T73" fmla="*/ 855 h 1100"/>
                  <a:gd name="T74" fmla="*/ 161 w 707"/>
                  <a:gd name="T75" fmla="*/ 885 h 1100"/>
                  <a:gd name="T76" fmla="*/ 348 w 707"/>
                  <a:gd name="T77" fmla="*/ 826 h 1100"/>
                  <a:gd name="T78" fmla="*/ 652 w 707"/>
                  <a:gd name="T79" fmla="*/ 714 h 1100"/>
                  <a:gd name="T80" fmla="*/ 122 w 707"/>
                  <a:gd name="T81" fmla="*/ 500 h 1100"/>
                  <a:gd name="T82" fmla="*/ 642 w 707"/>
                  <a:gd name="T83" fmla="*/ 310 h 1100"/>
                  <a:gd name="T84" fmla="*/ 696 w 707"/>
                  <a:gd name="T85" fmla="*/ 232 h 1100"/>
                  <a:gd name="T86" fmla="*/ 695 w 707"/>
                  <a:gd name="T87" fmla="*/ 223 h 1100"/>
                  <a:gd name="T88" fmla="*/ 624 w 707"/>
                  <a:gd name="T89" fmla="*/ 149 h 1100"/>
                  <a:gd name="T90" fmla="*/ 499 w 707"/>
                  <a:gd name="T91" fmla="*/ 132 h 1100"/>
                  <a:gd name="T92" fmla="*/ 509 w 707"/>
                  <a:gd name="T93" fmla="*/ 93 h 1100"/>
                  <a:gd name="T94" fmla="*/ 504 w 707"/>
                  <a:gd name="T95" fmla="*/ 66 h 1100"/>
                  <a:gd name="T96" fmla="*/ 398 w 707"/>
                  <a:gd name="T97" fmla="*/ 15 h 1100"/>
                  <a:gd name="T98" fmla="*/ 166 w 707"/>
                  <a:gd name="T99" fmla="*/ 96 h 1100"/>
                  <a:gd name="T100" fmla="*/ 110 w 707"/>
                  <a:gd name="T101" fmla="*/ 175 h 1100"/>
                  <a:gd name="T102" fmla="*/ 111 w 707"/>
                  <a:gd name="T103" fmla="*/ 184 h 1100"/>
                  <a:gd name="T104" fmla="*/ 182 w 707"/>
                  <a:gd name="T105" fmla="*/ 257 h 1100"/>
                  <a:gd name="T106" fmla="*/ 243 w 707"/>
                  <a:gd name="T107" fmla="*/ 266 h 1100"/>
                  <a:gd name="T108" fmla="*/ 439 w 707"/>
                  <a:gd name="T109" fmla="*/ 213 h 1100"/>
                  <a:gd name="T110" fmla="*/ 225 w 707"/>
                  <a:gd name="T111" fmla="*/ 285 h 1100"/>
                  <a:gd name="T112" fmla="*/ 65 w 707"/>
                  <a:gd name="T113" fmla="*/ 343 h 1100"/>
                  <a:gd name="T114" fmla="*/ 11 w 707"/>
                  <a:gd name="T115" fmla="*/ 422 h 1100"/>
                  <a:gd name="T116" fmla="*/ 15 w 707"/>
                  <a:gd name="T117" fmla="*/ 451 h 1100"/>
                  <a:gd name="T118" fmla="*/ 122 w 707"/>
                  <a:gd name="T119" fmla="*/ 500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7" h="1100">
                    <a:moveTo>
                      <a:pt x="122" y="705"/>
                    </a:moveTo>
                    <a:cubicBezTo>
                      <a:pt x="642" y="515"/>
                      <a:pt x="642" y="515"/>
                      <a:pt x="642" y="515"/>
                    </a:cubicBezTo>
                    <a:cubicBezTo>
                      <a:pt x="684" y="499"/>
                      <a:pt x="707" y="451"/>
                      <a:pt x="691" y="408"/>
                    </a:cubicBezTo>
                    <a:cubicBezTo>
                      <a:pt x="675" y="365"/>
                      <a:pt x="627" y="343"/>
                      <a:pt x="584" y="359"/>
                    </a:cubicBezTo>
                    <a:cubicBezTo>
                      <a:pt x="65" y="548"/>
                      <a:pt x="65" y="548"/>
                      <a:pt x="65" y="548"/>
                    </a:cubicBezTo>
                    <a:cubicBezTo>
                      <a:pt x="22" y="564"/>
                      <a:pt x="0" y="612"/>
                      <a:pt x="15" y="655"/>
                    </a:cubicBezTo>
                    <a:cubicBezTo>
                      <a:pt x="31" y="698"/>
                      <a:pt x="79" y="721"/>
                      <a:pt x="122" y="705"/>
                    </a:cubicBezTo>
                    <a:close/>
                    <a:moveTo>
                      <a:pt x="652" y="714"/>
                    </a:moveTo>
                    <a:cubicBezTo>
                      <a:pt x="685" y="702"/>
                      <a:pt x="706" y="671"/>
                      <a:pt x="706" y="636"/>
                    </a:cubicBezTo>
                    <a:cubicBezTo>
                      <a:pt x="706" y="627"/>
                      <a:pt x="704" y="617"/>
                      <a:pt x="701" y="608"/>
                    </a:cubicBezTo>
                    <a:cubicBezTo>
                      <a:pt x="685" y="565"/>
                      <a:pt x="637" y="543"/>
                      <a:pt x="594" y="558"/>
                    </a:cubicBezTo>
                    <a:cubicBezTo>
                      <a:pt x="75" y="748"/>
                      <a:pt x="75" y="748"/>
                      <a:pt x="75" y="748"/>
                    </a:cubicBezTo>
                    <a:cubicBezTo>
                      <a:pt x="43" y="760"/>
                      <a:pt x="21" y="790"/>
                      <a:pt x="20" y="825"/>
                    </a:cubicBezTo>
                    <a:cubicBezTo>
                      <a:pt x="20" y="826"/>
                      <a:pt x="20" y="826"/>
                      <a:pt x="20" y="826"/>
                    </a:cubicBezTo>
                    <a:cubicBezTo>
                      <a:pt x="20" y="860"/>
                      <a:pt x="41" y="891"/>
                      <a:pt x="73" y="904"/>
                    </a:cubicBezTo>
                    <a:cubicBezTo>
                      <a:pt x="73" y="904"/>
                      <a:pt x="140" y="931"/>
                      <a:pt x="190" y="951"/>
                    </a:cubicBezTo>
                    <a:cubicBezTo>
                      <a:pt x="190" y="982"/>
                      <a:pt x="190" y="1014"/>
                      <a:pt x="190" y="1014"/>
                    </a:cubicBezTo>
                    <a:cubicBezTo>
                      <a:pt x="190" y="1017"/>
                      <a:pt x="190" y="1020"/>
                      <a:pt x="191" y="1023"/>
                    </a:cubicBezTo>
                    <a:cubicBezTo>
                      <a:pt x="132" y="1023"/>
                      <a:pt x="132" y="1023"/>
                      <a:pt x="132" y="1023"/>
                    </a:cubicBezTo>
                    <a:cubicBezTo>
                      <a:pt x="122" y="1023"/>
                      <a:pt x="115" y="1030"/>
                      <a:pt x="115" y="1040"/>
                    </a:cubicBezTo>
                    <a:cubicBezTo>
                      <a:pt x="115" y="1083"/>
                      <a:pt x="115" y="1083"/>
                      <a:pt x="115" y="1083"/>
                    </a:cubicBezTo>
                    <a:cubicBezTo>
                      <a:pt x="115" y="1093"/>
                      <a:pt x="122" y="1100"/>
                      <a:pt x="132" y="1100"/>
                    </a:cubicBezTo>
                    <a:cubicBezTo>
                      <a:pt x="648" y="1100"/>
                      <a:pt x="648" y="1100"/>
                      <a:pt x="648" y="1100"/>
                    </a:cubicBezTo>
                    <a:cubicBezTo>
                      <a:pt x="657" y="1100"/>
                      <a:pt x="664" y="1093"/>
                      <a:pt x="664" y="1083"/>
                    </a:cubicBezTo>
                    <a:cubicBezTo>
                      <a:pt x="664" y="1040"/>
                      <a:pt x="664" y="1040"/>
                      <a:pt x="664" y="1040"/>
                    </a:cubicBezTo>
                    <a:cubicBezTo>
                      <a:pt x="664" y="1030"/>
                      <a:pt x="657" y="1023"/>
                      <a:pt x="648" y="1023"/>
                    </a:cubicBezTo>
                    <a:cubicBezTo>
                      <a:pt x="622" y="1023"/>
                      <a:pt x="622" y="1023"/>
                      <a:pt x="622" y="1023"/>
                    </a:cubicBezTo>
                    <a:cubicBezTo>
                      <a:pt x="622" y="1020"/>
                      <a:pt x="622" y="1017"/>
                      <a:pt x="622" y="1013"/>
                    </a:cubicBezTo>
                    <a:cubicBezTo>
                      <a:pt x="622" y="873"/>
                      <a:pt x="622" y="873"/>
                      <a:pt x="622" y="873"/>
                    </a:cubicBezTo>
                    <a:cubicBezTo>
                      <a:pt x="622" y="827"/>
                      <a:pt x="585" y="790"/>
                      <a:pt x="539" y="790"/>
                    </a:cubicBezTo>
                    <a:cubicBezTo>
                      <a:pt x="493" y="790"/>
                      <a:pt x="456" y="827"/>
                      <a:pt x="456" y="873"/>
                    </a:cubicBezTo>
                    <a:cubicBezTo>
                      <a:pt x="456" y="1013"/>
                      <a:pt x="456" y="1013"/>
                      <a:pt x="456" y="1013"/>
                    </a:cubicBezTo>
                    <a:cubicBezTo>
                      <a:pt x="456" y="1017"/>
                      <a:pt x="456" y="1020"/>
                      <a:pt x="457" y="1023"/>
                    </a:cubicBezTo>
                    <a:cubicBezTo>
                      <a:pt x="355" y="1023"/>
                      <a:pt x="355" y="1023"/>
                      <a:pt x="355" y="1023"/>
                    </a:cubicBezTo>
                    <a:cubicBezTo>
                      <a:pt x="356" y="1020"/>
                      <a:pt x="356" y="1017"/>
                      <a:pt x="356" y="1014"/>
                    </a:cubicBezTo>
                    <a:cubicBezTo>
                      <a:pt x="357" y="895"/>
                      <a:pt x="357" y="895"/>
                      <a:pt x="357" y="895"/>
                    </a:cubicBezTo>
                    <a:cubicBezTo>
                      <a:pt x="357" y="880"/>
                      <a:pt x="353" y="867"/>
                      <a:pt x="346" y="855"/>
                    </a:cubicBezTo>
                    <a:cubicBezTo>
                      <a:pt x="161" y="885"/>
                      <a:pt x="161" y="885"/>
                      <a:pt x="161" y="885"/>
                    </a:cubicBezTo>
                    <a:cubicBezTo>
                      <a:pt x="348" y="826"/>
                      <a:pt x="348" y="826"/>
                      <a:pt x="348" y="826"/>
                    </a:cubicBezTo>
                    <a:cubicBezTo>
                      <a:pt x="495" y="772"/>
                      <a:pt x="652" y="714"/>
                      <a:pt x="652" y="714"/>
                    </a:cubicBezTo>
                    <a:close/>
                    <a:moveTo>
                      <a:pt x="122" y="500"/>
                    </a:moveTo>
                    <a:cubicBezTo>
                      <a:pt x="642" y="310"/>
                      <a:pt x="642" y="310"/>
                      <a:pt x="642" y="310"/>
                    </a:cubicBezTo>
                    <a:cubicBezTo>
                      <a:pt x="675" y="298"/>
                      <a:pt x="696" y="267"/>
                      <a:pt x="696" y="232"/>
                    </a:cubicBezTo>
                    <a:cubicBezTo>
                      <a:pt x="696" y="229"/>
                      <a:pt x="696" y="226"/>
                      <a:pt x="695" y="223"/>
                    </a:cubicBezTo>
                    <a:cubicBezTo>
                      <a:pt x="691" y="185"/>
                      <a:pt x="662" y="155"/>
                      <a:pt x="624" y="149"/>
                    </a:cubicBezTo>
                    <a:cubicBezTo>
                      <a:pt x="624" y="149"/>
                      <a:pt x="551" y="139"/>
                      <a:pt x="499" y="132"/>
                    </a:cubicBezTo>
                    <a:cubicBezTo>
                      <a:pt x="505" y="120"/>
                      <a:pt x="509" y="107"/>
                      <a:pt x="509" y="93"/>
                    </a:cubicBezTo>
                    <a:cubicBezTo>
                      <a:pt x="509" y="84"/>
                      <a:pt x="508" y="75"/>
                      <a:pt x="504" y="66"/>
                    </a:cubicBezTo>
                    <a:cubicBezTo>
                      <a:pt x="489" y="22"/>
                      <a:pt x="441" y="0"/>
                      <a:pt x="398" y="15"/>
                    </a:cubicBezTo>
                    <a:cubicBezTo>
                      <a:pt x="166" y="96"/>
                      <a:pt x="166" y="96"/>
                      <a:pt x="166" y="96"/>
                    </a:cubicBezTo>
                    <a:cubicBezTo>
                      <a:pt x="132" y="109"/>
                      <a:pt x="110" y="140"/>
                      <a:pt x="110" y="175"/>
                    </a:cubicBezTo>
                    <a:cubicBezTo>
                      <a:pt x="110" y="178"/>
                      <a:pt x="110" y="181"/>
                      <a:pt x="111" y="184"/>
                    </a:cubicBezTo>
                    <a:cubicBezTo>
                      <a:pt x="115" y="222"/>
                      <a:pt x="145" y="253"/>
                      <a:pt x="182" y="257"/>
                    </a:cubicBezTo>
                    <a:cubicBezTo>
                      <a:pt x="182" y="257"/>
                      <a:pt x="215" y="262"/>
                      <a:pt x="243" y="266"/>
                    </a:cubicBezTo>
                    <a:cubicBezTo>
                      <a:pt x="439" y="213"/>
                      <a:pt x="439" y="213"/>
                      <a:pt x="439" y="213"/>
                    </a:cubicBezTo>
                    <a:cubicBezTo>
                      <a:pt x="225" y="285"/>
                      <a:pt x="225" y="285"/>
                      <a:pt x="225" y="285"/>
                    </a:cubicBezTo>
                    <a:cubicBezTo>
                      <a:pt x="142" y="315"/>
                      <a:pt x="65" y="343"/>
                      <a:pt x="65" y="343"/>
                    </a:cubicBezTo>
                    <a:cubicBezTo>
                      <a:pt x="31" y="356"/>
                      <a:pt x="11" y="388"/>
                      <a:pt x="11" y="422"/>
                    </a:cubicBezTo>
                    <a:cubicBezTo>
                      <a:pt x="11" y="431"/>
                      <a:pt x="12" y="441"/>
                      <a:pt x="15" y="451"/>
                    </a:cubicBezTo>
                    <a:cubicBezTo>
                      <a:pt x="31" y="494"/>
                      <a:pt x="79" y="516"/>
                      <a:pt x="122" y="5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29" name="Freeform 152"/>
              <p:cNvSpPr/>
              <p:nvPr/>
            </p:nvSpPr>
            <p:spPr bwMode="black">
              <a:xfrm>
                <a:off x="3657600" y="4476750"/>
                <a:ext cx="2057400" cy="460375"/>
              </a:xfrm>
              <a:custGeom>
                <a:avLst/>
                <a:gdLst>
                  <a:gd name="T0" fmla="*/ 549 w 549"/>
                  <a:gd name="T1" fmla="*/ 10 h 123"/>
                  <a:gd name="T2" fmla="*/ 535 w 549"/>
                  <a:gd name="T3" fmla="*/ 0 h 123"/>
                  <a:gd name="T4" fmla="*/ 17 w 549"/>
                  <a:gd name="T5" fmla="*/ 0 h 123"/>
                  <a:gd name="T6" fmla="*/ 0 w 549"/>
                  <a:gd name="T7" fmla="*/ 17 h 123"/>
                  <a:gd name="T8" fmla="*/ 0 w 549"/>
                  <a:gd name="T9" fmla="*/ 106 h 123"/>
                  <a:gd name="T10" fmla="*/ 17 w 549"/>
                  <a:gd name="T11" fmla="*/ 123 h 123"/>
                  <a:gd name="T12" fmla="*/ 535 w 549"/>
                  <a:gd name="T13" fmla="*/ 123 h 123"/>
                  <a:gd name="T14" fmla="*/ 549 w 549"/>
                  <a:gd name="T15" fmla="*/ 113 h 123"/>
                  <a:gd name="T16" fmla="*/ 549 w 549"/>
                  <a:gd name="T17" fmla="*/ 1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9" h="123">
                    <a:moveTo>
                      <a:pt x="549" y="10"/>
                    </a:moveTo>
                    <a:cubicBezTo>
                      <a:pt x="547" y="4"/>
                      <a:pt x="541" y="0"/>
                      <a:pt x="53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7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15"/>
                      <a:pt x="8" y="123"/>
                      <a:pt x="17" y="123"/>
                    </a:cubicBezTo>
                    <a:cubicBezTo>
                      <a:pt x="535" y="123"/>
                      <a:pt x="535" y="123"/>
                      <a:pt x="535" y="123"/>
                    </a:cubicBezTo>
                    <a:cubicBezTo>
                      <a:pt x="541" y="123"/>
                      <a:pt x="547" y="118"/>
                      <a:pt x="549" y="113"/>
                    </a:cubicBezTo>
                    <a:cubicBezTo>
                      <a:pt x="549" y="10"/>
                      <a:pt x="549" y="10"/>
                      <a:pt x="54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</p:grpSp>
        <p:sp>
          <p:nvSpPr>
            <p:cNvPr id="18" name="Rounded Rectangle 141"/>
            <p:cNvSpPr/>
            <p:nvPr/>
          </p:nvSpPr>
          <p:spPr>
            <a:xfrm>
              <a:off x="8131857" y="3019100"/>
              <a:ext cx="18287" cy="137151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19" name="Rounded Rectangle 142"/>
            <p:cNvSpPr/>
            <p:nvPr/>
          </p:nvSpPr>
          <p:spPr>
            <a:xfrm rot="1860000">
              <a:off x="8339894" y="3078622"/>
              <a:ext cx="18287" cy="137151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0" name="Rounded Rectangle 143"/>
            <p:cNvSpPr/>
            <p:nvPr/>
          </p:nvSpPr>
          <p:spPr>
            <a:xfrm rot="19680000">
              <a:off x="7923822" y="3078620"/>
              <a:ext cx="18287" cy="137151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1" name="Rounded Rectangle 144"/>
            <p:cNvSpPr/>
            <p:nvPr/>
          </p:nvSpPr>
          <p:spPr>
            <a:xfrm rot="3420000">
              <a:off x="8489610" y="3256516"/>
              <a:ext cx="18286" cy="137160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2" name="Rounded Rectangle 145"/>
            <p:cNvSpPr/>
            <p:nvPr/>
          </p:nvSpPr>
          <p:spPr>
            <a:xfrm rot="18180000" flipV="1">
              <a:off x="7776750" y="3256514"/>
              <a:ext cx="18286" cy="137160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3" name="Rounded Rectangle 146"/>
            <p:cNvSpPr/>
            <p:nvPr/>
          </p:nvSpPr>
          <p:spPr>
            <a:xfrm rot="5400000">
              <a:off x="8518183" y="3454412"/>
              <a:ext cx="18286" cy="137160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4" name="Rounded Rectangle 147"/>
            <p:cNvSpPr/>
            <p:nvPr/>
          </p:nvSpPr>
          <p:spPr>
            <a:xfrm rot="5400000">
              <a:off x="7748003" y="3454422"/>
              <a:ext cx="18286" cy="137160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5" name="Rounded Rectangle 148"/>
            <p:cNvSpPr/>
            <p:nvPr/>
          </p:nvSpPr>
          <p:spPr>
            <a:xfrm rot="6660000">
              <a:off x="8472942" y="3592047"/>
              <a:ext cx="18287" cy="137160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26" name="Rounded Rectangle 149"/>
            <p:cNvSpPr/>
            <p:nvPr/>
          </p:nvSpPr>
          <p:spPr>
            <a:xfrm rot="14940000" flipH="1">
              <a:off x="7801157" y="3592107"/>
              <a:ext cx="18287" cy="137160"/>
            </a:xfrm>
            <a:prstGeom prst="round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ot="0" spcFirstLastPara="0" vert="horz" wrap="square" lIns="91427" tIns="91427" rIns="91427" bIns="91427" numCol="1" spcCol="0" rtlCol="0" fromWordArt="0" anchor="b" anchorCtr="0" forceAA="0" compatLnSpc="1">
              <a:noAutofit/>
            </a:bodyPr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sp>
        <p:nvSpPr>
          <p:cNvPr id="30" name="Donut 34"/>
          <p:cNvSpPr/>
          <p:nvPr/>
        </p:nvSpPr>
        <p:spPr bwMode="auto">
          <a:xfrm>
            <a:off x="3056526" y="2904482"/>
            <a:ext cx="558793" cy="558793"/>
          </a:xfrm>
          <a:custGeom>
            <a:avLst/>
            <a:gdLst/>
            <a:ahLst/>
            <a:cxnLst/>
            <a:rect l="l" t="t" r="r" b="b"/>
            <a:pathLst>
              <a:path w="1132060" h="1132060">
                <a:moveTo>
                  <a:pt x="557268" y="884861"/>
                </a:moveTo>
                <a:lnTo>
                  <a:pt x="557268" y="1011716"/>
                </a:lnTo>
                <a:lnTo>
                  <a:pt x="574792" y="1011716"/>
                </a:lnTo>
                <a:lnTo>
                  <a:pt x="574792" y="884861"/>
                </a:lnTo>
                <a:close/>
                <a:moveTo>
                  <a:pt x="868935" y="557269"/>
                </a:moveTo>
                <a:lnTo>
                  <a:pt x="868935" y="574794"/>
                </a:lnTo>
                <a:lnTo>
                  <a:pt x="995790" y="574794"/>
                </a:lnTo>
                <a:lnTo>
                  <a:pt x="995790" y="557269"/>
                </a:lnTo>
                <a:close/>
                <a:moveTo>
                  <a:pt x="135481" y="557269"/>
                </a:moveTo>
                <a:lnTo>
                  <a:pt x="135481" y="574794"/>
                </a:lnTo>
                <a:lnTo>
                  <a:pt x="262337" y="574794"/>
                </a:lnTo>
                <a:lnTo>
                  <a:pt x="262337" y="557269"/>
                </a:lnTo>
                <a:close/>
                <a:moveTo>
                  <a:pt x="934061" y="335432"/>
                </a:moveTo>
                <a:lnTo>
                  <a:pt x="873499" y="349407"/>
                </a:lnTo>
                <a:lnTo>
                  <a:pt x="567678" y="538532"/>
                </a:lnTo>
                <a:cubicBezTo>
                  <a:pt x="553709" y="530548"/>
                  <a:pt x="537161" y="531269"/>
                  <a:pt x="522773" y="538543"/>
                </a:cubicBezTo>
                <a:cubicBezTo>
                  <a:pt x="498813" y="556712"/>
                  <a:pt x="486834" y="593049"/>
                  <a:pt x="504803" y="617272"/>
                </a:cubicBezTo>
                <a:cubicBezTo>
                  <a:pt x="515818" y="632120"/>
                  <a:pt x="531332" y="640143"/>
                  <a:pt x="547196" y="638929"/>
                </a:cubicBezTo>
                <a:lnTo>
                  <a:pt x="705790" y="829237"/>
                </a:lnTo>
                <a:lnTo>
                  <a:pt x="757035" y="838554"/>
                </a:lnTo>
                <a:lnTo>
                  <a:pt x="747718" y="791969"/>
                </a:lnTo>
                <a:lnTo>
                  <a:pt x="595557" y="609380"/>
                </a:lnTo>
                <a:cubicBezTo>
                  <a:pt x="601681" y="600325"/>
                  <a:pt x="604237" y="589031"/>
                  <a:pt x="602687" y="578130"/>
                </a:cubicBezTo>
                <a:lnTo>
                  <a:pt x="896792" y="391335"/>
                </a:lnTo>
                <a:close/>
                <a:moveTo>
                  <a:pt x="557268" y="140671"/>
                </a:moveTo>
                <a:lnTo>
                  <a:pt x="557268" y="267526"/>
                </a:lnTo>
                <a:lnTo>
                  <a:pt x="574792" y="267526"/>
                </a:lnTo>
                <a:lnTo>
                  <a:pt x="574792" y="140671"/>
                </a:lnTo>
                <a:close/>
                <a:moveTo>
                  <a:pt x="566030" y="65237"/>
                </a:moveTo>
                <a:cubicBezTo>
                  <a:pt x="841327" y="65237"/>
                  <a:pt x="1064498" y="289450"/>
                  <a:pt x="1064498" y="566031"/>
                </a:cubicBezTo>
                <a:cubicBezTo>
                  <a:pt x="1064498" y="842612"/>
                  <a:pt x="841327" y="1066824"/>
                  <a:pt x="566030" y="1066824"/>
                </a:cubicBezTo>
                <a:cubicBezTo>
                  <a:pt x="290734" y="1066824"/>
                  <a:pt x="67562" y="842612"/>
                  <a:pt x="67562" y="566031"/>
                </a:cubicBezTo>
                <a:cubicBezTo>
                  <a:pt x="67562" y="289450"/>
                  <a:pt x="290734" y="65237"/>
                  <a:pt x="566030" y="65237"/>
                </a:cubicBezTo>
                <a:close/>
                <a:moveTo>
                  <a:pt x="566030" y="39067"/>
                </a:moveTo>
                <a:cubicBezTo>
                  <a:pt x="274996" y="39067"/>
                  <a:pt x="39067" y="274996"/>
                  <a:pt x="39067" y="566030"/>
                </a:cubicBezTo>
                <a:cubicBezTo>
                  <a:pt x="39067" y="857064"/>
                  <a:pt x="274996" y="1092993"/>
                  <a:pt x="566030" y="1092993"/>
                </a:cubicBezTo>
                <a:cubicBezTo>
                  <a:pt x="857064" y="1092993"/>
                  <a:pt x="1092993" y="857064"/>
                  <a:pt x="1092993" y="566030"/>
                </a:cubicBezTo>
                <a:cubicBezTo>
                  <a:pt x="1092993" y="274996"/>
                  <a:pt x="857064" y="39067"/>
                  <a:pt x="566030" y="39067"/>
                </a:cubicBezTo>
                <a:close/>
                <a:moveTo>
                  <a:pt x="566030" y="0"/>
                </a:moveTo>
                <a:cubicBezTo>
                  <a:pt x="878640" y="0"/>
                  <a:pt x="1132060" y="253420"/>
                  <a:pt x="1132060" y="566030"/>
                </a:cubicBezTo>
                <a:cubicBezTo>
                  <a:pt x="1132060" y="878640"/>
                  <a:pt x="878640" y="1132060"/>
                  <a:pt x="566030" y="1132060"/>
                </a:cubicBezTo>
                <a:cubicBezTo>
                  <a:pt x="253420" y="1132060"/>
                  <a:pt x="0" y="878640"/>
                  <a:pt x="0" y="566030"/>
                </a:cubicBezTo>
                <a:cubicBezTo>
                  <a:pt x="0" y="253420"/>
                  <a:pt x="253420" y="0"/>
                  <a:pt x="566030" y="0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0" tIns="46630" rIns="0" bIns="46630" numCol="1" rtlCol="0" anchor="ctr" anchorCtr="0" compatLnSpc="1"/>
          <a:lstStyle/>
          <a:p>
            <a:pPr marL="0" marR="0" lvl="0" indent="0" algn="ctr" defTabSz="93154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</a:endParaRPr>
          </a:p>
        </p:txBody>
      </p:sp>
      <p:grpSp>
        <p:nvGrpSpPr>
          <p:cNvPr id="31" name="Group 64"/>
          <p:cNvGrpSpPr/>
          <p:nvPr/>
        </p:nvGrpSpPr>
        <p:grpSpPr>
          <a:xfrm>
            <a:off x="3207275" y="4017604"/>
            <a:ext cx="648028" cy="582985"/>
            <a:chOff x="3619237" y="3560063"/>
            <a:chExt cx="1927638" cy="1734159"/>
          </a:xfrm>
          <a:solidFill>
            <a:srgbClr val="FFFFFF"/>
          </a:solidFill>
        </p:grpSpPr>
        <p:sp>
          <p:nvSpPr>
            <p:cNvPr id="32" name="Oval 92"/>
            <p:cNvSpPr/>
            <p:nvPr/>
          </p:nvSpPr>
          <p:spPr>
            <a:xfrm>
              <a:off x="3619237" y="3560063"/>
              <a:ext cx="704864" cy="1734159"/>
            </a:xfrm>
            <a:custGeom>
              <a:avLst/>
              <a:gdLst/>
              <a:ahLst/>
              <a:cxnLst/>
              <a:rect l="l" t="t" r="r" b="b"/>
              <a:pathLst>
                <a:path w="704863" h="1734159">
                  <a:moveTo>
                    <a:pt x="695588" y="1266730"/>
                  </a:moveTo>
                  <a:lnTo>
                    <a:pt x="704863" y="1266885"/>
                  </a:lnTo>
                  <a:lnTo>
                    <a:pt x="704863" y="1353351"/>
                  </a:lnTo>
                  <a:cubicBezTo>
                    <a:pt x="675917" y="1337354"/>
                    <a:pt x="652691" y="1323986"/>
                    <a:pt x="638438" y="1314355"/>
                  </a:cubicBezTo>
                  <a:cubicBezTo>
                    <a:pt x="623754" y="1304433"/>
                    <a:pt x="619388" y="1301258"/>
                    <a:pt x="619388" y="1295305"/>
                  </a:cubicBezTo>
                  <a:cubicBezTo>
                    <a:pt x="619388" y="1289352"/>
                    <a:pt x="625738" y="1283399"/>
                    <a:pt x="638438" y="1278636"/>
                  </a:cubicBezTo>
                  <a:cubicBezTo>
                    <a:pt x="651138" y="1273873"/>
                    <a:pt x="676141" y="1269508"/>
                    <a:pt x="695588" y="1266730"/>
                  </a:cubicBezTo>
                  <a:close/>
                  <a:moveTo>
                    <a:pt x="411274" y="345186"/>
                  </a:moveTo>
                  <a:lnTo>
                    <a:pt x="209603" y="663178"/>
                  </a:lnTo>
                  <a:lnTo>
                    <a:pt x="365906" y="776362"/>
                  </a:lnTo>
                  <a:lnTo>
                    <a:pt x="274280" y="1126692"/>
                  </a:lnTo>
                  <a:lnTo>
                    <a:pt x="495259" y="760193"/>
                  </a:lnTo>
                  <a:lnTo>
                    <a:pt x="333567" y="647009"/>
                  </a:lnTo>
                  <a:close/>
                  <a:moveTo>
                    <a:pt x="1" y="136648"/>
                  </a:moveTo>
                  <a:lnTo>
                    <a:pt x="1902" y="136648"/>
                  </a:lnTo>
                  <a:cubicBezTo>
                    <a:pt x="5653" y="185960"/>
                    <a:pt x="161157" y="225525"/>
                    <a:pt x="352333" y="225525"/>
                  </a:cubicBezTo>
                  <a:cubicBezTo>
                    <a:pt x="543509" y="225525"/>
                    <a:pt x="699013" y="185960"/>
                    <a:pt x="702764" y="136648"/>
                  </a:cubicBezTo>
                  <a:lnTo>
                    <a:pt x="704863" y="136648"/>
                  </a:lnTo>
                  <a:lnTo>
                    <a:pt x="704863" y="1199085"/>
                  </a:lnTo>
                  <a:cubicBezTo>
                    <a:pt x="668731" y="1199232"/>
                    <a:pt x="611501" y="1211747"/>
                    <a:pt x="583669" y="1219105"/>
                  </a:cubicBezTo>
                  <a:cubicBezTo>
                    <a:pt x="549141" y="1228233"/>
                    <a:pt x="528901" y="1241330"/>
                    <a:pt x="519376" y="1254824"/>
                  </a:cubicBezTo>
                  <a:cubicBezTo>
                    <a:pt x="509851" y="1268318"/>
                    <a:pt x="517788" y="1284986"/>
                    <a:pt x="526519" y="1300067"/>
                  </a:cubicBezTo>
                  <a:cubicBezTo>
                    <a:pt x="535250" y="1315148"/>
                    <a:pt x="552713" y="1330230"/>
                    <a:pt x="571763" y="1345311"/>
                  </a:cubicBezTo>
                  <a:cubicBezTo>
                    <a:pt x="590813" y="1360392"/>
                    <a:pt x="614625" y="1375871"/>
                    <a:pt x="640819" y="1390555"/>
                  </a:cubicBezTo>
                  <a:cubicBezTo>
                    <a:pt x="660045" y="1401333"/>
                    <a:pt x="682478" y="1417242"/>
                    <a:pt x="704863" y="1426416"/>
                  </a:cubicBezTo>
                  <a:cubicBezTo>
                    <a:pt x="704863" y="1498416"/>
                    <a:pt x="704863" y="1570416"/>
                    <a:pt x="704863" y="1642415"/>
                  </a:cubicBezTo>
                  <a:cubicBezTo>
                    <a:pt x="704863" y="1693084"/>
                    <a:pt x="547073" y="1734159"/>
                    <a:pt x="352431" y="1734159"/>
                  </a:cubicBezTo>
                  <a:cubicBezTo>
                    <a:pt x="157789" y="1734159"/>
                    <a:pt x="0" y="1693084"/>
                    <a:pt x="0" y="1642415"/>
                  </a:cubicBezTo>
                  <a:close/>
                  <a:moveTo>
                    <a:pt x="220298" y="62850"/>
                  </a:moveTo>
                  <a:lnTo>
                    <a:pt x="220298" y="130380"/>
                  </a:lnTo>
                  <a:cubicBezTo>
                    <a:pt x="220298" y="146285"/>
                    <a:pt x="283255" y="159178"/>
                    <a:pt x="360918" y="159178"/>
                  </a:cubicBezTo>
                  <a:cubicBezTo>
                    <a:pt x="438580" y="159178"/>
                    <a:pt x="501537" y="146285"/>
                    <a:pt x="501537" y="130380"/>
                  </a:cubicBezTo>
                  <a:cubicBezTo>
                    <a:pt x="501537" y="108530"/>
                    <a:pt x="501538" y="86680"/>
                    <a:pt x="501538" y="64830"/>
                  </a:cubicBezTo>
                  <a:cubicBezTo>
                    <a:pt x="606502" y="76426"/>
                    <a:pt x="678256" y="100625"/>
                    <a:pt x="678256" y="128531"/>
                  </a:cubicBezTo>
                  <a:cubicBezTo>
                    <a:pt x="678256" y="168307"/>
                    <a:pt x="532487" y="200550"/>
                    <a:pt x="352671" y="200550"/>
                  </a:cubicBezTo>
                  <a:cubicBezTo>
                    <a:pt x="172856" y="200550"/>
                    <a:pt x="27087" y="168307"/>
                    <a:pt x="27087" y="128531"/>
                  </a:cubicBezTo>
                  <a:cubicBezTo>
                    <a:pt x="27087" y="99184"/>
                    <a:pt x="106446" y="73936"/>
                    <a:pt x="220298" y="62850"/>
                  </a:cubicBezTo>
                  <a:close/>
                  <a:moveTo>
                    <a:pt x="246711" y="27853"/>
                  </a:moveTo>
                  <a:cubicBezTo>
                    <a:pt x="257621" y="38544"/>
                    <a:pt x="304608" y="46580"/>
                    <a:pt x="360918" y="46580"/>
                  </a:cubicBezTo>
                  <a:cubicBezTo>
                    <a:pt x="417228" y="46580"/>
                    <a:pt x="464216" y="38544"/>
                    <a:pt x="475126" y="27853"/>
                  </a:cubicBezTo>
                  <a:cubicBezTo>
                    <a:pt x="476699" y="29410"/>
                    <a:pt x="477522" y="31027"/>
                    <a:pt x="477522" y="32683"/>
                  </a:cubicBezTo>
                  <a:cubicBezTo>
                    <a:pt x="477522" y="62802"/>
                    <a:pt x="477522" y="92919"/>
                    <a:pt x="477522" y="123037"/>
                  </a:cubicBezTo>
                  <a:cubicBezTo>
                    <a:pt x="477522" y="136226"/>
                    <a:pt x="425316" y="146917"/>
                    <a:pt x="360918" y="146917"/>
                  </a:cubicBezTo>
                  <a:cubicBezTo>
                    <a:pt x="296519" y="146917"/>
                    <a:pt x="244314" y="136226"/>
                    <a:pt x="244314" y="123037"/>
                  </a:cubicBezTo>
                  <a:cubicBezTo>
                    <a:pt x="244314" y="92919"/>
                    <a:pt x="244314" y="62802"/>
                    <a:pt x="244314" y="32683"/>
                  </a:cubicBezTo>
                  <a:cubicBezTo>
                    <a:pt x="244314" y="31027"/>
                    <a:pt x="245138" y="29410"/>
                    <a:pt x="246711" y="27853"/>
                  </a:cubicBezTo>
                  <a:close/>
                  <a:moveTo>
                    <a:pt x="360918" y="0"/>
                  </a:moveTo>
                  <a:cubicBezTo>
                    <a:pt x="421475" y="0"/>
                    <a:pt x="470566" y="8708"/>
                    <a:pt x="470566" y="19450"/>
                  </a:cubicBezTo>
                  <a:cubicBezTo>
                    <a:pt x="470566" y="30192"/>
                    <a:pt x="421475" y="38899"/>
                    <a:pt x="360918" y="38899"/>
                  </a:cubicBezTo>
                  <a:cubicBezTo>
                    <a:pt x="300362" y="38899"/>
                    <a:pt x="251271" y="30192"/>
                    <a:pt x="251271" y="19450"/>
                  </a:cubicBezTo>
                  <a:cubicBezTo>
                    <a:pt x="251271" y="8708"/>
                    <a:pt x="300362" y="0"/>
                    <a:pt x="360918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grpSp>
          <p:nvGrpSpPr>
            <p:cNvPr id="33" name="Group 71"/>
            <p:cNvGrpSpPr/>
            <p:nvPr/>
          </p:nvGrpSpPr>
          <p:grpSpPr>
            <a:xfrm flipH="1">
              <a:off x="4153308" y="4427146"/>
              <a:ext cx="1393567" cy="860700"/>
              <a:chOff x="5361976" y="4946691"/>
              <a:chExt cx="799233" cy="493624"/>
            </a:xfrm>
            <a:grpFill/>
          </p:grpSpPr>
          <p:sp>
            <p:nvSpPr>
              <p:cNvPr id="34" name="Freeform 73"/>
              <p:cNvSpPr/>
              <p:nvPr/>
            </p:nvSpPr>
            <p:spPr>
              <a:xfrm>
                <a:off x="5829339" y="5147630"/>
                <a:ext cx="331870" cy="292685"/>
              </a:xfrm>
              <a:custGeom>
                <a:avLst/>
                <a:gdLst/>
                <a:ahLst/>
                <a:cxnLst/>
                <a:rect l="l" t="t" r="r" b="b"/>
                <a:pathLst>
                  <a:path w="331870" h="292685">
                    <a:moveTo>
                      <a:pt x="79002" y="171534"/>
                    </a:moveTo>
                    <a:cubicBezTo>
                      <a:pt x="53133" y="189253"/>
                      <a:pt x="3876" y="205908"/>
                      <a:pt x="10963" y="240637"/>
                    </a:cubicBezTo>
                    <a:cubicBezTo>
                      <a:pt x="31871" y="266151"/>
                      <a:pt x="58094" y="271467"/>
                      <a:pt x="114084" y="276782"/>
                    </a:cubicBezTo>
                    <a:cubicBezTo>
                      <a:pt x="55613" y="266860"/>
                      <a:pt x="23720" y="250559"/>
                      <a:pt x="18405" y="236384"/>
                    </a:cubicBezTo>
                    <a:cubicBezTo>
                      <a:pt x="21240" y="203073"/>
                      <a:pt x="65536" y="186772"/>
                      <a:pt x="79002" y="171534"/>
                    </a:cubicBezTo>
                    <a:close/>
                    <a:moveTo>
                      <a:pt x="310349" y="20734"/>
                    </a:moveTo>
                    <a:cubicBezTo>
                      <a:pt x="311981" y="23805"/>
                      <a:pt x="314764" y="26301"/>
                      <a:pt x="315244" y="29948"/>
                    </a:cubicBezTo>
                    <a:cubicBezTo>
                      <a:pt x="316684" y="33915"/>
                      <a:pt x="318124" y="34139"/>
                      <a:pt x="316396" y="39546"/>
                    </a:cubicBezTo>
                    <a:cubicBezTo>
                      <a:pt x="315340" y="43928"/>
                      <a:pt x="310829" y="46584"/>
                      <a:pt x="308046" y="50103"/>
                    </a:cubicBezTo>
                    <a:lnTo>
                      <a:pt x="287603" y="65555"/>
                    </a:lnTo>
                    <a:lnTo>
                      <a:pt x="248925" y="92908"/>
                    </a:lnTo>
                    <a:cubicBezTo>
                      <a:pt x="281685" y="73969"/>
                      <a:pt x="303503" y="63859"/>
                      <a:pt x="319563" y="47608"/>
                    </a:cubicBezTo>
                    <a:cubicBezTo>
                      <a:pt x="331336" y="33275"/>
                      <a:pt x="318539" y="25085"/>
                      <a:pt x="310349" y="20734"/>
                    </a:cubicBezTo>
                    <a:close/>
                    <a:moveTo>
                      <a:pt x="210097" y="188"/>
                    </a:moveTo>
                    <a:cubicBezTo>
                      <a:pt x="250944" y="-1655"/>
                      <a:pt x="319432" y="10323"/>
                      <a:pt x="329874" y="25065"/>
                    </a:cubicBezTo>
                    <a:cubicBezTo>
                      <a:pt x="362122" y="85568"/>
                      <a:pt x="-7345" y="188454"/>
                      <a:pt x="25825" y="239743"/>
                    </a:cubicBezTo>
                    <a:cubicBezTo>
                      <a:pt x="60222" y="270148"/>
                      <a:pt x="197813" y="282126"/>
                      <a:pt x="236817" y="270148"/>
                    </a:cubicBezTo>
                    <a:lnTo>
                      <a:pt x="245109" y="286733"/>
                    </a:lnTo>
                    <a:cubicBezTo>
                      <a:pt x="211019" y="299018"/>
                      <a:pt x="-2738" y="298403"/>
                      <a:pt x="27" y="224080"/>
                    </a:cubicBezTo>
                    <a:cubicBezTo>
                      <a:pt x="4941" y="168184"/>
                      <a:pt x="328646" y="67140"/>
                      <a:pt x="294863" y="34278"/>
                    </a:cubicBezTo>
                    <a:cubicBezTo>
                      <a:pt x="284113" y="21379"/>
                      <a:pt x="224532" y="19537"/>
                      <a:pt x="208255" y="17694"/>
                    </a:cubicBezTo>
                    <a:close/>
                  </a:path>
                </a:pathLst>
              </a:custGeom>
              <a:grpFill/>
              <a:ln w="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21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35" name="Freeform 74"/>
              <p:cNvSpPr/>
              <p:nvPr/>
            </p:nvSpPr>
            <p:spPr>
              <a:xfrm>
                <a:off x="5931171" y="5103592"/>
                <a:ext cx="97462" cy="93077"/>
              </a:xfrm>
              <a:custGeom>
                <a:avLst/>
                <a:gdLst/>
                <a:ahLst/>
                <a:cxnLst/>
                <a:rect l="l" t="t" r="r" b="b"/>
                <a:pathLst>
                  <a:path w="97462" h="93077">
                    <a:moveTo>
                      <a:pt x="26486" y="46373"/>
                    </a:moveTo>
                    <a:lnTo>
                      <a:pt x="18826" y="71941"/>
                    </a:lnTo>
                    <a:lnTo>
                      <a:pt x="14475" y="84117"/>
                    </a:lnTo>
                    <a:lnTo>
                      <a:pt x="14213" y="87508"/>
                    </a:lnTo>
                    <a:lnTo>
                      <a:pt x="57091" y="91954"/>
                    </a:lnTo>
                    <a:lnTo>
                      <a:pt x="77617" y="91262"/>
                    </a:lnTo>
                    <a:lnTo>
                      <a:pt x="81620" y="83609"/>
                    </a:lnTo>
                    <a:lnTo>
                      <a:pt x="87363" y="68129"/>
                    </a:lnTo>
                    <a:lnTo>
                      <a:pt x="88410" y="54562"/>
                    </a:lnTo>
                    <a:lnTo>
                      <a:pt x="80495" y="53951"/>
                    </a:lnTo>
                    <a:lnTo>
                      <a:pt x="76231" y="64996"/>
                    </a:lnTo>
                    <a:lnTo>
                      <a:pt x="74228" y="76215"/>
                    </a:lnTo>
                    <a:lnTo>
                      <a:pt x="71356" y="83955"/>
                    </a:lnTo>
                    <a:lnTo>
                      <a:pt x="66485" y="88129"/>
                    </a:lnTo>
                    <a:lnTo>
                      <a:pt x="66575" y="72213"/>
                    </a:lnTo>
                    <a:lnTo>
                      <a:pt x="67535" y="59775"/>
                    </a:lnTo>
                    <a:lnTo>
                      <a:pt x="66927" y="52904"/>
                    </a:lnTo>
                    <a:lnTo>
                      <a:pt x="58057" y="49945"/>
                    </a:lnTo>
                    <a:lnTo>
                      <a:pt x="50142" y="49335"/>
                    </a:lnTo>
                    <a:lnTo>
                      <a:pt x="49183" y="61772"/>
                    </a:lnTo>
                    <a:lnTo>
                      <a:pt x="45700" y="77426"/>
                    </a:lnTo>
                    <a:lnTo>
                      <a:pt x="41611" y="86210"/>
                    </a:lnTo>
                    <a:lnTo>
                      <a:pt x="34914" y="84556"/>
                    </a:lnTo>
                    <a:lnTo>
                      <a:pt x="38309" y="70032"/>
                    </a:lnTo>
                    <a:lnTo>
                      <a:pt x="41530" y="57769"/>
                    </a:lnTo>
                    <a:lnTo>
                      <a:pt x="40053" y="47419"/>
                    </a:lnTo>
                    <a:close/>
                    <a:moveTo>
                      <a:pt x="9214" y="0"/>
                    </a:moveTo>
                    <a:lnTo>
                      <a:pt x="76473" y="7371"/>
                    </a:lnTo>
                    <a:cubicBezTo>
                      <a:pt x="109949" y="17506"/>
                      <a:pt x="97357" y="78316"/>
                      <a:pt x="80159" y="93058"/>
                    </a:cubicBezTo>
                    <a:cubicBezTo>
                      <a:pt x="44226" y="93365"/>
                      <a:pt x="12899" y="89986"/>
                      <a:pt x="0" y="8845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0"/>
                </a:lightRig>
              </a:scene3d>
              <a:sp3d extrusionH="438150" prstMaterial="flat">
                <a:bevelB w="393700" prst="angle"/>
              </a:sp3d>
            </p:spPr>
            <p:txBody>
              <a:bodyPr rtlCol="0" anchor="ctr"/>
              <a:lstStyle/>
              <a:p>
                <a:pPr marL="0" marR="0" lvl="0" indent="0" algn="ctr" defTabSz="9321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/>
                  <a:sym typeface="Segoe UI" panose="020B0502040204020203"/>
                </a:endParaRPr>
              </a:p>
            </p:txBody>
          </p:sp>
          <p:sp>
            <p:nvSpPr>
              <p:cNvPr id="36" name="Freeform 75"/>
              <p:cNvSpPr/>
              <p:nvPr/>
            </p:nvSpPr>
            <p:spPr>
              <a:xfrm>
                <a:off x="5611459" y="4946691"/>
                <a:ext cx="339274" cy="350307"/>
              </a:xfrm>
              <a:custGeom>
                <a:avLst/>
                <a:gdLst/>
                <a:ahLst/>
                <a:cxnLst/>
                <a:rect l="l" t="t" r="r" b="b"/>
                <a:pathLst>
                  <a:path w="339274" h="350307">
                    <a:moveTo>
                      <a:pt x="111485" y="190991"/>
                    </a:moveTo>
                    <a:cubicBezTo>
                      <a:pt x="114249" y="231224"/>
                      <a:pt x="101350" y="276985"/>
                      <a:pt x="83844" y="303398"/>
                    </a:cubicBezTo>
                    <a:cubicBezTo>
                      <a:pt x="91215" y="303398"/>
                      <a:pt x="92137" y="309847"/>
                      <a:pt x="105957" y="303398"/>
                    </a:cubicBezTo>
                    <a:cubicBezTo>
                      <a:pt x="157860" y="250880"/>
                      <a:pt x="224506" y="249037"/>
                      <a:pt x="294836" y="245352"/>
                    </a:cubicBezTo>
                    <a:lnTo>
                      <a:pt x="290229" y="239824"/>
                    </a:lnTo>
                    <a:cubicBezTo>
                      <a:pt x="213756" y="238288"/>
                      <a:pt x="152025" y="252416"/>
                      <a:pt x="118856" y="271150"/>
                    </a:cubicBezTo>
                    <a:cubicBezTo>
                      <a:pt x="132062" y="231531"/>
                      <a:pt x="121313" y="198362"/>
                      <a:pt x="111485" y="190991"/>
                    </a:cubicBezTo>
                    <a:close/>
                    <a:moveTo>
                      <a:pt x="29758" y="2655"/>
                    </a:moveTo>
                    <a:lnTo>
                      <a:pt x="20113" y="5716"/>
                    </a:lnTo>
                    <a:lnTo>
                      <a:pt x="20270" y="3032"/>
                    </a:lnTo>
                    <a:close/>
                    <a:moveTo>
                      <a:pt x="63689" y="1305"/>
                    </a:moveTo>
                    <a:cubicBezTo>
                      <a:pt x="77932" y="3954"/>
                      <a:pt x="90447" y="9482"/>
                      <a:pt x="96743" y="16853"/>
                    </a:cubicBezTo>
                    <a:cubicBezTo>
                      <a:pt x="144040" y="107761"/>
                      <a:pt x="296372" y="137859"/>
                      <a:pt x="324320" y="140316"/>
                    </a:cubicBezTo>
                    <a:cubicBezTo>
                      <a:pt x="355953" y="171950"/>
                      <a:pt x="330462" y="250573"/>
                      <a:pt x="311421" y="265622"/>
                    </a:cubicBezTo>
                    <a:cubicBezTo>
                      <a:pt x="221742" y="248730"/>
                      <a:pt x="111792" y="290806"/>
                      <a:pt x="74631" y="341174"/>
                    </a:cubicBezTo>
                    <a:cubicBezTo>
                      <a:pt x="62346" y="348852"/>
                      <a:pt x="16892" y="352844"/>
                      <a:pt x="0" y="348545"/>
                    </a:cubicBezTo>
                    <a:lnTo>
                      <a:pt x="34" y="347966"/>
                    </a:lnTo>
                    <a:cubicBezTo>
                      <a:pt x="43963" y="351348"/>
                      <a:pt x="87169" y="277947"/>
                      <a:pt x="96970" y="183165"/>
                    </a:cubicBezTo>
                    <a:cubicBezTo>
                      <a:pt x="106717" y="88902"/>
                      <a:pt x="79796" y="8577"/>
                      <a:pt x="36467" y="2388"/>
                    </a:cubicBezTo>
                    <a:cubicBezTo>
                      <a:pt x="45344" y="-874"/>
                      <a:pt x="54850" y="-339"/>
                      <a:pt x="63689" y="1305"/>
                    </a:cubicBezTo>
                    <a:close/>
                  </a:path>
                </a:pathLst>
              </a:custGeom>
              <a:grpFill/>
              <a:ln w="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21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37" name="Oval 265"/>
              <p:cNvSpPr/>
              <p:nvPr/>
            </p:nvSpPr>
            <p:spPr>
              <a:xfrm rot="354222">
                <a:off x="5534709" y="4952805"/>
                <a:ext cx="156578" cy="337440"/>
              </a:xfrm>
              <a:custGeom>
                <a:avLst/>
                <a:gdLst/>
                <a:ahLst/>
                <a:cxnLst/>
                <a:rect l="l" t="t" r="r" b="b"/>
                <a:pathLst>
                  <a:path w="156578" h="337440">
                    <a:moveTo>
                      <a:pt x="78289" y="0"/>
                    </a:moveTo>
                    <a:cubicBezTo>
                      <a:pt x="121527" y="0"/>
                      <a:pt x="156578" y="75539"/>
                      <a:pt x="156578" y="168721"/>
                    </a:cubicBezTo>
                    <a:cubicBezTo>
                      <a:pt x="156578" y="261901"/>
                      <a:pt x="121527" y="337440"/>
                      <a:pt x="78289" y="337440"/>
                    </a:cubicBezTo>
                    <a:cubicBezTo>
                      <a:pt x="52665" y="337441"/>
                      <a:pt x="29917" y="310911"/>
                      <a:pt x="17102" y="269392"/>
                    </a:cubicBezTo>
                    <a:lnTo>
                      <a:pt x="68197" y="269700"/>
                    </a:lnTo>
                    <a:cubicBezTo>
                      <a:pt x="85623" y="269804"/>
                      <a:pt x="99835" y="255763"/>
                      <a:pt x="99940" y="238337"/>
                    </a:cubicBezTo>
                    <a:lnTo>
                      <a:pt x="99941" y="238337"/>
                    </a:lnTo>
                    <a:cubicBezTo>
                      <a:pt x="100045" y="220912"/>
                      <a:pt x="86004" y="206700"/>
                      <a:pt x="68578" y="206595"/>
                    </a:cubicBezTo>
                    <a:lnTo>
                      <a:pt x="3512" y="206203"/>
                    </a:lnTo>
                    <a:cubicBezTo>
                      <a:pt x="676" y="194262"/>
                      <a:pt x="0" y="181661"/>
                      <a:pt x="0" y="168720"/>
                    </a:cubicBezTo>
                    <a:lnTo>
                      <a:pt x="3367" y="132782"/>
                    </a:lnTo>
                    <a:lnTo>
                      <a:pt x="54071" y="133088"/>
                    </a:lnTo>
                    <a:cubicBezTo>
                      <a:pt x="71497" y="133193"/>
                      <a:pt x="85708" y="119152"/>
                      <a:pt x="85813" y="101726"/>
                    </a:cubicBezTo>
                    <a:lnTo>
                      <a:pt x="85814" y="101726"/>
                    </a:lnTo>
                    <a:cubicBezTo>
                      <a:pt x="85919" y="84300"/>
                      <a:pt x="71878" y="70088"/>
                      <a:pt x="54452" y="69983"/>
                    </a:cubicBezTo>
                    <a:lnTo>
                      <a:pt x="16568" y="69755"/>
                    </a:lnTo>
                    <a:cubicBezTo>
                      <a:pt x="29291" y="27265"/>
                      <a:pt x="52313" y="0"/>
                      <a:pt x="78289" y="0"/>
                    </a:cubicBezTo>
                    <a:close/>
                  </a:path>
                </a:pathLst>
              </a:custGeom>
              <a:grpFill/>
              <a:ln w="0"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0"/>
                </a:lightRig>
              </a:scene3d>
              <a:sp3d extrusionH="438150" prstMaterial="flat">
                <a:bevelB w="393700" prst="angle"/>
              </a:sp3d>
            </p:spPr>
            <p:txBody>
              <a:bodyPr rtlCol="0" anchor="ctr"/>
              <a:lstStyle/>
              <a:p>
                <a:pPr marL="0" marR="0" lvl="0" indent="0" algn="ctr" defTabSz="9321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Segoe UI" panose="020B0502040204020203"/>
                  <a:sym typeface="Segoe UI" panose="020B0502040204020203"/>
                </a:endParaRPr>
              </a:p>
            </p:txBody>
          </p:sp>
          <p:sp>
            <p:nvSpPr>
              <p:cNvPr id="38" name="Rounded Rectangle 77"/>
              <p:cNvSpPr/>
              <p:nvPr/>
            </p:nvSpPr>
            <p:spPr>
              <a:xfrm rot="374933">
                <a:off x="5361977" y="5015637"/>
                <a:ext cx="256173" cy="48460"/>
              </a:xfrm>
              <a:prstGeom prst="roundRect">
                <a:avLst>
                  <a:gd name="adj" fmla="val 50000"/>
                </a:avLst>
              </a:pr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21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39" name="Rounded Rectangle 78"/>
              <p:cNvSpPr/>
              <p:nvPr/>
            </p:nvSpPr>
            <p:spPr>
              <a:xfrm rot="374933">
                <a:off x="5361976" y="5153980"/>
                <a:ext cx="256173" cy="48460"/>
              </a:xfrm>
              <a:prstGeom prst="roundRect">
                <a:avLst>
                  <a:gd name="adj" fmla="val 50000"/>
                </a:avLst>
              </a:pr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321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</p:grpSp>
      </p:grpSp>
      <p:pic>
        <p:nvPicPr>
          <p:cNvPr id="40" name="Picture 2" descr="C:\Users\chrisw\Desktop\Cloud Services 3.png"/>
          <p:cNvPicPr>
            <a:picLocks noChangeAspect="1" noChangeArrowheads="1"/>
          </p:cNvPicPr>
          <p:nvPr/>
        </p:nvPicPr>
        <p:blipFill>
          <a:blip r:embed="rId1" cstate="screen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black">
          <a:xfrm>
            <a:off x="7972443" y="4009352"/>
            <a:ext cx="904091" cy="623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rapezoid 11"/>
          <p:cNvSpPr/>
          <p:nvPr/>
        </p:nvSpPr>
        <p:spPr>
          <a:xfrm>
            <a:off x="4483072" y="2854267"/>
            <a:ext cx="249983" cy="659223"/>
          </a:xfrm>
          <a:custGeom>
            <a:avLst/>
            <a:gdLst/>
            <a:ahLst/>
            <a:cxnLst/>
            <a:rect l="l" t="t" r="r" b="b"/>
            <a:pathLst>
              <a:path w="679937" h="1737920">
                <a:moveTo>
                  <a:pt x="531465" y="863698"/>
                </a:moveTo>
                <a:lnTo>
                  <a:pt x="607656" y="863698"/>
                </a:lnTo>
                <a:lnTo>
                  <a:pt x="607656" y="874223"/>
                </a:lnTo>
                <a:lnTo>
                  <a:pt x="531465" y="874223"/>
                </a:lnTo>
                <a:close/>
                <a:moveTo>
                  <a:pt x="334707" y="1050891"/>
                </a:moveTo>
                <a:lnTo>
                  <a:pt x="345233" y="1050891"/>
                </a:lnTo>
                <a:lnTo>
                  <a:pt x="345233" y="1127083"/>
                </a:lnTo>
                <a:lnTo>
                  <a:pt x="334707" y="1127083"/>
                </a:lnTo>
                <a:close/>
                <a:moveTo>
                  <a:pt x="334707" y="610365"/>
                </a:moveTo>
                <a:lnTo>
                  <a:pt x="345233" y="610365"/>
                </a:lnTo>
                <a:lnTo>
                  <a:pt x="345233" y="686557"/>
                </a:lnTo>
                <a:lnTo>
                  <a:pt x="334707" y="686557"/>
                </a:lnTo>
                <a:close/>
                <a:moveTo>
                  <a:pt x="201467" y="1090007"/>
                </a:moveTo>
                <a:lnTo>
                  <a:pt x="209861" y="1053632"/>
                </a:lnTo>
                <a:lnTo>
                  <a:pt x="323453" y="869951"/>
                </a:lnTo>
                <a:cubicBezTo>
                  <a:pt x="318658" y="861561"/>
                  <a:pt x="319091" y="851622"/>
                  <a:pt x="323460" y="842980"/>
                </a:cubicBezTo>
                <a:cubicBezTo>
                  <a:pt x="334372" y="828589"/>
                  <a:pt x="356197" y="821394"/>
                  <a:pt x="370746" y="832187"/>
                </a:cubicBezTo>
                <a:cubicBezTo>
                  <a:pt x="379664" y="838803"/>
                  <a:pt x="384482" y="848121"/>
                  <a:pt x="383753" y="857649"/>
                </a:cubicBezTo>
                <a:lnTo>
                  <a:pt x="498056" y="952903"/>
                </a:lnTo>
                <a:lnTo>
                  <a:pt x="503652" y="983682"/>
                </a:lnTo>
                <a:lnTo>
                  <a:pt x="475672" y="978086"/>
                </a:lnTo>
                <a:lnTo>
                  <a:pt x="366006" y="886695"/>
                </a:lnTo>
                <a:cubicBezTo>
                  <a:pt x="360567" y="890373"/>
                  <a:pt x="353784" y="891909"/>
                  <a:pt x="347236" y="890978"/>
                </a:cubicBezTo>
                <a:lnTo>
                  <a:pt x="235044" y="1067623"/>
                </a:lnTo>
                <a:close/>
                <a:moveTo>
                  <a:pt x="84490" y="863698"/>
                </a:moveTo>
                <a:lnTo>
                  <a:pt x="160682" y="863698"/>
                </a:lnTo>
                <a:lnTo>
                  <a:pt x="160682" y="874223"/>
                </a:lnTo>
                <a:lnTo>
                  <a:pt x="84490" y="874223"/>
                </a:lnTo>
                <a:close/>
                <a:moveTo>
                  <a:pt x="39183" y="868961"/>
                </a:moveTo>
                <a:cubicBezTo>
                  <a:pt x="39183" y="1034309"/>
                  <a:pt x="173850" y="1168350"/>
                  <a:pt x="339969" y="1168350"/>
                </a:cubicBezTo>
                <a:cubicBezTo>
                  <a:pt x="506089" y="1168350"/>
                  <a:pt x="640755" y="1034309"/>
                  <a:pt x="640755" y="868961"/>
                </a:cubicBezTo>
                <a:cubicBezTo>
                  <a:pt x="640755" y="703613"/>
                  <a:pt x="506089" y="569572"/>
                  <a:pt x="339969" y="569572"/>
                </a:cubicBezTo>
                <a:cubicBezTo>
                  <a:pt x="173850" y="569572"/>
                  <a:pt x="39183" y="703613"/>
                  <a:pt x="39183" y="868961"/>
                </a:cubicBezTo>
                <a:close/>
                <a:moveTo>
                  <a:pt x="23465" y="868961"/>
                </a:moveTo>
                <a:cubicBezTo>
                  <a:pt x="23465" y="694160"/>
                  <a:pt x="165168" y="552457"/>
                  <a:pt x="339969" y="552457"/>
                </a:cubicBezTo>
                <a:cubicBezTo>
                  <a:pt x="514769" y="552457"/>
                  <a:pt x="656472" y="694160"/>
                  <a:pt x="656472" y="868961"/>
                </a:cubicBezTo>
                <a:cubicBezTo>
                  <a:pt x="656472" y="1043761"/>
                  <a:pt x="514769" y="1185464"/>
                  <a:pt x="339969" y="1185464"/>
                </a:cubicBezTo>
                <a:cubicBezTo>
                  <a:pt x="165168" y="1185464"/>
                  <a:pt x="23465" y="1043761"/>
                  <a:pt x="23465" y="868961"/>
                </a:cubicBezTo>
                <a:close/>
                <a:moveTo>
                  <a:pt x="19160" y="711597"/>
                </a:moveTo>
                <a:cubicBezTo>
                  <a:pt x="226685" y="340122"/>
                  <a:pt x="634237" y="561579"/>
                  <a:pt x="658397" y="723504"/>
                </a:cubicBezTo>
                <a:lnTo>
                  <a:pt x="511914" y="0"/>
                </a:lnTo>
                <a:lnTo>
                  <a:pt x="168024" y="0"/>
                </a:lnTo>
                <a:close/>
                <a:moveTo>
                  <a:pt x="19159" y="1026323"/>
                </a:moveTo>
                <a:lnTo>
                  <a:pt x="168023" y="1737920"/>
                </a:lnTo>
                <a:lnTo>
                  <a:pt x="511913" y="1737920"/>
                </a:lnTo>
                <a:lnTo>
                  <a:pt x="658396" y="1014416"/>
                </a:lnTo>
                <a:cubicBezTo>
                  <a:pt x="634236" y="1176341"/>
                  <a:pt x="226684" y="1397798"/>
                  <a:pt x="19159" y="1026323"/>
                </a:cubicBezTo>
                <a:close/>
                <a:moveTo>
                  <a:pt x="0" y="868961"/>
                </a:moveTo>
                <a:cubicBezTo>
                  <a:pt x="0" y="1056720"/>
                  <a:pt x="152209" y="1208929"/>
                  <a:pt x="339969" y="1208929"/>
                </a:cubicBezTo>
                <a:cubicBezTo>
                  <a:pt x="527728" y="1208929"/>
                  <a:pt x="679937" y="1056720"/>
                  <a:pt x="679937" y="868961"/>
                </a:cubicBezTo>
                <a:cubicBezTo>
                  <a:pt x="679937" y="681201"/>
                  <a:pt x="527728" y="528993"/>
                  <a:pt x="339969" y="528993"/>
                </a:cubicBezTo>
                <a:cubicBezTo>
                  <a:pt x="152209" y="528993"/>
                  <a:pt x="0" y="681201"/>
                  <a:pt x="0" y="868961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27" tIns="45713" rIns="91427" bIns="45713" numCol="1" spcCol="0" rtlCol="0" fromWordArt="0" anchor="ctr" anchorCtr="0" forceAA="0" compatLnSpc="1">
            <a:noAutofit/>
          </a:bodyPr>
          <a:lstStyle/>
          <a:p>
            <a:pPr marL="0" marR="0" lvl="0" indent="0" algn="ctr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42" name="Picture 5" descr="\\MAGNUM\Projects\Microsoft\Cloud Power FY12\Design\Icons\PNGs\Stop_watch.png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961" y="2735467"/>
            <a:ext cx="897055" cy="896822"/>
          </a:xfrm>
          <a:prstGeom prst="rect">
            <a:avLst/>
          </a:prstGeom>
          <a:noFill/>
        </p:spPr>
      </p:pic>
      <p:pic>
        <p:nvPicPr>
          <p:cNvPr id="43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729" y="2826162"/>
            <a:ext cx="722236" cy="715431"/>
          </a:xfrm>
          <a:prstGeom prst="rect">
            <a:avLst/>
          </a:prstGeom>
        </p:spPr>
      </p:pic>
      <p:grpSp>
        <p:nvGrpSpPr>
          <p:cNvPr id="44" name="组合 43"/>
          <p:cNvGrpSpPr/>
          <p:nvPr/>
        </p:nvGrpSpPr>
        <p:grpSpPr>
          <a:xfrm>
            <a:off x="6853543" y="2836857"/>
            <a:ext cx="539925" cy="743005"/>
            <a:chOff x="8072192" y="1528938"/>
            <a:chExt cx="3572591" cy="4916336"/>
          </a:xfrm>
        </p:grpSpPr>
        <p:sp>
          <p:nvSpPr>
            <p:cNvPr id="45" name="Freeform 5"/>
            <p:cNvSpPr>
              <a:spLocks noEditPoints="1"/>
            </p:cNvSpPr>
            <p:nvPr/>
          </p:nvSpPr>
          <p:spPr bwMode="auto">
            <a:xfrm>
              <a:off x="8072192" y="1528938"/>
              <a:ext cx="3572591" cy="4916336"/>
            </a:xfrm>
            <a:custGeom>
              <a:avLst/>
              <a:gdLst>
                <a:gd name="T0" fmla="*/ 379 w 1125"/>
                <a:gd name="T1" fmla="*/ 702 h 1549"/>
                <a:gd name="T2" fmla="*/ 641 w 1125"/>
                <a:gd name="T3" fmla="*/ 288 h 1549"/>
                <a:gd name="T4" fmla="*/ 379 w 1125"/>
                <a:gd name="T5" fmla="*/ 1269 h 1549"/>
                <a:gd name="T6" fmla="*/ 947 w 1125"/>
                <a:gd name="T7" fmla="*/ 782 h 1549"/>
                <a:gd name="T8" fmla="*/ 580 w 1125"/>
                <a:gd name="T9" fmla="*/ 1420 h 1549"/>
                <a:gd name="T10" fmla="*/ 127 w 1125"/>
                <a:gd name="T11" fmla="*/ 969 h 1549"/>
                <a:gd name="T12" fmla="*/ 863 w 1125"/>
                <a:gd name="T13" fmla="*/ 1139 h 1549"/>
                <a:gd name="T14" fmla="*/ 331 w 1125"/>
                <a:gd name="T15" fmla="*/ 1353 h 1549"/>
                <a:gd name="T16" fmla="*/ 930 w 1125"/>
                <a:gd name="T17" fmla="*/ 754 h 1549"/>
                <a:gd name="T18" fmla="*/ 580 w 1125"/>
                <a:gd name="T19" fmla="*/ 1420 h 1549"/>
                <a:gd name="T20" fmla="*/ 127 w 1125"/>
                <a:gd name="T21" fmla="*/ 1003 h 1549"/>
                <a:gd name="T22" fmla="*/ 846 w 1125"/>
                <a:gd name="T23" fmla="*/ 1169 h 1549"/>
                <a:gd name="T24" fmla="*/ 360 w 1125"/>
                <a:gd name="T25" fmla="*/ 1371 h 1549"/>
                <a:gd name="T26" fmla="*/ 562 w 1125"/>
                <a:gd name="T27" fmla="*/ 529 h 1549"/>
                <a:gd name="T28" fmla="*/ 580 w 1125"/>
                <a:gd name="T29" fmla="*/ 1322 h 1549"/>
                <a:gd name="T30" fmla="*/ 226 w 1125"/>
                <a:gd name="T31" fmla="*/ 1003 h 1549"/>
                <a:gd name="T32" fmla="*/ 930 w 1125"/>
                <a:gd name="T33" fmla="*/ 1218 h 1549"/>
                <a:gd name="T34" fmla="*/ 262 w 1125"/>
                <a:gd name="T35" fmla="*/ 832 h 1549"/>
                <a:gd name="T36" fmla="*/ 1020 w 1125"/>
                <a:gd name="T37" fmla="*/ 986 h 1549"/>
                <a:gd name="T38" fmla="*/ 545 w 1125"/>
                <a:gd name="T39" fmla="*/ 1322 h 1549"/>
                <a:gd name="T40" fmla="*/ 226 w 1125"/>
                <a:gd name="T41" fmla="*/ 969 h 1549"/>
                <a:gd name="T42" fmla="*/ 746 w 1125"/>
                <a:gd name="T43" fmla="*/ 702 h 1549"/>
                <a:gd name="T44" fmla="*/ 262 w 1125"/>
                <a:gd name="T45" fmla="*/ 832 h 1549"/>
                <a:gd name="T46" fmla="*/ 562 w 1125"/>
                <a:gd name="T47" fmla="*/ 1442 h 1549"/>
                <a:gd name="T48" fmla="*/ 545 w 1125"/>
                <a:gd name="T49" fmla="*/ 1420 h 1549"/>
                <a:gd name="T50" fmla="*/ 127 w 1125"/>
                <a:gd name="T51" fmla="*/ 969 h 1549"/>
                <a:gd name="T52" fmla="*/ 746 w 1125"/>
                <a:gd name="T53" fmla="*/ 702 h 1549"/>
                <a:gd name="T54" fmla="*/ 279 w 1125"/>
                <a:gd name="T55" fmla="*/ 803 h 1549"/>
                <a:gd name="T56" fmla="*/ 105 w 1125"/>
                <a:gd name="T57" fmla="*/ 986 h 1549"/>
                <a:gd name="T58" fmla="*/ 580 w 1125"/>
                <a:gd name="T59" fmla="*/ 1420 h 1549"/>
                <a:gd name="T60" fmla="*/ 545 w 1125"/>
                <a:gd name="T61" fmla="*/ 552 h 1549"/>
                <a:gd name="T62" fmla="*/ 794 w 1125"/>
                <a:gd name="T63" fmla="*/ 618 h 1549"/>
                <a:gd name="T64" fmla="*/ 127 w 1125"/>
                <a:gd name="T65" fmla="*/ 969 h 1549"/>
                <a:gd name="T66" fmla="*/ 863 w 1125"/>
                <a:gd name="T67" fmla="*/ 1139 h 1549"/>
                <a:gd name="T68" fmla="*/ 331 w 1125"/>
                <a:gd name="T69" fmla="*/ 1353 h 1549"/>
                <a:gd name="T70" fmla="*/ 930 w 1125"/>
                <a:gd name="T71" fmla="*/ 754 h 1549"/>
                <a:gd name="T72" fmla="*/ 580 w 1125"/>
                <a:gd name="T73" fmla="*/ 1420 h 1549"/>
                <a:gd name="T74" fmla="*/ 127 w 1125"/>
                <a:gd name="T75" fmla="*/ 1003 h 1549"/>
                <a:gd name="T76" fmla="*/ 846 w 1125"/>
                <a:gd name="T77" fmla="*/ 1169 h 1549"/>
                <a:gd name="T78" fmla="*/ 360 w 1125"/>
                <a:gd name="T79" fmla="*/ 1371 h 1549"/>
                <a:gd name="T80" fmla="*/ 562 w 1125"/>
                <a:gd name="T81" fmla="*/ 529 h 1549"/>
                <a:gd name="T82" fmla="*/ 580 w 1125"/>
                <a:gd name="T83" fmla="*/ 1322 h 1549"/>
                <a:gd name="T84" fmla="*/ 226 w 1125"/>
                <a:gd name="T85" fmla="*/ 1003 h 1549"/>
                <a:gd name="T86" fmla="*/ 930 w 1125"/>
                <a:gd name="T87" fmla="*/ 1218 h 1549"/>
                <a:gd name="T88" fmla="*/ 262 w 1125"/>
                <a:gd name="T89" fmla="*/ 832 h 1549"/>
                <a:gd name="T90" fmla="*/ 1020 w 1125"/>
                <a:gd name="T91" fmla="*/ 986 h 1549"/>
                <a:gd name="T92" fmla="*/ 545 w 1125"/>
                <a:gd name="T93" fmla="*/ 1322 h 1549"/>
                <a:gd name="T94" fmla="*/ 226 w 1125"/>
                <a:gd name="T95" fmla="*/ 969 h 1549"/>
                <a:gd name="T96" fmla="*/ 746 w 1125"/>
                <a:gd name="T97" fmla="*/ 702 h 1549"/>
                <a:gd name="T98" fmla="*/ 262 w 1125"/>
                <a:gd name="T99" fmla="*/ 832 h 1549"/>
                <a:gd name="T100" fmla="*/ 562 w 1125"/>
                <a:gd name="T101" fmla="*/ 1442 h 1549"/>
                <a:gd name="T102" fmla="*/ 545 w 1125"/>
                <a:gd name="T103" fmla="*/ 1420 h 1549"/>
                <a:gd name="T104" fmla="*/ 127 w 1125"/>
                <a:gd name="T105" fmla="*/ 969 h 1549"/>
                <a:gd name="T106" fmla="*/ 746 w 1125"/>
                <a:gd name="T107" fmla="*/ 702 h 1549"/>
                <a:gd name="T108" fmla="*/ 279 w 1125"/>
                <a:gd name="T109" fmla="*/ 803 h 1549"/>
                <a:gd name="T110" fmla="*/ 105 w 1125"/>
                <a:gd name="T111" fmla="*/ 986 h 1549"/>
                <a:gd name="T112" fmla="*/ 580 w 1125"/>
                <a:gd name="T113" fmla="*/ 1420 h 1549"/>
                <a:gd name="T114" fmla="*/ 545 w 1125"/>
                <a:gd name="T115" fmla="*/ 552 h 1549"/>
                <a:gd name="T116" fmla="*/ 794 w 1125"/>
                <a:gd name="T117" fmla="*/ 618 h 1549"/>
                <a:gd name="T118" fmla="*/ 195 w 1125"/>
                <a:gd name="T119" fmla="*/ 754 h 1549"/>
                <a:gd name="T120" fmla="*/ 562 w 1125"/>
                <a:gd name="T121" fmla="*/ 529 h 1549"/>
                <a:gd name="T122" fmla="*/ 379 w 1125"/>
                <a:gd name="T123" fmla="*/ 702 h 1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25" h="1549"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17" y="175"/>
                  </a:moveTo>
                  <a:cubicBezTo>
                    <a:pt x="517" y="376"/>
                    <a:pt x="517" y="376"/>
                    <a:pt x="517" y="376"/>
                  </a:cubicBezTo>
                  <a:cubicBezTo>
                    <a:pt x="609" y="376"/>
                    <a:pt x="609" y="376"/>
                    <a:pt x="609" y="376"/>
                  </a:cubicBezTo>
                  <a:cubicBezTo>
                    <a:pt x="609" y="175"/>
                    <a:pt x="609" y="175"/>
                    <a:pt x="609" y="175"/>
                  </a:cubicBezTo>
                  <a:cubicBezTo>
                    <a:pt x="517" y="175"/>
                    <a:pt x="517" y="175"/>
                    <a:pt x="517" y="175"/>
                  </a:cubicBezTo>
                  <a:cubicBezTo>
                    <a:pt x="517" y="175"/>
                    <a:pt x="517" y="175"/>
                    <a:pt x="517" y="175"/>
                  </a:cubicBezTo>
                  <a:close/>
                  <a:moveTo>
                    <a:pt x="562" y="0"/>
                  </a:moveTo>
                  <a:cubicBezTo>
                    <a:pt x="478" y="0"/>
                    <a:pt x="408" y="70"/>
                    <a:pt x="408" y="155"/>
                  </a:cubicBezTo>
                  <a:cubicBezTo>
                    <a:pt x="408" y="212"/>
                    <a:pt x="439" y="261"/>
                    <a:pt x="484" y="288"/>
                  </a:cubicBezTo>
                  <a:cubicBezTo>
                    <a:pt x="484" y="234"/>
                    <a:pt x="484" y="234"/>
                    <a:pt x="484" y="234"/>
                  </a:cubicBezTo>
                  <a:cubicBezTo>
                    <a:pt x="463" y="213"/>
                    <a:pt x="452" y="186"/>
                    <a:pt x="452" y="155"/>
                  </a:cubicBezTo>
                  <a:cubicBezTo>
                    <a:pt x="452" y="94"/>
                    <a:pt x="501" y="44"/>
                    <a:pt x="562" y="44"/>
                  </a:cubicBezTo>
                  <a:cubicBezTo>
                    <a:pt x="624" y="44"/>
                    <a:pt x="673" y="94"/>
                    <a:pt x="673" y="155"/>
                  </a:cubicBezTo>
                  <a:cubicBezTo>
                    <a:pt x="673" y="186"/>
                    <a:pt x="662" y="213"/>
                    <a:pt x="641" y="234"/>
                  </a:cubicBezTo>
                  <a:cubicBezTo>
                    <a:pt x="641" y="288"/>
                    <a:pt x="641" y="288"/>
                    <a:pt x="641" y="288"/>
                  </a:cubicBezTo>
                  <a:cubicBezTo>
                    <a:pt x="686" y="261"/>
                    <a:pt x="718" y="212"/>
                    <a:pt x="718" y="155"/>
                  </a:cubicBezTo>
                  <a:cubicBezTo>
                    <a:pt x="718" y="70"/>
                    <a:pt x="648" y="0"/>
                    <a:pt x="562" y="0"/>
                  </a:cubicBezTo>
                  <a:close/>
                  <a:moveTo>
                    <a:pt x="941" y="360"/>
                  </a:moveTo>
                  <a:cubicBezTo>
                    <a:pt x="872" y="458"/>
                    <a:pt x="872" y="458"/>
                    <a:pt x="872" y="458"/>
                  </a:cubicBezTo>
                  <a:cubicBezTo>
                    <a:pt x="947" y="510"/>
                    <a:pt x="947" y="510"/>
                    <a:pt x="947" y="510"/>
                  </a:cubicBezTo>
                  <a:cubicBezTo>
                    <a:pt x="1016" y="411"/>
                    <a:pt x="1016" y="411"/>
                    <a:pt x="1016" y="411"/>
                  </a:cubicBezTo>
                  <a:cubicBezTo>
                    <a:pt x="941" y="360"/>
                    <a:pt x="941" y="360"/>
                    <a:pt x="941" y="360"/>
                  </a:cubicBezTo>
                  <a:cubicBezTo>
                    <a:pt x="941" y="360"/>
                    <a:pt x="941" y="360"/>
                    <a:pt x="941" y="360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423"/>
                  </a:moveTo>
                  <a:cubicBezTo>
                    <a:pt x="253" y="423"/>
                    <a:pt x="0" y="676"/>
                    <a:pt x="0" y="986"/>
                  </a:cubicBezTo>
                  <a:cubicBezTo>
                    <a:pt x="0" y="1296"/>
                    <a:pt x="253" y="1549"/>
                    <a:pt x="562" y="1549"/>
                  </a:cubicBezTo>
                  <a:cubicBezTo>
                    <a:pt x="872" y="1549"/>
                    <a:pt x="1125" y="1296"/>
                    <a:pt x="1125" y="986"/>
                  </a:cubicBezTo>
                  <a:cubicBezTo>
                    <a:pt x="1125" y="676"/>
                    <a:pt x="872" y="423"/>
                    <a:pt x="562" y="423"/>
                  </a:cubicBezTo>
                  <a:close/>
                  <a:moveTo>
                    <a:pt x="562" y="1498"/>
                  </a:moveTo>
                  <a:cubicBezTo>
                    <a:pt x="280" y="1498"/>
                    <a:pt x="51" y="1267"/>
                    <a:pt x="51" y="986"/>
                  </a:cubicBezTo>
                  <a:cubicBezTo>
                    <a:pt x="51" y="703"/>
                    <a:pt x="280" y="474"/>
                    <a:pt x="562" y="474"/>
                  </a:cubicBezTo>
                  <a:cubicBezTo>
                    <a:pt x="845" y="474"/>
                    <a:pt x="1074" y="703"/>
                    <a:pt x="1074" y="986"/>
                  </a:cubicBezTo>
                  <a:cubicBezTo>
                    <a:pt x="1074" y="1267"/>
                    <a:pt x="845" y="1498"/>
                    <a:pt x="562" y="1498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  <a:moveTo>
                    <a:pt x="562" y="529"/>
                  </a:moveTo>
                  <a:cubicBezTo>
                    <a:pt x="312" y="529"/>
                    <a:pt x="105" y="734"/>
                    <a:pt x="105" y="986"/>
                  </a:cubicBezTo>
                  <a:cubicBezTo>
                    <a:pt x="105" y="1238"/>
                    <a:pt x="312" y="1442"/>
                    <a:pt x="562" y="1442"/>
                  </a:cubicBezTo>
                  <a:cubicBezTo>
                    <a:pt x="814" y="1442"/>
                    <a:pt x="1020" y="1238"/>
                    <a:pt x="1020" y="986"/>
                  </a:cubicBezTo>
                  <a:cubicBezTo>
                    <a:pt x="1020" y="734"/>
                    <a:pt x="814" y="529"/>
                    <a:pt x="562" y="529"/>
                  </a:cubicBezTo>
                  <a:close/>
                  <a:moveTo>
                    <a:pt x="930" y="754"/>
                  </a:moveTo>
                  <a:cubicBezTo>
                    <a:pt x="947" y="782"/>
                    <a:pt x="947" y="782"/>
                    <a:pt x="947" y="782"/>
                  </a:cubicBezTo>
                  <a:cubicBezTo>
                    <a:pt x="863" y="832"/>
                    <a:pt x="863" y="832"/>
                    <a:pt x="863" y="832"/>
                  </a:cubicBezTo>
                  <a:cubicBezTo>
                    <a:pt x="846" y="803"/>
                    <a:pt x="846" y="803"/>
                    <a:pt x="846" y="803"/>
                  </a:cubicBezTo>
                  <a:cubicBezTo>
                    <a:pt x="930" y="754"/>
                    <a:pt x="930" y="754"/>
                    <a:pt x="930" y="754"/>
                  </a:cubicBezTo>
                  <a:cubicBezTo>
                    <a:pt x="930" y="754"/>
                    <a:pt x="930" y="754"/>
                    <a:pt x="930" y="754"/>
                  </a:cubicBezTo>
                  <a:close/>
                  <a:moveTo>
                    <a:pt x="545" y="552"/>
                  </a:moveTo>
                  <a:cubicBezTo>
                    <a:pt x="580" y="552"/>
                    <a:pt x="580" y="552"/>
                    <a:pt x="580" y="552"/>
                  </a:cubicBezTo>
                  <a:cubicBezTo>
                    <a:pt x="580" y="649"/>
                    <a:pt x="580" y="649"/>
                    <a:pt x="580" y="649"/>
                  </a:cubicBezTo>
                  <a:cubicBezTo>
                    <a:pt x="545" y="649"/>
                    <a:pt x="545" y="649"/>
                    <a:pt x="545" y="649"/>
                  </a:cubicBezTo>
                  <a:cubicBezTo>
                    <a:pt x="545" y="552"/>
                    <a:pt x="545" y="552"/>
                    <a:pt x="545" y="552"/>
                  </a:cubicBezTo>
                  <a:cubicBezTo>
                    <a:pt x="545" y="552"/>
                    <a:pt x="545" y="552"/>
                    <a:pt x="545" y="552"/>
                  </a:cubicBezTo>
                  <a:close/>
                  <a:moveTo>
                    <a:pt x="127" y="969"/>
                  </a:moveTo>
                  <a:cubicBezTo>
                    <a:pt x="226" y="969"/>
                    <a:pt x="226" y="969"/>
                    <a:pt x="226" y="969"/>
                  </a:cubicBezTo>
                  <a:cubicBezTo>
                    <a:pt x="226" y="1003"/>
                    <a:pt x="226" y="1003"/>
                    <a:pt x="226" y="1003"/>
                  </a:cubicBezTo>
                  <a:cubicBezTo>
                    <a:pt x="127" y="1003"/>
                    <a:pt x="127" y="1003"/>
                    <a:pt x="127" y="1003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27" y="969"/>
                    <a:pt x="127" y="969"/>
                    <a:pt x="127" y="969"/>
                  </a:cubicBezTo>
                  <a:close/>
                  <a:moveTo>
                    <a:pt x="195" y="1218"/>
                  </a:moveTo>
                  <a:cubicBezTo>
                    <a:pt x="178" y="1188"/>
                    <a:pt x="178" y="1188"/>
                    <a:pt x="178" y="1188"/>
                  </a:cubicBezTo>
                  <a:cubicBezTo>
                    <a:pt x="262" y="1139"/>
                    <a:pt x="262" y="1139"/>
                    <a:pt x="262" y="1139"/>
                  </a:cubicBezTo>
                  <a:cubicBezTo>
                    <a:pt x="279" y="1169"/>
                    <a:pt x="279" y="1169"/>
                    <a:pt x="279" y="1169"/>
                  </a:cubicBezTo>
                  <a:cubicBezTo>
                    <a:pt x="195" y="1218"/>
                    <a:pt x="195" y="1218"/>
                    <a:pt x="195" y="1218"/>
                  </a:cubicBezTo>
                  <a:cubicBezTo>
                    <a:pt x="195" y="1218"/>
                    <a:pt x="195" y="1218"/>
                    <a:pt x="195" y="1218"/>
                  </a:cubicBezTo>
                  <a:close/>
                  <a:moveTo>
                    <a:pt x="262" y="832"/>
                  </a:moveTo>
                  <a:cubicBezTo>
                    <a:pt x="178" y="782"/>
                    <a:pt x="178" y="782"/>
                    <a:pt x="178" y="782"/>
                  </a:cubicBezTo>
                  <a:cubicBezTo>
                    <a:pt x="195" y="754"/>
                    <a:pt x="195" y="754"/>
                    <a:pt x="195" y="754"/>
                  </a:cubicBezTo>
                  <a:cubicBezTo>
                    <a:pt x="279" y="803"/>
                    <a:pt x="279" y="803"/>
                    <a:pt x="279" y="803"/>
                  </a:cubicBezTo>
                  <a:cubicBezTo>
                    <a:pt x="262" y="832"/>
                    <a:pt x="262" y="832"/>
                    <a:pt x="262" y="832"/>
                  </a:cubicBezTo>
                  <a:cubicBezTo>
                    <a:pt x="262" y="832"/>
                    <a:pt x="262" y="832"/>
                    <a:pt x="262" y="832"/>
                  </a:cubicBezTo>
                  <a:close/>
                  <a:moveTo>
                    <a:pt x="360" y="1371"/>
                  </a:moveTo>
                  <a:cubicBezTo>
                    <a:pt x="331" y="1353"/>
                    <a:pt x="331" y="1353"/>
                    <a:pt x="331" y="1353"/>
                  </a:cubicBezTo>
                  <a:cubicBezTo>
                    <a:pt x="379" y="1269"/>
                    <a:pt x="379" y="1269"/>
                    <a:pt x="379" y="1269"/>
                  </a:cubicBezTo>
                  <a:cubicBezTo>
                    <a:pt x="409" y="1286"/>
                    <a:pt x="409" y="1286"/>
                    <a:pt x="409" y="1286"/>
                  </a:cubicBezTo>
                  <a:cubicBezTo>
                    <a:pt x="360" y="1371"/>
                    <a:pt x="360" y="1371"/>
                    <a:pt x="360" y="1371"/>
                  </a:cubicBezTo>
                  <a:cubicBezTo>
                    <a:pt x="360" y="1371"/>
                    <a:pt x="360" y="1371"/>
                    <a:pt x="360" y="1371"/>
                  </a:cubicBezTo>
                  <a:close/>
                  <a:moveTo>
                    <a:pt x="379" y="702"/>
                  </a:moveTo>
                  <a:cubicBezTo>
                    <a:pt x="331" y="618"/>
                    <a:pt x="331" y="618"/>
                    <a:pt x="331" y="618"/>
                  </a:cubicBezTo>
                  <a:cubicBezTo>
                    <a:pt x="360" y="601"/>
                    <a:pt x="360" y="601"/>
                    <a:pt x="360" y="601"/>
                  </a:cubicBezTo>
                  <a:cubicBezTo>
                    <a:pt x="409" y="685"/>
                    <a:pt x="409" y="685"/>
                    <a:pt x="409" y="685"/>
                  </a:cubicBezTo>
                  <a:cubicBezTo>
                    <a:pt x="379" y="702"/>
                    <a:pt x="379" y="702"/>
                    <a:pt x="379" y="702"/>
                  </a:cubicBezTo>
                  <a:cubicBezTo>
                    <a:pt x="379" y="702"/>
                    <a:pt x="379" y="702"/>
                    <a:pt x="379" y="702"/>
                  </a:cubicBezTo>
                  <a:close/>
                  <a:moveTo>
                    <a:pt x="580" y="1420"/>
                  </a:moveTo>
                  <a:cubicBezTo>
                    <a:pt x="545" y="1420"/>
                    <a:pt x="545" y="1420"/>
                    <a:pt x="545" y="1420"/>
                  </a:cubicBezTo>
                  <a:cubicBezTo>
                    <a:pt x="545" y="1322"/>
                    <a:pt x="545" y="1322"/>
                    <a:pt x="545" y="1322"/>
                  </a:cubicBezTo>
                  <a:cubicBezTo>
                    <a:pt x="580" y="1322"/>
                    <a:pt x="580" y="1322"/>
                    <a:pt x="580" y="1322"/>
                  </a:cubicBezTo>
                  <a:cubicBezTo>
                    <a:pt x="580" y="1420"/>
                    <a:pt x="580" y="1420"/>
                    <a:pt x="580" y="1420"/>
                  </a:cubicBezTo>
                  <a:cubicBezTo>
                    <a:pt x="580" y="1420"/>
                    <a:pt x="580" y="1420"/>
                    <a:pt x="580" y="1420"/>
                  </a:cubicBezTo>
                  <a:close/>
                  <a:moveTo>
                    <a:pt x="766" y="1371"/>
                  </a:moveTo>
                  <a:cubicBezTo>
                    <a:pt x="716" y="1286"/>
                    <a:pt x="716" y="1286"/>
                    <a:pt x="716" y="1286"/>
                  </a:cubicBezTo>
                  <a:cubicBezTo>
                    <a:pt x="746" y="1269"/>
                    <a:pt x="746" y="1269"/>
                    <a:pt x="746" y="1269"/>
                  </a:cubicBezTo>
                  <a:cubicBezTo>
                    <a:pt x="794" y="1353"/>
                    <a:pt x="794" y="1353"/>
                    <a:pt x="794" y="1353"/>
                  </a:cubicBezTo>
                  <a:cubicBezTo>
                    <a:pt x="766" y="1371"/>
                    <a:pt x="766" y="1371"/>
                    <a:pt x="766" y="1371"/>
                  </a:cubicBezTo>
                  <a:cubicBezTo>
                    <a:pt x="766" y="1371"/>
                    <a:pt x="766" y="1371"/>
                    <a:pt x="766" y="1371"/>
                  </a:cubicBezTo>
                  <a:close/>
                  <a:moveTo>
                    <a:pt x="746" y="702"/>
                  </a:moveTo>
                  <a:cubicBezTo>
                    <a:pt x="716" y="685"/>
                    <a:pt x="716" y="685"/>
                    <a:pt x="716" y="685"/>
                  </a:cubicBezTo>
                  <a:cubicBezTo>
                    <a:pt x="766" y="601"/>
                    <a:pt x="766" y="601"/>
                    <a:pt x="766" y="601"/>
                  </a:cubicBezTo>
                  <a:cubicBezTo>
                    <a:pt x="794" y="618"/>
                    <a:pt x="794" y="618"/>
                    <a:pt x="794" y="618"/>
                  </a:cubicBezTo>
                  <a:cubicBezTo>
                    <a:pt x="746" y="702"/>
                    <a:pt x="746" y="702"/>
                    <a:pt x="746" y="702"/>
                  </a:cubicBezTo>
                  <a:cubicBezTo>
                    <a:pt x="746" y="702"/>
                    <a:pt x="746" y="702"/>
                    <a:pt x="746" y="702"/>
                  </a:cubicBezTo>
                  <a:close/>
                  <a:moveTo>
                    <a:pt x="930" y="1218"/>
                  </a:moveTo>
                  <a:cubicBezTo>
                    <a:pt x="846" y="1169"/>
                    <a:pt x="846" y="1169"/>
                    <a:pt x="846" y="1169"/>
                  </a:cubicBezTo>
                  <a:cubicBezTo>
                    <a:pt x="863" y="1139"/>
                    <a:pt x="863" y="1139"/>
                    <a:pt x="863" y="1139"/>
                  </a:cubicBezTo>
                  <a:cubicBezTo>
                    <a:pt x="947" y="1188"/>
                    <a:pt x="947" y="1188"/>
                    <a:pt x="947" y="1188"/>
                  </a:cubicBezTo>
                  <a:cubicBezTo>
                    <a:pt x="930" y="1218"/>
                    <a:pt x="930" y="1218"/>
                    <a:pt x="930" y="1218"/>
                  </a:cubicBezTo>
                  <a:cubicBezTo>
                    <a:pt x="930" y="1218"/>
                    <a:pt x="930" y="1218"/>
                    <a:pt x="930" y="1218"/>
                  </a:cubicBezTo>
                  <a:close/>
                  <a:moveTo>
                    <a:pt x="899" y="1003"/>
                  </a:moveTo>
                  <a:cubicBezTo>
                    <a:pt x="899" y="969"/>
                    <a:pt x="899" y="969"/>
                    <a:pt x="899" y="969"/>
                  </a:cubicBezTo>
                  <a:cubicBezTo>
                    <a:pt x="998" y="969"/>
                    <a:pt x="998" y="969"/>
                    <a:pt x="998" y="969"/>
                  </a:cubicBezTo>
                  <a:cubicBezTo>
                    <a:pt x="998" y="1003"/>
                    <a:pt x="998" y="1003"/>
                    <a:pt x="998" y="1003"/>
                  </a:cubicBezTo>
                  <a:cubicBezTo>
                    <a:pt x="899" y="1003"/>
                    <a:pt x="899" y="1003"/>
                    <a:pt x="899" y="1003"/>
                  </a:cubicBezTo>
                  <a:cubicBezTo>
                    <a:pt x="899" y="1003"/>
                    <a:pt x="899" y="1003"/>
                    <a:pt x="899" y="10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46" name="Freeform 6"/>
            <p:cNvSpPr/>
            <p:nvPr/>
          </p:nvSpPr>
          <p:spPr bwMode="auto">
            <a:xfrm>
              <a:off x="9653301" y="3658546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47" name="Freeform 6"/>
            <p:cNvSpPr/>
            <p:nvPr/>
          </p:nvSpPr>
          <p:spPr bwMode="auto">
            <a:xfrm rot="1738428">
              <a:off x="9817035" y="3694971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48" name="Freeform 6"/>
            <p:cNvSpPr/>
            <p:nvPr/>
          </p:nvSpPr>
          <p:spPr bwMode="auto">
            <a:xfrm rot="3563571">
              <a:off x="9936916" y="3806332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49" name="Freeform 6"/>
            <p:cNvSpPr/>
            <p:nvPr/>
          </p:nvSpPr>
          <p:spPr bwMode="auto">
            <a:xfrm rot="5400000">
              <a:off x="9978677" y="3989272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50" name="Freeform 6"/>
            <p:cNvSpPr/>
            <p:nvPr/>
          </p:nvSpPr>
          <p:spPr bwMode="auto">
            <a:xfrm rot="7140892">
              <a:off x="9932404" y="4134383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51" name="Freeform 6"/>
            <p:cNvSpPr/>
            <p:nvPr/>
          </p:nvSpPr>
          <p:spPr bwMode="auto">
            <a:xfrm rot="9016805">
              <a:off x="9817033" y="4247871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  <p:sp>
          <p:nvSpPr>
            <p:cNvPr id="52" name="Freeform 6"/>
            <p:cNvSpPr/>
            <p:nvPr/>
          </p:nvSpPr>
          <p:spPr bwMode="auto">
            <a:xfrm rot="10800000">
              <a:off x="9646882" y="4307673"/>
              <a:ext cx="403660" cy="1358497"/>
            </a:xfrm>
            <a:custGeom>
              <a:avLst/>
              <a:gdLst>
                <a:gd name="T0" fmla="*/ 91 w 127"/>
                <a:gd name="T1" fmla="*/ 372 h 428"/>
                <a:gd name="T2" fmla="*/ 95 w 127"/>
                <a:gd name="T3" fmla="*/ 428 h 428"/>
                <a:gd name="T4" fmla="*/ 34 w 127"/>
                <a:gd name="T5" fmla="*/ 428 h 428"/>
                <a:gd name="T6" fmla="*/ 38 w 127"/>
                <a:gd name="T7" fmla="*/ 372 h 428"/>
                <a:gd name="T8" fmla="*/ 0 w 127"/>
                <a:gd name="T9" fmla="*/ 315 h 428"/>
                <a:gd name="T10" fmla="*/ 46 w 127"/>
                <a:gd name="T11" fmla="*/ 254 h 428"/>
                <a:gd name="T12" fmla="*/ 63 w 127"/>
                <a:gd name="T13" fmla="*/ 0 h 428"/>
                <a:gd name="T14" fmla="*/ 82 w 127"/>
                <a:gd name="T15" fmla="*/ 254 h 428"/>
                <a:gd name="T16" fmla="*/ 127 w 127"/>
                <a:gd name="T17" fmla="*/ 315 h 428"/>
                <a:gd name="T18" fmla="*/ 91 w 127"/>
                <a:gd name="T19" fmla="*/ 37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428">
                  <a:moveTo>
                    <a:pt x="91" y="372"/>
                  </a:moveTo>
                  <a:cubicBezTo>
                    <a:pt x="95" y="428"/>
                    <a:pt x="95" y="428"/>
                    <a:pt x="95" y="42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38" y="372"/>
                    <a:pt x="38" y="372"/>
                    <a:pt x="38" y="372"/>
                  </a:cubicBezTo>
                  <a:cubicBezTo>
                    <a:pt x="16" y="362"/>
                    <a:pt x="0" y="340"/>
                    <a:pt x="0" y="315"/>
                  </a:cubicBezTo>
                  <a:cubicBezTo>
                    <a:pt x="0" y="286"/>
                    <a:pt x="20" y="262"/>
                    <a:pt x="46" y="25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82" y="254"/>
                    <a:pt x="82" y="254"/>
                    <a:pt x="82" y="254"/>
                  </a:cubicBezTo>
                  <a:cubicBezTo>
                    <a:pt x="108" y="262"/>
                    <a:pt x="127" y="286"/>
                    <a:pt x="127" y="315"/>
                  </a:cubicBezTo>
                  <a:cubicBezTo>
                    <a:pt x="127" y="340"/>
                    <a:pt x="113" y="362"/>
                    <a:pt x="91" y="37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06" tIns="45702" rIns="91406" bIns="45702" numCol="1" anchor="t" anchorCtr="0" compatLnSpc="1"/>
            <a:lstStyle/>
            <a:p>
              <a:endParaRPr lang="en-US"/>
            </a:p>
          </p:txBody>
        </p:sp>
      </p:grpSp>
      <p:grpSp>
        <p:nvGrpSpPr>
          <p:cNvPr id="53" name="Group 26"/>
          <p:cNvGrpSpPr/>
          <p:nvPr/>
        </p:nvGrpSpPr>
        <p:grpSpPr>
          <a:xfrm>
            <a:off x="5488712" y="4155178"/>
            <a:ext cx="723202" cy="408879"/>
            <a:chOff x="8172451" y="3778253"/>
            <a:chExt cx="1311275" cy="741360"/>
          </a:xfrm>
          <a:solidFill>
            <a:srgbClr val="FFFFFF"/>
          </a:solidFill>
        </p:grpSpPr>
        <p:sp>
          <p:nvSpPr>
            <p:cNvPr id="54" name="Freeform 624"/>
            <p:cNvSpPr/>
            <p:nvPr/>
          </p:nvSpPr>
          <p:spPr bwMode="auto">
            <a:xfrm>
              <a:off x="8172451" y="3778253"/>
              <a:ext cx="1311275" cy="657225"/>
            </a:xfrm>
            <a:custGeom>
              <a:avLst/>
              <a:gdLst>
                <a:gd name="T0" fmla="*/ 665 w 1330"/>
                <a:gd name="T1" fmla="*/ 59 h 665"/>
                <a:gd name="T2" fmla="*/ 1271 w 1330"/>
                <a:gd name="T3" fmla="*/ 665 h 665"/>
                <a:gd name="T4" fmla="*/ 1330 w 1330"/>
                <a:gd name="T5" fmla="*/ 665 h 665"/>
                <a:gd name="T6" fmla="*/ 665 w 1330"/>
                <a:gd name="T7" fmla="*/ 0 h 665"/>
                <a:gd name="T8" fmla="*/ 0 w 1330"/>
                <a:gd name="T9" fmla="*/ 665 h 665"/>
                <a:gd name="T10" fmla="*/ 59 w 1330"/>
                <a:gd name="T11" fmla="*/ 665 h 665"/>
                <a:gd name="T12" fmla="*/ 665 w 1330"/>
                <a:gd name="T13" fmla="*/ 59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0" h="665">
                  <a:moveTo>
                    <a:pt x="665" y="59"/>
                  </a:moveTo>
                  <a:cubicBezTo>
                    <a:pt x="1000" y="59"/>
                    <a:pt x="1271" y="330"/>
                    <a:pt x="1271" y="665"/>
                  </a:cubicBezTo>
                  <a:cubicBezTo>
                    <a:pt x="1330" y="665"/>
                    <a:pt x="1330" y="665"/>
                    <a:pt x="1330" y="665"/>
                  </a:cubicBezTo>
                  <a:cubicBezTo>
                    <a:pt x="1330" y="298"/>
                    <a:pt x="1032" y="0"/>
                    <a:pt x="665" y="0"/>
                  </a:cubicBezTo>
                  <a:cubicBezTo>
                    <a:pt x="298" y="0"/>
                    <a:pt x="0" y="298"/>
                    <a:pt x="0" y="665"/>
                  </a:cubicBezTo>
                  <a:cubicBezTo>
                    <a:pt x="59" y="665"/>
                    <a:pt x="59" y="665"/>
                    <a:pt x="59" y="665"/>
                  </a:cubicBezTo>
                  <a:cubicBezTo>
                    <a:pt x="59" y="330"/>
                    <a:pt x="330" y="59"/>
                    <a:pt x="665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55" name="Oval 625"/>
            <p:cNvSpPr>
              <a:spLocks noChangeArrowheads="1"/>
            </p:cNvSpPr>
            <p:nvPr/>
          </p:nvSpPr>
          <p:spPr bwMode="auto">
            <a:xfrm>
              <a:off x="8767763" y="3887788"/>
              <a:ext cx="111125" cy="111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56" name="Oval 626"/>
            <p:cNvSpPr>
              <a:spLocks noChangeArrowheads="1"/>
            </p:cNvSpPr>
            <p:nvPr/>
          </p:nvSpPr>
          <p:spPr bwMode="auto">
            <a:xfrm>
              <a:off x="9036051" y="3981450"/>
              <a:ext cx="109538" cy="111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57" name="Oval 627"/>
            <p:cNvSpPr>
              <a:spLocks noChangeArrowheads="1"/>
            </p:cNvSpPr>
            <p:nvPr/>
          </p:nvSpPr>
          <p:spPr bwMode="auto">
            <a:xfrm>
              <a:off x="8499476" y="3981450"/>
              <a:ext cx="111125" cy="111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58" name="Oval 628"/>
            <p:cNvSpPr>
              <a:spLocks noChangeArrowheads="1"/>
            </p:cNvSpPr>
            <p:nvPr/>
          </p:nvSpPr>
          <p:spPr bwMode="auto">
            <a:xfrm>
              <a:off x="9199563" y="4173538"/>
              <a:ext cx="111125" cy="111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59" name="Oval 629"/>
            <p:cNvSpPr>
              <a:spLocks noChangeArrowheads="1"/>
            </p:cNvSpPr>
            <p:nvPr/>
          </p:nvSpPr>
          <p:spPr bwMode="auto">
            <a:xfrm>
              <a:off x="8334376" y="4173538"/>
              <a:ext cx="111125" cy="111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60" name="Freeform 630"/>
            <p:cNvSpPr>
              <a:spLocks noEditPoints="1"/>
            </p:cNvSpPr>
            <p:nvPr/>
          </p:nvSpPr>
          <p:spPr bwMode="auto">
            <a:xfrm>
              <a:off x="8737601" y="4157663"/>
              <a:ext cx="365125" cy="361950"/>
            </a:xfrm>
            <a:custGeom>
              <a:avLst/>
              <a:gdLst>
                <a:gd name="T0" fmla="*/ 229 w 369"/>
                <a:gd name="T1" fmla="*/ 0 h 367"/>
                <a:gd name="T2" fmla="*/ 266 w 369"/>
                <a:gd name="T3" fmla="*/ 37 h 367"/>
                <a:gd name="T4" fmla="*/ 104 w 369"/>
                <a:gd name="T5" fmla="*/ 199 h 367"/>
                <a:gd name="T6" fmla="*/ 86 w 369"/>
                <a:gd name="T7" fmla="*/ 197 h 367"/>
                <a:gd name="T8" fmla="*/ 0 w 369"/>
                <a:gd name="T9" fmla="*/ 282 h 367"/>
                <a:gd name="T10" fmla="*/ 86 w 369"/>
                <a:gd name="T11" fmla="*/ 367 h 367"/>
                <a:gd name="T12" fmla="*/ 171 w 369"/>
                <a:gd name="T13" fmla="*/ 282 h 367"/>
                <a:gd name="T14" fmla="*/ 169 w 369"/>
                <a:gd name="T15" fmla="*/ 266 h 367"/>
                <a:gd name="T16" fmla="*/ 332 w 369"/>
                <a:gd name="T17" fmla="*/ 103 h 367"/>
                <a:gd name="T18" fmla="*/ 369 w 369"/>
                <a:gd name="T19" fmla="*/ 139 h 367"/>
                <a:gd name="T20" fmla="*/ 369 w 369"/>
                <a:gd name="T21" fmla="*/ 0 h 367"/>
                <a:gd name="T22" fmla="*/ 229 w 369"/>
                <a:gd name="T23" fmla="*/ 0 h 367"/>
                <a:gd name="T24" fmla="*/ 86 w 369"/>
                <a:gd name="T25" fmla="*/ 335 h 367"/>
                <a:gd name="T26" fmla="*/ 32 w 369"/>
                <a:gd name="T27" fmla="*/ 282 h 367"/>
                <a:gd name="T28" fmla="*/ 86 w 369"/>
                <a:gd name="T29" fmla="*/ 229 h 367"/>
                <a:gd name="T30" fmla="*/ 139 w 369"/>
                <a:gd name="T31" fmla="*/ 282 h 367"/>
                <a:gd name="T32" fmla="*/ 86 w 369"/>
                <a:gd name="T33" fmla="*/ 335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9" h="367">
                  <a:moveTo>
                    <a:pt x="229" y="0"/>
                  </a:moveTo>
                  <a:cubicBezTo>
                    <a:pt x="266" y="37"/>
                    <a:pt x="266" y="37"/>
                    <a:pt x="266" y="37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98" y="197"/>
                    <a:pt x="92" y="197"/>
                    <a:pt x="86" y="197"/>
                  </a:cubicBezTo>
                  <a:cubicBezTo>
                    <a:pt x="39" y="197"/>
                    <a:pt x="0" y="235"/>
                    <a:pt x="0" y="282"/>
                  </a:cubicBezTo>
                  <a:cubicBezTo>
                    <a:pt x="0" y="329"/>
                    <a:pt x="39" y="367"/>
                    <a:pt x="86" y="367"/>
                  </a:cubicBezTo>
                  <a:cubicBezTo>
                    <a:pt x="133" y="367"/>
                    <a:pt x="171" y="329"/>
                    <a:pt x="171" y="282"/>
                  </a:cubicBezTo>
                  <a:cubicBezTo>
                    <a:pt x="171" y="276"/>
                    <a:pt x="170" y="271"/>
                    <a:pt x="169" y="266"/>
                  </a:cubicBezTo>
                  <a:cubicBezTo>
                    <a:pt x="332" y="103"/>
                    <a:pt x="332" y="103"/>
                    <a:pt x="332" y="103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69" y="0"/>
                    <a:pt x="369" y="0"/>
                    <a:pt x="369" y="0"/>
                  </a:cubicBezTo>
                  <a:lnTo>
                    <a:pt x="229" y="0"/>
                  </a:lnTo>
                  <a:close/>
                  <a:moveTo>
                    <a:pt x="86" y="335"/>
                  </a:moveTo>
                  <a:cubicBezTo>
                    <a:pt x="56" y="335"/>
                    <a:pt x="32" y="311"/>
                    <a:pt x="32" y="282"/>
                  </a:cubicBezTo>
                  <a:cubicBezTo>
                    <a:pt x="32" y="253"/>
                    <a:pt x="56" y="229"/>
                    <a:pt x="86" y="229"/>
                  </a:cubicBezTo>
                  <a:cubicBezTo>
                    <a:pt x="115" y="229"/>
                    <a:pt x="139" y="253"/>
                    <a:pt x="139" y="282"/>
                  </a:cubicBezTo>
                  <a:cubicBezTo>
                    <a:pt x="139" y="311"/>
                    <a:pt x="115" y="335"/>
                    <a:pt x="86" y="3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61" name="Freeform 631"/>
            <p:cNvSpPr>
              <a:spLocks noEditPoints="1"/>
            </p:cNvSpPr>
            <p:nvPr/>
          </p:nvSpPr>
          <p:spPr bwMode="auto">
            <a:xfrm>
              <a:off x="8289926" y="4381500"/>
              <a:ext cx="1071563" cy="53975"/>
            </a:xfrm>
            <a:custGeom>
              <a:avLst/>
              <a:gdLst>
                <a:gd name="T0" fmla="*/ 56 w 1085"/>
                <a:gd name="T1" fmla="*/ 0 h 56"/>
                <a:gd name="T2" fmla="*/ 0 w 1085"/>
                <a:gd name="T3" fmla="*/ 56 h 56"/>
                <a:gd name="T4" fmla="*/ 112 w 1085"/>
                <a:gd name="T5" fmla="*/ 56 h 56"/>
                <a:gd name="T6" fmla="*/ 56 w 1085"/>
                <a:gd name="T7" fmla="*/ 0 h 56"/>
                <a:gd name="T8" fmla="*/ 1029 w 1085"/>
                <a:gd name="T9" fmla="*/ 0 h 56"/>
                <a:gd name="T10" fmla="*/ 973 w 1085"/>
                <a:gd name="T11" fmla="*/ 56 h 56"/>
                <a:gd name="T12" fmla="*/ 1085 w 1085"/>
                <a:gd name="T13" fmla="*/ 56 h 56"/>
                <a:gd name="T14" fmla="*/ 1029 w 1085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5" h="56">
                  <a:moveTo>
                    <a:pt x="56" y="0"/>
                  </a:moveTo>
                  <a:cubicBezTo>
                    <a:pt x="25" y="0"/>
                    <a:pt x="0" y="25"/>
                    <a:pt x="0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25"/>
                    <a:pt x="87" y="0"/>
                    <a:pt x="56" y="0"/>
                  </a:cubicBezTo>
                  <a:close/>
                  <a:moveTo>
                    <a:pt x="1029" y="0"/>
                  </a:moveTo>
                  <a:cubicBezTo>
                    <a:pt x="998" y="0"/>
                    <a:pt x="973" y="25"/>
                    <a:pt x="973" y="56"/>
                  </a:cubicBezTo>
                  <a:cubicBezTo>
                    <a:pt x="1085" y="56"/>
                    <a:pt x="1085" y="56"/>
                    <a:pt x="1085" y="56"/>
                  </a:cubicBezTo>
                  <a:cubicBezTo>
                    <a:pt x="1085" y="25"/>
                    <a:pt x="1060" y="0"/>
                    <a:pt x="10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grpSp>
        <p:nvGrpSpPr>
          <p:cNvPr id="62" name="Group 42"/>
          <p:cNvGrpSpPr/>
          <p:nvPr/>
        </p:nvGrpSpPr>
        <p:grpSpPr>
          <a:xfrm>
            <a:off x="6809941" y="4017604"/>
            <a:ext cx="714387" cy="714386"/>
            <a:chOff x="4529138" y="1731963"/>
            <a:chExt cx="1031875" cy="1031875"/>
          </a:xfrm>
          <a:solidFill>
            <a:srgbClr val="FFFFFF"/>
          </a:solidFill>
        </p:grpSpPr>
        <p:sp>
          <p:nvSpPr>
            <p:cNvPr id="63" name="Freeform 18"/>
            <p:cNvSpPr>
              <a:spLocks noEditPoints="1"/>
            </p:cNvSpPr>
            <p:nvPr/>
          </p:nvSpPr>
          <p:spPr bwMode="auto">
            <a:xfrm>
              <a:off x="4908551" y="2027238"/>
              <a:ext cx="428625" cy="357188"/>
            </a:xfrm>
            <a:custGeom>
              <a:avLst/>
              <a:gdLst>
                <a:gd name="T0" fmla="*/ 47 w 497"/>
                <a:gd name="T1" fmla="*/ 340 h 415"/>
                <a:gd name="T2" fmla="*/ 246 w 497"/>
                <a:gd name="T3" fmla="*/ 368 h 415"/>
                <a:gd name="T4" fmla="*/ 497 w 497"/>
                <a:gd name="T5" fmla="*/ 0 h 415"/>
                <a:gd name="T6" fmla="*/ 75 w 497"/>
                <a:gd name="T7" fmla="*/ 141 h 415"/>
                <a:gd name="T8" fmla="*/ 47 w 497"/>
                <a:gd name="T9" fmla="*/ 340 h 415"/>
                <a:gd name="T10" fmla="*/ 158 w 497"/>
                <a:gd name="T11" fmla="*/ 169 h 415"/>
                <a:gd name="T12" fmla="*/ 245 w 497"/>
                <a:gd name="T13" fmla="*/ 256 h 415"/>
                <a:gd name="T14" fmla="*/ 158 w 497"/>
                <a:gd name="T15" fmla="*/ 343 h 415"/>
                <a:gd name="T16" fmla="*/ 71 w 497"/>
                <a:gd name="T17" fmla="*/ 256 h 415"/>
                <a:gd name="T18" fmla="*/ 158 w 497"/>
                <a:gd name="T19" fmla="*/ 169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7" h="415">
                  <a:moveTo>
                    <a:pt x="47" y="340"/>
                  </a:moveTo>
                  <a:cubicBezTo>
                    <a:pt x="95" y="403"/>
                    <a:pt x="184" y="415"/>
                    <a:pt x="246" y="368"/>
                  </a:cubicBezTo>
                  <a:cubicBezTo>
                    <a:pt x="309" y="320"/>
                    <a:pt x="497" y="0"/>
                    <a:pt x="497" y="0"/>
                  </a:cubicBezTo>
                  <a:cubicBezTo>
                    <a:pt x="497" y="0"/>
                    <a:pt x="137" y="94"/>
                    <a:pt x="75" y="141"/>
                  </a:cubicBezTo>
                  <a:cubicBezTo>
                    <a:pt x="12" y="189"/>
                    <a:pt x="0" y="278"/>
                    <a:pt x="47" y="340"/>
                  </a:cubicBezTo>
                  <a:close/>
                  <a:moveTo>
                    <a:pt x="158" y="169"/>
                  </a:moveTo>
                  <a:cubicBezTo>
                    <a:pt x="206" y="169"/>
                    <a:pt x="245" y="208"/>
                    <a:pt x="245" y="256"/>
                  </a:cubicBezTo>
                  <a:cubicBezTo>
                    <a:pt x="245" y="304"/>
                    <a:pt x="206" y="343"/>
                    <a:pt x="158" y="343"/>
                  </a:cubicBezTo>
                  <a:cubicBezTo>
                    <a:pt x="110" y="343"/>
                    <a:pt x="71" y="304"/>
                    <a:pt x="71" y="256"/>
                  </a:cubicBezTo>
                  <a:cubicBezTo>
                    <a:pt x="71" y="208"/>
                    <a:pt x="110" y="169"/>
                    <a:pt x="158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64" name="Freeform 19"/>
            <p:cNvSpPr>
              <a:spLocks noEditPoints="1"/>
            </p:cNvSpPr>
            <p:nvPr/>
          </p:nvSpPr>
          <p:spPr bwMode="auto">
            <a:xfrm>
              <a:off x="4529138" y="1731963"/>
              <a:ext cx="1031875" cy="1031875"/>
            </a:xfrm>
            <a:custGeom>
              <a:avLst/>
              <a:gdLst>
                <a:gd name="T0" fmla="*/ 600 w 1200"/>
                <a:gd name="T1" fmla="*/ 0 h 1200"/>
                <a:gd name="T2" fmla="*/ 0 w 1200"/>
                <a:gd name="T3" fmla="*/ 600 h 1200"/>
                <a:gd name="T4" fmla="*/ 600 w 1200"/>
                <a:gd name="T5" fmla="*/ 1200 h 1200"/>
                <a:gd name="T6" fmla="*/ 1200 w 1200"/>
                <a:gd name="T7" fmla="*/ 600 h 1200"/>
                <a:gd name="T8" fmla="*/ 600 w 1200"/>
                <a:gd name="T9" fmla="*/ 0 h 1200"/>
                <a:gd name="T10" fmla="*/ 1093 w 1200"/>
                <a:gd name="T11" fmla="*/ 831 h 1200"/>
                <a:gd name="T12" fmla="*/ 971 w 1200"/>
                <a:gd name="T13" fmla="*/ 997 h 1200"/>
                <a:gd name="T14" fmla="*/ 878 w 1200"/>
                <a:gd name="T15" fmla="*/ 983 h 1200"/>
                <a:gd name="T16" fmla="*/ 863 w 1200"/>
                <a:gd name="T17" fmla="*/ 1076 h 1200"/>
                <a:gd name="T18" fmla="*/ 667 w 1200"/>
                <a:gd name="T19" fmla="*/ 1140 h 1200"/>
                <a:gd name="T20" fmla="*/ 600 w 1200"/>
                <a:gd name="T21" fmla="*/ 1073 h 1200"/>
                <a:gd name="T22" fmla="*/ 533 w 1200"/>
                <a:gd name="T23" fmla="*/ 1140 h 1200"/>
                <a:gd name="T24" fmla="*/ 337 w 1200"/>
                <a:gd name="T25" fmla="*/ 1076 h 1200"/>
                <a:gd name="T26" fmla="*/ 322 w 1200"/>
                <a:gd name="T27" fmla="*/ 983 h 1200"/>
                <a:gd name="T28" fmla="*/ 229 w 1200"/>
                <a:gd name="T29" fmla="*/ 997 h 1200"/>
                <a:gd name="T30" fmla="*/ 107 w 1200"/>
                <a:gd name="T31" fmla="*/ 831 h 1200"/>
                <a:gd name="T32" fmla="*/ 150 w 1200"/>
                <a:gd name="T33" fmla="*/ 746 h 1200"/>
                <a:gd name="T34" fmla="*/ 66 w 1200"/>
                <a:gd name="T35" fmla="*/ 703 h 1200"/>
                <a:gd name="T36" fmla="*/ 56 w 1200"/>
                <a:gd name="T37" fmla="*/ 600 h 1200"/>
                <a:gd name="T38" fmla="*/ 66 w 1200"/>
                <a:gd name="T39" fmla="*/ 497 h 1200"/>
                <a:gd name="T40" fmla="*/ 150 w 1200"/>
                <a:gd name="T41" fmla="*/ 454 h 1200"/>
                <a:gd name="T42" fmla="*/ 107 w 1200"/>
                <a:gd name="T43" fmla="*/ 369 h 1200"/>
                <a:gd name="T44" fmla="*/ 229 w 1200"/>
                <a:gd name="T45" fmla="*/ 203 h 1200"/>
                <a:gd name="T46" fmla="*/ 322 w 1200"/>
                <a:gd name="T47" fmla="*/ 217 h 1200"/>
                <a:gd name="T48" fmla="*/ 337 w 1200"/>
                <a:gd name="T49" fmla="*/ 124 h 1200"/>
                <a:gd name="T50" fmla="*/ 533 w 1200"/>
                <a:gd name="T51" fmla="*/ 60 h 1200"/>
                <a:gd name="T52" fmla="*/ 600 w 1200"/>
                <a:gd name="T53" fmla="*/ 127 h 1200"/>
                <a:gd name="T54" fmla="*/ 667 w 1200"/>
                <a:gd name="T55" fmla="*/ 60 h 1200"/>
                <a:gd name="T56" fmla="*/ 863 w 1200"/>
                <a:gd name="T57" fmla="*/ 124 h 1200"/>
                <a:gd name="T58" fmla="*/ 878 w 1200"/>
                <a:gd name="T59" fmla="*/ 217 h 1200"/>
                <a:gd name="T60" fmla="*/ 971 w 1200"/>
                <a:gd name="T61" fmla="*/ 203 h 1200"/>
                <a:gd name="T62" fmla="*/ 1093 w 1200"/>
                <a:gd name="T63" fmla="*/ 369 h 1200"/>
                <a:gd name="T64" fmla="*/ 1050 w 1200"/>
                <a:gd name="T65" fmla="*/ 454 h 1200"/>
                <a:gd name="T66" fmla="*/ 1134 w 1200"/>
                <a:gd name="T67" fmla="*/ 497 h 1200"/>
                <a:gd name="T68" fmla="*/ 1144 w 1200"/>
                <a:gd name="T69" fmla="*/ 600 h 1200"/>
                <a:gd name="T70" fmla="*/ 1134 w 1200"/>
                <a:gd name="T71" fmla="*/ 703 h 1200"/>
                <a:gd name="T72" fmla="*/ 1050 w 1200"/>
                <a:gd name="T73" fmla="*/ 746 h 1200"/>
                <a:gd name="T74" fmla="*/ 1093 w 1200"/>
                <a:gd name="T75" fmla="*/ 831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00" h="1200">
                  <a:moveTo>
                    <a:pt x="600" y="0"/>
                  </a:moveTo>
                  <a:cubicBezTo>
                    <a:pt x="269" y="0"/>
                    <a:pt x="0" y="269"/>
                    <a:pt x="0" y="600"/>
                  </a:cubicBezTo>
                  <a:cubicBezTo>
                    <a:pt x="0" y="931"/>
                    <a:pt x="269" y="1200"/>
                    <a:pt x="600" y="1200"/>
                  </a:cubicBezTo>
                  <a:cubicBezTo>
                    <a:pt x="931" y="1200"/>
                    <a:pt x="1200" y="931"/>
                    <a:pt x="1200" y="600"/>
                  </a:cubicBezTo>
                  <a:cubicBezTo>
                    <a:pt x="1200" y="269"/>
                    <a:pt x="931" y="0"/>
                    <a:pt x="600" y="0"/>
                  </a:cubicBezTo>
                  <a:close/>
                  <a:moveTo>
                    <a:pt x="1093" y="831"/>
                  </a:moveTo>
                  <a:cubicBezTo>
                    <a:pt x="1063" y="894"/>
                    <a:pt x="1022" y="950"/>
                    <a:pt x="971" y="997"/>
                  </a:cubicBezTo>
                  <a:cubicBezTo>
                    <a:pt x="878" y="983"/>
                    <a:pt x="878" y="983"/>
                    <a:pt x="878" y="983"/>
                  </a:cubicBezTo>
                  <a:cubicBezTo>
                    <a:pt x="863" y="1076"/>
                    <a:pt x="863" y="1076"/>
                    <a:pt x="863" y="1076"/>
                  </a:cubicBezTo>
                  <a:cubicBezTo>
                    <a:pt x="804" y="1109"/>
                    <a:pt x="737" y="1131"/>
                    <a:pt x="667" y="1140"/>
                  </a:cubicBezTo>
                  <a:cubicBezTo>
                    <a:pt x="600" y="1073"/>
                    <a:pt x="600" y="1073"/>
                    <a:pt x="600" y="1073"/>
                  </a:cubicBezTo>
                  <a:cubicBezTo>
                    <a:pt x="533" y="1140"/>
                    <a:pt x="533" y="1140"/>
                    <a:pt x="533" y="1140"/>
                  </a:cubicBezTo>
                  <a:cubicBezTo>
                    <a:pt x="463" y="1131"/>
                    <a:pt x="396" y="1109"/>
                    <a:pt x="337" y="1076"/>
                  </a:cubicBezTo>
                  <a:cubicBezTo>
                    <a:pt x="322" y="983"/>
                    <a:pt x="322" y="983"/>
                    <a:pt x="322" y="983"/>
                  </a:cubicBezTo>
                  <a:cubicBezTo>
                    <a:pt x="229" y="997"/>
                    <a:pt x="229" y="997"/>
                    <a:pt x="229" y="997"/>
                  </a:cubicBezTo>
                  <a:cubicBezTo>
                    <a:pt x="178" y="950"/>
                    <a:pt x="137" y="894"/>
                    <a:pt x="107" y="831"/>
                  </a:cubicBezTo>
                  <a:cubicBezTo>
                    <a:pt x="150" y="746"/>
                    <a:pt x="150" y="746"/>
                    <a:pt x="150" y="746"/>
                  </a:cubicBezTo>
                  <a:cubicBezTo>
                    <a:pt x="66" y="703"/>
                    <a:pt x="66" y="703"/>
                    <a:pt x="66" y="703"/>
                  </a:cubicBezTo>
                  <a:cubicBezTo>
                    <a:pt x="59" y="670"/>
                    <a:pt x="56" y="635"/>
                    <a:pt x="56" y="600"/>
                  </a:cubicBezTo>
                  <a:cubicBezTo>
                    <a:pt x="56" y="565"/>
                    <a:pt x="59" y="530"/>
                    <a:pt x="66" y="497"/>
                  </a:cubicBezTo>
                  <a:cubicBezTo>
                    <a:pt x="150" y="454"/>
                    <a:pt x="150" y="454"/>
                    <a:pt x="150" y="454"/>
                  </a:cubicBezTo>
                  <a:cubicBezTo>
                    <a:pt x="107" y="369"/>
                    <a:pt x="107" y="369"/>
                    <a:pt x="107" y="369"/>
                  </a:cubicBezTo>
                  <a:cubicBezTo>
                    <a:pt x="137" y="306"/>
                    <a:pt x="178" y="250"/>
                    <a:pt x="229" y="203"/>
                  </a:cubicBezTo>
                  <a:cubicBezTo>
                    <a:pt x="322" y="217"/>
                    <a:pt x="322" y="217"/>
                    <a:pt x="322" y="217"/>
                  </a:cubicBezTo>
                  <a:cubicBezTo>
                    <a:pt x="337" y="124"/>
                    <a:pt x="337" y="124"/>
                    <a:pt x="337" y="124"/>
                  </a:cubicBezTo>
                  <a:cubicBezTo>
                    <a:pt x="396" y="91"/>
                    <a:pt x="463" y="69"/>
                    <a:pt x="533" y="60"/>
                  </a:cubicBezTo>
                  <a:cubicBezTo>
                    <a:pt x="600" y="127"/>
                    <a:pt x="600" y="127"/>
                    <a:pt x="600" y="127"/>
                  </a:cubicBezTo>
                  <a:cubicBezTo>
                    <a:pt x="667" y="60"/>
                    <a:pt x="667" y="60"/>
                    <a:pt x="667" y="60"/>
                  </a:cubicBezTo>
                  <a:cubicBezTo>
                    <a:pt x="737" y="69"/>
                    <a:pt x="804" y="91"/>
                    <a:pt x="863" y="124"/>
                  </a:cubicBezTo>
                  <a:cubicBezTo>
                    <a:pt x="878" y="217"/>
                    <a:pt x="878" y="217"/>
                    <a:pt x="878" y="217"/>
                  </a:cubicBezTo>
                  <a:cubicBezTo>
                    <a:pt x="971" y="203"/>
                    <a:pt x="971" y="203"/>
                    <a:pt x="971" y="203"/>
                  </a:cubicBezTo>
                  <a:cubicBezTo>
                    <a:pt x="1022" y="250"/>
                    <a:pt x="1063" y="306"/>
                    <a:pt x="1093" y="369"/>
                  </a:cubicBezTo>
                  <a:cubicBezTo>
                    <a:pt x="1050" y="454"/>
                    <a:pt x="1050" y="454"/>
                    <a:pt x="1050" y="454"/>
                  </a:cubicBezTo>
                  <a:cubicBezTo>
                    <a:pt x="1134" y="497"/>
                    <a:pt x="1134" y="497"/>
                    <a:pt x="1134" y="497"/>
                  </a:cubicBezTo>
                  <a:cubicBezTo>
                    <a:pt x="1141" y="530"/>
                    <a:pt x="1144" y="565"/>
                    <a:pt x="1144" y="600"/>
                  </a:cubicBezTo>
                  <a:cubicBezTo>
                    <a:pt x="1144" y="635"/>
                    <a:pt x="1141" y="670"/>
                    <a:pt x="1134" y="703"/>
                  </a:cubicBezTo>
                  <a:cubicBezTo>
                    <a:pt x="1050" y="746"/>
                    <a:pt x="1050" y="746"/>
                    <a:pt x="1050" y="746"/>
                  </a:cubicBezTo>
                  <a:lnTo>
                    <a:pt x="1093" y="8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65" name="Oval 20"/>
            <p:cNvSpPr>
              <a:spLocks noChangeArrowheads="1"/>
            </p:cNvSpPr>
            <p:nvPr/>
          </p:nvSpPr>
          <p:spPr bwMode="auto">
            <a:xfrm>
              <a:off x="5018088" y="2220913"/>
              <a:ext cx="53975" cy="539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77717" tIns="38858" rIns="77717" bIns="38858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5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sp>
        <p:nvSpPr>
          <p:cNvPr id="66" name="Freeform 8"/>
          <p:cNvSpPr>
            <a:spLocks noEditPoints="1"/>
          </p:cNvSpPr>
          <p:nvPr/>
        </p:nvSpPr>
        <p:spPr bwMode="auto">
          <a:xfrm>
            <a:off x="1676276" y="4186828"/>
            <a:ext cx="813294" cy="422098"/>
          </a:xfrm>
          <a:custGeom>
            <a:avLst/>
            <a:gdLst>
              <a:gd name="T0" fmla="*/ 202 w 251"/>
              <a:gd name="T1" fmla="*/ 60 h 133"/>
              <a:gd name="T2" fmla="*/ 43 w 251"/>
              <a:gd name="T3" fmla="*/ 0 h 133"/>
              <a:gd name="T4" fmla="*/ 37 w 251"/>
              <a:gd name="T5" fmla="*/ 29 h 133"/>
              <a:gd name="T6" fmla="*/ 0 w 251"/>
              <a:gd name="T7" fmla="*/ 41 h 133"/>
              <a:gd name="T8" fmla="*/ 37 w 251"/>
              <a:gd name="T9" fmla="*/ 87 h 133"/>
              <a:gd name="T10" fmla="*/ 0 w 251"/>
              <a:gd name="T11" fmla="*/ 99 h 133"/>
              <a:gd name="T12" fmla="*/ 37 w 251"/>
              <a:gd name="T13" fmla="*/ 127 h 133"/>
              <a:gd name="T14" fmla="*/ 120 w 251"/>
              <a:gd name="T15" fmla="*/ 133 h 133"/>
              <a:gd name="T16" fmla="*/ 251 w 251"/>
              <a:gd name="T17" fmla="*/ 72 h 133"/>
              <a:gd name="T18" fmla="*/ 120 w 251"/>
              <a:gd name="T19" fmla="*/ 121 h 133"/>
              <a:gd name="T20" fmla="*/ 49 w 251"/>
              <a:gd name="T21" fmla="*/ 12 h 133"/>
              <a:gd name="T22" fmla="*/ 191 w 251"/>
              <a:gd name="T23" fmla="*/ 66 h 133"/>
              <a:gd name="T24" fmla="*/ 78 w 251"/>
              <a:gd name="T25" fmla="*/ 50 h 133"/>
              <a:gd name="T26" fmla="*/ 70 w 251"/>
              <a:gd name="T27" fmla="*/ 83 h 133"/>
              <a:gd name="T28" fmla="*/ 87 w 251"/>
              <a:gd name="T29" fmla="*/ 74 h 133"/>
              <a:gd name="T30" fmla="*/ 95 w 251"/>
              <a:gd name="T31" fmla="*/ 83 h 133"/>
              <a:gd name="T32" fmla="*/ 78 w 251"/>
              <a:gd name="T33" fmla="*/ 50 h 133"/>
              <a:gd name="T34" fmla="*/ 80 w 251"/>
              <a:gd name="T35" fmla="*/ 56 h 133"/>
              <a:gd name="T36" fmla="*/ 80 w 251"/>
              <a:gd name="T37" fmla="*/ 54 h 133"/>
              <a:gd name="T38" fmla="*/ 86 w 251"/>
              <a:gd name="T39" fmla="*/ 70 h 133"/>
              <a:gd name="T40" fmla="*/ 137 w 251"/>
              <a:gd name="T41" fmla="*/ 50 h 133"/>
              <a:gd name="T42" fmla="*/ 128 w 251"/>
              <a:gd name="T43" fmla="*/ 83 h 133"/>
              <a:gd name="T44" fmla="*/ 150 w 251"/>
              <a:gd name="T45" fmla="*/ 79 h 133"/>
              <a:gd name="T46" fmla="*/ 137 w 251"/>
              <a:gd name="T47" fmla="*/ 50 h 133"/>
              <a:gd name="T48" fmla="*/ 137 w 251"/>
              <a:gd name="T49" fmla="*/ 80 h 133"/>
              <a:gd name="T50" fmla="*/ 132 w 251"/>
              <a:gd name="T51" fmla="*/ 53 h 133"/>
              <a:gd name="T52" fmla="*/ 151 w 251"/>
              <a:gd name="T53" fmla="*/ 66 h 133"/>
              <a:gd name="T54" fmla="*/ 119 w 251"/>
              <a:gd name="T55" fmla="*/ 50 h 133"/>
              <a:gd name="T56" fmla="*/ 123 w 251"/>
              <a:gd name="T57" fmla="*/ 83 h 133"/>
              <a:gd name="T58" fmla="*/ 101 w 251"/>
              <a:gd name="T59" fmla="*/ 56 h 133"/>
              <a:gd name="T60" fmla="*/ 100 w 251"/>
              <a:gd name="T61" fmla="*/ 54 h 133"/>
              <a:gd name="T62" fmla="*/ 100 w 251"/>
              <a:gd name="T63" fmla="*/ 83 h 133"/>
              <a:gd name="T64" fmla="*/ 96 w 251"/>
              <a:gd name="T65" fmla="*/ 50 h 133"/>
              <a:gd name="T66" fmla="*/ 118 w 251"/>
              <a:gd name="T67" fmla="*/ 76 h 133"/>
              <a:gd name="T68" fmla="*/ 120 w 251"/>
              <a:gd name="T69" fmla="*/ 78 h 133"/>
              <a:gd name="T70" fmla="*/ 119 w 251"/>
              <a:gd name="T71" fmla="*/ 5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1" h="133">
                <a:moveTo>
                  <a:pt x="251" y="60"/>
                </a:moveTo>
                <a:cubicBezTo>
                  <a:pt x="202" y="60"/>
                  <a:pt x="202" y="60"/>
                  <a:pt x="202" y="60"/>
                </a:cubicBezTo>
                <a:cubicBezTo>
                  <a:pt x="199" y="26"/>
                  <a:pt x="163" y="0"/>
                  <a:pt x="120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0" y="0"/>
                  <a:pt x="37" y="2"/>
                  <a:pt x="37" y="6"/>
                </a:cubicBezTo>
                <a:cubicBezTo>
                  <a:pt x="37" y="29"/>
                  <a:pt x="37" y="29"/>
                  <a:pt x="37" y="29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41"/>
                  <a:pt x="0" y="41"/>
                  <a:pt x="0" y="41"/>
                </a:cubicBezTo>
                <a:cubicBezTo>
                  <a:pt x="37" y="41"/>
                  <a:pt x="37" y="41"/>
                  <a:pt x="37" y="41"/>
                </a:cubicBezTo>
                <a:cubicBezTo>
                  <a:pt x="37" y="87"/>
                  <a:pt x="37" y="87"/>
                  <a:pt x="37" y="87"/>
                </a:cubicBezTo>
                <a:cubicBezTo>
                  <a:pt x="0" y="87"/>
                  <a:pt x="0" y="87"/>
                  <a:pt x="0" y="87"/>
                </a:cubicBezTo>
                <a:cubicBezTo>
                  <a:pt x="0" y="99"/>
                  <a:pt x="0" y="99"/>
                  <a:pt x="0" y="99"/>
                </a:cubicBezTo>
                <a:cubicBezTo>
                  <a:pt x="37" y="99"/>
                  <a:pt x="37" y="99"/>
                  <a:pt x="37" y="99"/>
                </a:cubicBezTo>
                <a:cubicBezTo>
                  <a:pt x="37" y="127"/>
                  <a:pt x="37" y="127"/>
                  <a:pt x="37" y="127"/>
                </a:cubicBezTo>
                <a:cubicBezTo>
                  <a:pt x="37" y="130"/>
                  <a:pt x="40" y="133"/>
                  <a:pt x="43" y="133"/>
                </a:cubicBezTo>
                <a:cubicBezTo>
                  <a:pt x="120" y="133"/>
                  <a:pt x="120" y="133"/>
                  <a:pt x="120" y="133"/>
                </a:cubicBezTo>
                <a:cubicBezTo>
                  <a:pt x="163" y="133"/>
                  <a:pt x="199" y="106"/>
                  <a:pt x="202" y="72"/>
                </a:cubicBezTo>
                <a:cubicBezTo>
                  <a:pt x="251" y="72"/>
                  <a:pt x="251" y="72"/>
                  <a:pt x="251" y="72"/>
                </a:cubicBezTo>
                <a:lnTo>
                  <a:pt x="251" y="60"/>
                </a:lnTo>
                <a:close/>
                <a:moveTo>
                  <a:pt x="120" y="121"/>
                </a:moveTo>
                <a:cubicBezTo>
                  <a:pt x="49" y="121"/>
                  <a:pt x="49" y="121"/>
                  <a:pt x="49" y="121"/>
                </a:cubicBezTo>
                <a:cubicBezTo>
                  <a:pt x="49" y="12"/>
                  <a:pt x="49" y="12"/>
                  <a:pt x="49" y="12"/>
                </a:cubicBezTo>
                <a:cubicBezTo>
                  <a:pt x="120" y="12"/>
                  <a:pt x="120" y="12"/>
                  <a:pt x="120" y="12"/>
                </a:cubicBezTo>
                <a:cubicBezTo>
                  <a:pt x="159" y="12"/>
                  <a:pt x="191" y="36"/>
                  <a:pt x="191" y="66"/>
                </a:cubicBezTo>
                <a:cubicBezTo>
                  <a:pt x="191" y="96"/>
                  <a:pt x="159" y="121"/>
                  <a:pt x="120" y="121"/>
                </a:cubicBezTo>
                <a:close/>
                <a:moveTo>
                  <a:pt x="78" y="50"/>
                </a:moveTo>
                <a:cubicBezTo>
                  <a:pt x="65" y="83"/>
                  <a:pt x="65" y="83"/>
                  <a:pt x="65" y="83"/>
                </a:cubicBezTo>
                <a:cubicBezTo>
                  <a:pt x="70" y="83"/>
                  <a:pt x="70" y="83"/>
                  <a:pt x="70" y="83"/>
                </a:cubicBezTo>
                <a:cubicBezTo>
                  <a:pt x="73" y="74"/>
                  <a:pt x="73" y="74"/>
                  <a:pt x="73" y="74"/>
                </a:cubicBezTo>
                <a:cubicBezTo>
                  <a:pt x="87" y="74"/>
                  <a:pt x="87" y="74"/>
                  <a:pt x="87" y="74"/>
                </a:cubicBezTo>
                <a:cubicBezTo>
                  <a:pt x="91" y="83"/>
                  <a:pt x="91" y="83"/>
                  <a:pt x="91" y="83"/>
                </a:cubicBezTo>
                <a:cubicBezTo>
                  <a:pt x="95" y="83"/>
                  <a:pt x="95" y="83"/>
                  <a:pt x="95" y="83"/>
                </a:cubicBezTo>
                <a:cubicBezTo>
                  <a:pt x="82" y="50"/>
                  <a:pt x="82" y="50"/>
                  <a:pt x="82" y="50"/>
                </a:cubicBezTo>
                <a:lnTo>
                  <a:pt x="78" y="50"/>
                </a:lnTo>
                <a:close/>
                <a:moveTo>
                  <a:pt x="74" y="70"/>
                </a:moveTo>
                <a:cubicBezTo>
                  <a:pt x="80" y="56"/>
                  <a:pt x="80" y="56"/>
                  <a:pt x="80" y="56"/>
                </a:cubicBezTo>
                <a:cubicBezTo>
                  <a:pt x="80" y="55"/>
                  <a:pt x="80" y="55"/>
                  <a:pt x="80" y="54"/>
                </a:cubicBezTo>
                <a:cubicBezTo>
                  <a:pt x="80" y="54"/>
                  <a:pt x="80" y="54"/>
                  <a:pt x="80" y="54"/>
                </a:cubicBezTo>
                <a:cubicBezTo>
                  <a:pt x="80" y="55"/>
                  <a:pt x="81" y="56"/>
                  <a:pt x="81" y="56"/>
                </a:cubicBezTo>
                <a:cubicBezTo>
                  <a:pt x="86" y="70"/>
                  <a:pt x="86" y="70"/>
                  <a:pt x="86" y="70"/>
                </a:cubicBezTo>
                <a:lnTo>
                  <a:pt x="74" y="70"/>
                </a:lnTo>
                <a:close/>
                <a:moveTo>
                  <a:pt x="137" y="50"/>
                </a:moveTo>
                <a:cubicBezTo>
                  <a:pt x="128" y="50"/>
                  <a:pt x="128" y="50"/>
                  <a:pt x="128" y="50"/>
                </a:cubicBezTo>
                <a:cubicBezTo>
                  <a:pt x="128" y="83"/>
                  <a:pt x="128" y="83"/>
                  <a:pt x="128" y="83"/>
                </a:cubicBezTo>
                <a:cubicBezTo>
                  <a:pt x="137" y="83"/>
                  <a:pt x="137" y="83"/>
                  <a:pt x="137" y="83"/>
                </a:cubicBezTo>
                <a:cubicBezTo>
                  <a:pt x="142" y="83"/>
                  <a:pt x="147" y="82"/>
                  <a:pt x="150" y="79"/>
                </a:cubicBezTo>
                <a:cubicBezTo>
                  <a:pt x="153" y="75"/>
                  <a:pt x="155" y="71"/>
                  <a:pt x="155" y="66"/>
                </a:cubicBezTo>
                <a:cubicBezTo>
                  <a:pt x="155" y="55"/>
                  <a:pt x="149" y="50"/>
                  <a:pt x="137" y="50"/>
                </a:cubicBezTo>
                <a:close/>
                <a:moveTo>
                  <a:pt x="147" y="76"/>
                </a:moveTo>
                <a:cubicBezTo>
                  <a:pt x="145" y="79"/>
                  <a:pt x="141" y="80"/>
                  <a:pt x="137" y="80"/>
                </a:cubicBezTo>
                <a:cubicBezTo>
                  <a:pt x="132" y="80"/>
                  <a:pt x="132" y="80"/>
                  <a:pt x="132" y="80"/>
                </a:cubicBezTo>
                <a:cubicBezTo>
                  <a:pt x="132" y="53"/>
                  <a:pt x="132" y="53"/>
                  <a:pt x="132" y="53"/>
                </a:cubicBezTo>
                <a:cubicBezTo>
                  <a:pt x="137" y="53"/>
                  <a:pt x="137" y="53"/>
                  <a:pt x="137" y="53"/>
                </a:cubicBezTo>
                <a:cubicBezTo>
                  <a:pt x="146" y="53"/>
                  <a:pt x="151" y="58"/>
                  <a:pt x="151" y="66"/>
                </a:cubicBezTo>
                <a:cubicBezTo>
                  <a:pt x="151" y="70"/>
                  <a:pt x="150" y="74"/>
                  <a:pt x="147" y="76"/>
                </a:cubicBezTo>
                <a:close/>
                <a:moveTo>
                  <a:pt x="119" y="50"/>
                </a:moveTo>
                <a:cubicBezTo>
                  <a:pt x="123" y="50"/>
                  <a:pt x="123" y="50"/>
                  <a:pt x="123" y="50"/>
                </a:cubicBezTo>
                <a:cubicBezTo>
                  <a:pt x="123" y="83"/>
                  <a:pt x="123" y="83"/>
                  <a:pt x="123" y="83"/>
                </a:cubicBezTo>
                <a:cubicBezTo>
                  <a:pt x="118" y="83"/>
                  <a:pt x="118" y="83"/>
                  <a:pt x="118" y="83"/>
                </a:cubicBezTo>
                <a:cubicBezTo>
                  <a:pt x="101" y="56"/>
                  <a:pt x="101" y="56"/>
                  <a:pt x="101" y="56"/>
                </a:cubicBezTo>
                <a:cubicBezTo>
                  <a:pt x="101" y="56"/>
                  <a:pt x="100" y="55"/>
                  <a:pt x="100" y="54"/>
                </a:cubicBezTo>
                <a:cubicBezTo>
                  <a:pt x="100" y="54"/>
                  <a:pt x="100" y="54"/>
                  <a:pt x="100" y="54"/>
                </a:cubicBezTo>
                <a:cubicBezTo>
                  <a:pt x="100" y="55"/>
                  <a:pt x="100" y="57"/>
                  <a:pt x="100" y="59"/>
                </a:cubicBezTo>
                <a:cubicBezTo>
                  <a:pt x="100" y="83"/>
                  <a:pt x="100" y="83"/>
                  <a:pt x="100" y="83"/>
                </a:cubicBezTo>
                <a:cubicBezTo>
                  <a:pt x="96" y="83"/>
                  <a:pt x="96" y="83"/>
                  <a:pt x="96" y="83"/>
                </a:cubicBezTo>
                <a:cubicBezTo>
                  <a:pt x="96" y="50"/>
                  <a:pt x="96" y="50"/>
                  <a:pt x="96" y="50"/>
                </a:cubicBezTo>
                <a:cubicBezTo>
                  <a:pt x="101" y="50"/>
                  <a:pt x="101" y="50"/>
                  <a:pt x="101" y="50"/>
                </a:cubicBezTo>
                <a:cubicBezTo>
                  <a:pt x="118" y="76"/>
                  <a:pt x="118" y="76"/>
                  <a:pt x="118" y="76"/>
                </a:cubicBezTo>
                <a:cubicBezTo>
                  <a:pt x="119" y="77"/>
                  <a:pt x="119" y="78"/>
                  <a:pt x="119" y="78"/>
                </a:cubicBezTo>
                <a:cubicBezTo>
                  <a:pt x="120" y="78"/>
                  <a:pt x="120" y="78"/>
                  <a:pt x="120" y="78"/>
                </a:cubicBezTo>
                <a:cubicBezTo>
                  <a:pt x="119" y="77"/>
                  <a:pt x="119" y="76"/>
                  <a:pt x="119" y="73"/>
                </a:cubicBezTo>
                <a:lnTo>
                  <a:pt x="119" y="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67" name="Picture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149" y="4132052"/>
            <a:ext cx="693078" cy="355832"/>
          </a:xfrm>
          <a:prstGeom prst="rect">
            <a:avLst/>
          </a:prstGeom>
        </p:spPr>
      </p:pic>
      <p:grpSp>
        <p:nvGrpSpPr>
          <p:cNvPr id="68" name="组合 67"/>
          <p:cNvGrpSpPr/>
          <p:nvPr/>
        </p:nvGrpSpPr>
        <p:grpSpPr>
          <a:xfrm>
            <a:off x="536572" y="2850825"/>
            <a:ext cx="435714" cy="722120"/>
            <a:chOff x="871887" y="4078447"/>
            <a:chExt cx="435714" cy="722120"/>
          </a:xfrm>
        </p:grpSpPr>
        <p:sp>
          <p:nvSpPr>
            <p:cNvPr id="69" name="Freeform 5"/>
            <p:cNvSpPr/>
            <p:nvPr/>
          </p:nvSpPr>
          <p:spPr bwMode="auto">
            <a:xfrm>
              <a:off x="1001467" y="4664562"/>
              <a:ext cx="176553" cy="136005"/>
            </a:xfrm>
            <a:custGeom>
              <a:avLst/>
              <a:gdLst>
                <a:gd name="T0" fmla="*/ 40 w 45"/>
                <a:gd name="T1" fmla="*/ 0 h 35"/>
                <a:gd name="T2" fmla="*/ 5 w 45"/>
                <a:gd name="T3" fmla="*/ 0 h 35"/>
                <a:gd name="T4" fmla="*/ 2 w 45"/>
                <a:gd name="T5" fmla="*/ 3 h 35"/>
                <a:gd name="T6" fmla="*/ 0 w 45"/>
                <a:gd name="T7" fmla="*/ 11 h 35"/>
                <a:gd name="T8" fmla="*/ 0 w 45"/>
                <a:gd name="T9" fmla="*/ 14 h 35"/>
                <a:gd name="T10" fmla="*/ 0 w 45"/>
                <a:gd name="T11" fmla="*/ 16 h 35"/>
                <a:gd name="T12" fmla="*/ 0 w 45"/>
                <a:gd name="T13" fmla="*/ 19 h 35"/>
                <a:gd name="T14" fmla="*/ 2 w 45"/>
                <a:gd name="T15" fmla="*/ 24 h 35"/>
                <a:gd name="T16" fmla="*/ 5 w 45"/>
                <a:gd name="T17" fmla="*/ 27 h 35"/>
                <a:gd name="T18" fmla="*/ 8 w 45"/>
                <a:gd name="T19" fmla="*/ 27 h 35"/>
                <a:gd name="T20" fmla="*/ 10 w 45"/>
                <a:gd name="T21" fmla="*/ 35 h 35"/>
                <a:gd name="T22" fmla="*/ 13 w 45"/>
                <a:gd name="T23" fmla="*/ 35 h 35"/>
                <a:gd name="T24" fmla="*/ 32 w 45"/>
                <a:gd name="T25" fmla="*/ 35 h 35"/>
                <a:gd name="T26" fmla="*/ 35 w 45"/>
                <a:gd name="T27" fmla="*/ 35 h 35"/>
                <a:gd name="T28" fmla="*/ 37 w 45"/>
                <a:gd name="T29" fmla="*/ 27 h 35"/>
                <a:gd name="T30" fmla="*/ 40 w 45"/>
                <a:gd name="T31" fmla="*/ 27 h 35"/>
                <a:gd name="T32" fmla="*/ 43 w 45"/>
                <a:gd name="T33" fmla="*/ 24 h 35"/>
                <a:gd name="T34" fmla="*/ 45 w 45"/>
                <a:gd name="T35" fmla="*/ 19 h 35"/>
                <a:gd name="T36" fmla="*/ 45 w 45"/>
                <a:gd name="T37" fmla="*/ 16 h 35"/>
                <a:gd name="T38" fmla="*/ 45 w 45"/>
                <a:gd name="T39" fmla="*/ 14 h 35"/>
                <a:gd name="T40" fmla="*/ 45 w 45"/>
                <a:gd name="T41" fmla="*/ 11 h 35"/>
                <a:gd name="T42" fmla="*/ 43 w 45"/>
                <a:gd name="T43" fmla="*/ 3 h 35"/>
                <a:gd name="T44" fmla="*/ 40 w 45"/>
                <a:gd name="T4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35">
                  <a:moveTo>
                    <a:pt x="4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0" y="6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4"/>
                    <a:pt x="2" y="24"/>
                    <a:pt x="2" y="24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5" y="24"/>
                    <a:pt x="45" y="19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6"/>
                    <a:pt x="43" y="3"/>
                    <a:pt x="43" y="3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70" name="Freeform 6"/>
            <p:cNvSpPr/>
            <p:nvPr/>
          </p:nvSpPr>
          <p:spPr bwMode="auto">
            <a:xfrm>
              <a:off x="871887" y="4078447"/>
              <a:ext cx="435714" cy="544019"/>
            </a:xfrm>
            <a:custGeom>
              <a:avLst/>
              <a:gdLst>
                <a:gd name="T0" fmla="*/ 57 w 111"/>
                <a:gd name="T1" fmla="*/ 0 h 140"/>
                <a:gd name="T2" fmla="*/ 0 w 111"/>
                <a:gd name="T3" fmla="*/ 54 h 140"/>
                <a:gd name="T4" fmla="*/ 0 w 111"/>
                <a:gd name="T5" fmla="*/ 60 h 140"/>
                <a:gd name="T6" fmla="*/ 3 w 111"/>
                <a:gd name="T7" fmla="*/ 65 h 140"/>
                <a:gd name="T8" fmla="*/ 19 w 111"/>
                <a:gd name="T9" fmla="*/ 100 h 140"/>
                <a:gd name="T10" fmla="*/ 33 w 111"/>
                <a:gd name="T11" fmla="*/ 130 h 140"/>
                <a:gd name="T12" fmla="*/ 33 w 111"/>
                <a:gd name="T13" fmla="*/ 135 h 140"/>
                <a:gd name="T14" fmla="*/ 38 w 111"/>
                <a:gd name="T15" fmla="*/ 140 h 140"/>
                <a:gd name="T16" fmla="*/ 73 w 111"/>
                <a:gd name="T17" fmla="*/ 140 h 140"/>
                <a:gd name="T18" fmla="*/ 78 w 111"/>
                <a:gd name="T19" fmla="*/ 135 h 140"/>
                <a:gd name="T20" fmla="*/ 78 w 111"/>
                <a:gd name="T21" fmla="*/ 130 h 140"/>
                <a:gd name="T22" fmla="*/ 92 w 111"/>
                <a:gd name="T23" fmla="*/ 100 h 140"/>
                <a:gd name="T24" fmla="*/ 111 w 111"/>
                <a:gd name="T25" fmla="*/ 65 h 140"/>
                <a:gd name="T26" fmla="*/ 111 w 111"/>
                <a:gd name="T27" fmla="*/ 60 h 140"/>
                <a:gd name="T28" fmla="*/ 111 w 111"/>
                <a:gd name="T29" fmla="*/ 54 h 140"/>
                <a:gd name="T30" fmla="*/ 57 w 111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40">
                  <a:moveTo>
                    <a:pt x="57" y="0"/>
                  </a:moveTo>
                  <a:cubicBezTo>
                    <a:pt x="25" y="0"/>
                    <a:pt x="0" y="24"/>
                    <a:pt x="0" y="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2"/>
                    <a:pt x="0" y="62"/>
                    <a:pt x="3" y="65"/>
                  </a:cubicBezTo>
                  <a:cubicBezTo>
                    <a:pt x="3" y="73"/>
                    <a:pt x="8" y="84"/>
                    <a:pt x="19" y="100"/>
                  </a:cubicBezTo>
                  <a:cubicBezTo>
                    <a:pt x="30" y="116"/>
                    <a:pt x="33" y="122"/>
                    <a:pt x="33" y="130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3" y="138"/>
                    <a:pt x="35" y="140"/>
                    <a:pt x="38" y="140"/>
                  </a:cubicBezTo>
                  <a:cubicBezTo>
                    <a:pt x="73" y="140"/>
                    <a:pt x="73" y="140"/>
                    <a:pt x="73" y="140"/>
                  </a:cubicBezTo>
                  <a:cubicBezTo>
                    <a:pt x="76" y="140"/>
                    <a:pt x="78" y="138"/>
                    <a:pt x="78" y="135"/>
                  </a:cubicBezTo>
                  <a:cubicBezTo>
                    <a:pt x="78" y="130"/>
                    <a:pt x="78" y="130"/>
                    <a:pt x="78" y="130"/>
                  </a:cubicBezTo>
                  <a:cubicBezTo>
                    <a:pt x="78" y="119"/>
                    <a:pt x="81" y="116"/>
                    <a:pt x="92" y="100"/>
                  </a:cubicBezTo>
                  <a:cubicBezTo>
                    <a:pt x="103" y="84"/>
                    <a:pt x="108" y="73"/>
                    <a:pt x="111" y="65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1" y="24"/>
                    <a:pt x="86" y="0"/>
                    <a:pt x="5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grpSp>
        <p:nvGrpSpPr>
          <p:cNvPr id="71" name="组合 70"/>
          <p:cNvGrpSpPr/>
          <p:nvPr/>
        </p:nvGrpSpPr>
        <p:grpSpPr>
          <a:xfrm>
            <a:off x="276807" y="4204319"/>
            <a:ext cx="982825" cy="313333"/>
            <a:chOff x="457923" y="4204320"/>
            <a:chExt cx="702704" cy="224028"/>
          </a:xfrm>
        </p:grpSpPr>
        <p:sp>
          <p:nvSpPr>
            <p:cNvPr id="72" name="Freeform 131"/>
            <p:cNvSpPr/>
            <p:nvPr/>
          </p:nvSpPr>
          <p:spPr bwMode="black">
            <a:xfrm>
              <a:off x="834058" y="4208142"/>
              <a:ext cx="326569" cy="209500"/>
            </a:xfrm>
            <a:custGeom>
              <a:avLst/>
              <a:gdLst>
                <a:gd name="T0" fmla="*/ 427 w 427"/>
                <a:gd name="T1" fmla="*/ 123 h 274"/>
                <a:gd name="T2" fmla="*/ 312 w 427"/>
                <a:gd name="T3" fmla="*/ 123 h 274"/>
                <a:gd name="T4" fmla="*/ 312 w 427"/>
                <a:gd name="T5" fmla="*/ 0 h 274"/>
                <a:gd name="T6" fmla="*/ 253 w 427"/>
                <a:gd name="T7" fmla="*/ 0 h 274"/>
                <a:gd name="T8" fmla="*/ 253 w 427"/>
                <a:gd name="T9" fmla="*/ 23 h 274"/>
                <a:gd name="T10" fmla="*/ 118 w 427"/>
                <a:gd name="T11" fmla="*/ 23 h 274"/>
                <a:gd name="T12" fmla="*/ 118 w 427"/>
                <a:gd name="T13" fmla="*/ 68 h 274"/>
                <a:gd name="T14" fmla="*/ 0 w 427"/>
                <a:gd name="T15" fmla="*/ 68 h 274"/>
                <a:gd name="T16" fmla="*/ 0 w 427"/>
                <a:gd name="T17" fmla="*/ 99 h 274"/>
                <a:gd name="T18" fmla="*/ 118 w 427"/>
                <a:gd name="T19" fmla="*/ 99 h 274"/>
                <a:gd name="T20" fmla="*/ 118 w 427"/>
                <a:gd name="T21" fmla="*/ 175 h 274"/>
                <a:gd name="T22" fmla="*/ 0 w 427"/>
                <a:gd name="T23" fmla="*/ 175 h 274"/>
                <a:gd name="T24" fmla="*/ 0 w 427"/>
                <a:gd name="T25" fmla="*/ 208 h 274"/>
                <a:gd name="T26" fmla="*/ 118 w 427"/>
                <a:gd name="T27" fmla="*/ 208 h 274"/>
                <a:gd name="T28" fmla="*/ 118 w 427"/>
                <a:gd name="T29" fmla="*/ 250 h 274"/>
                <a:gd name="T30" fmla="*/ 253 w 427"/>
                <a:gd name="T31" fmla="*/ 250 h 274"/>
                <a:gd name="T32" fmla="*/ 253 w 427"/>
                <a:gd name="T33" fmla="*/ 274 h 274"/>
                <a:gd name="T34" fmla="*/ 312 w 427"/>
                <a:gd name="T35" fmla="*/ 274 h 274"/>
                <a:gd name="T36" fmla="*/ 312 w 427"/>
                <a:gd name="T37" fmla="*/ 160 h 274"/>
                <a:gd name="T38" fmla="*/ 427 w 427"/>
                <a:gd name="T39" fmla="*/ 160 h 274"/>
                <a:gd name="T40" fmla="*/ 427 w 427"/>
                <a:gd name="T41" fmla="*/ 1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7" h="274">
                  <a:moveTo>
                    <a:pt x="427" y="123"/>
                  </a:moveTo>
                  <a:lnTo>
                    <a:pt x="312" y="123"/>
                  </a:lnTo>
                  <a:lnTo>
                    <a:pt x="312" y="0"/>
                  </a:lnTo>
                  <a:lnTo>
                    <a:pt x="253" y="0"/>
                  </a:lnTo>
                  <a:lnTo>
                    <a:pt x="253" y="23"/>
                  </a:lnTo>
                  <a:lnTo>
                    <a:pt x="118" y="23"/>
                  </a:lnTo>
                  <a:lnTo>
                    <a:pt x="118" y="68"/>
                  </a:lnTo>
                  <a:lnTo>
                    <a:pt x="0" y="68"/>
                  </a:lnTo>
                  <a:lnTo>
                    <a:pt x="0" y="99"/>
                  </a:lnTo>
                  <a:lnTo>
                    <a:pt x="118" y="99"/>
                  </a:lnTo>
                  <a:lnTo>
                    <a:pt x="118" y="175"/>
                  </a:lnTo>
                  <a:lnTo>
                    <a:pt x="0" y="175"/>
                  </a:lnTo>
                  <a:lnTo>
                    <a:pt x="0" y="208"/>
                  </a:lnTo>
                  <a:lnTo>
                    <a:pt x="118" y="208"/>
                  </a:lnTo>
                  <a:lnTo>
                    <a:pt x="118" y="250"/>
                  </a:lnTo>
                  <a:lnTo>
                    <a:pt x="253" y="250"/>
                  </a:lnTo>
                  <a:lnTo>
                    <a:pt x="253" y="274"/>
                  </a:lnTo>
                  <a:lnTo>
                    <a:pt x="312" y="274"/>
                  </a:lnTo>
                  <a:lnTo>
                    <a:pt x="312" y="160"/>
                  </a:lnTo>
                  <a:lnTo>
                    <a:pt x="427" y="160"/>
                  </a:lnTo>
                  <a:lnTo>
                    <a:pt x="427" y="1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3922" tIns="41961" rIns="83922" bIns="41961" numCol="1" anchor="t" anchorCtr="0" compatLnSpc="1"/>
            <a:lstStyle/>
            <a:p>
              <a:endParaRPr lang="en-US" sz="1600" dirty="0"/>
            </a:p>
          </p:txBody>
        </p:sp>
        <p:sp>
          <p:nvSpPr>
            <p:cNvPr id="73" name="Freeform 132"/>
            <p:cNvSpPr/>
            <p:nvPr/>
          </p:nvSpPr>
          <p:spPr bwMode="black">
            <a:xfrm>
              <a:off x="457923" y="4204320"/>
              <a:ext cx="335747" cy="224028"/>
            </a:xfrm>
            <a:custGeom>
              <a:avLst/>
              <a:gdLst>
                <a:gd name="T0" fmla="*/ 156 w 439"/>
                <a:gd name="T1" fmla="*/ 0 h 293"/>
                <a:gd name="T2" fmla="*/ 113 w 439"/>
                <a:gd name="T3" fmla="*/ 57 h 293"/>
                <a:gd name="T4" fmla="*/ 111 w 439"/>
                <a:gd name="T5" fmla="*/ 57 h 293"/>
                <a:gd name="T6" fmla="*/ 111 w 439"/>
                <a:gd name="T7" fmla="*/ 59 h 293"/>
                <a:gd name="T8" fmla="*/ 111 w 439"/>
                <a:gd name="T9" fmla="*/ 61 h 293"/>
                <a:gd name="T10" fmla="*/ 111 w 439"/>
                <a:gd name="T11" fmla="*/ 61 h 293"/>
                <a:gd name="T12" fmla="*/ 111 w 439"/>
                <a:gd name="T13" fmla="*/ 123 h 293"/>
                <a:gd name="T14" fmla="*/ 0 w 439"/>
                <a:gd name="T15" fmla="*/ 123 h 293"/>
                <a:gd name="T16" fmla="*/ 0 w 439"/>
                <a:gd name="T17" fmla="*/ 161 h 293"/>
                <a:gd name="T18" fmla="*/ 111 w 439"/>
                <a:gd name="T19" fmla="*/ 161 h 293"/>
                <a:gd name="T20" fmla="*/ 111 w 439"/>
                <a:gd name="T21" fmla="*/ 234 h 293"/>
                <a:gd name="T22" fmla="*/ 111 w 439"/>
                <a:gd name="T23" fmla="*/ 234 h 293"/>
                <a:gd name="T24" fmla="*/ 111 w 439"/>
                <a:gd name="T25" fmla="*/ 234 h 293"/>
                <a:gd name="T26" fmla="*/ 111 w 439"/>
                <a:gd name="T27" fmla="*/ 239 h 293"/>
                <a:gd name="T28" fmla="*/ 115 w 439"/>
                <a:gd name="T29" fmla="*/ 239 h 293"/>
                <a:gd name="T30" fmla="*/ 156 w 439"/>
                <a:gd name="T31" fmla="*/ 293 h 293"/>
                <a:gd name="T32" fmla="*/ 439 w 439"/>
                <a:gd name="T33" fmla="*/ 293 h 293"/>
                <a:gd name="T34" fmla="*/ 437 w 439"/>
                <a:gd name="T35" fmla="*/ 239 h 293"/>
                <a:gd name="T36" fmla="*/ 437 w 439"/>
                <a:gd name="T37" fmla="*/ 239 h 293"/>
                <a:gd name="T38" fmla="*/ 437 w 439"/>
                <a:gd name="T39" fmla="*/ 57 h 293"/>
                <a:gd name="T40" fmla="*/ 437 w 439"/>
                <a:gd name="T41" fmla="*/ 57 h 293"/>
                <a:gd name="T42" fmla="*/ 439 w 439"/>
                <a:gd name="T43" fmla="*/ 0 h 293"/>
                <a:gd name="T44" fmla="*/ 156 w 439"/>
                <a:gd name="T45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93">
                  <a:moveTo>
                    <a:pt x="156" y="0"/>
                  </a:moveTo>
                  <a:lnTo>
                    <a:pt x="113" y="57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1"/>
                  </a:lnTo>
                  <a:lnTo>
                    <a:pt x="111" y="61"/>
                  </a:lnTo>
                  <a:lnTo>
                    <a:pt x="111" y="123"/>
                  </a:lnTo>
                  <a:lnTo>
                    <a:pt x="0" y="123"/>
                  </a:lnTo>
                  <a:lnTo>
                    <a:pt x="0" y="161"/>
                  </a:lnTo>
                  <a:lnTo>
                    <a:pt x="111" y="161"/>
                  </a:lnTo>
                  <a:lnTo>
                    <a:pt x="111" y="234"/>
                  </a:lnTo>
                  <a:lnTo>
                    <a:pt x="111" y="234"/>
                  </a:lnTo>
                  <a:lnTo>
                    <a:pt x="111" y="234"/>
                  </a:lnTo>
                  <a:lnTo>
                    <a:pt x="111" y="239"/>
                  </a:lnTo>
                  <a:lnTo>
                    <a:pt x="115" y="239"/>
                  </a:lnTo>
                  <a:lnTo>
                    <a:pt x="156" y="293"/>
                  </a:lnTo>
                  <a:lnTo>
                    <a:pt x="439" y="293"/>
                  </a:lnTo>
                  <a:lnTo>
                    <a:pt x="437" y="239"/>
                  </a:lnTo>
                  <a:lnTo>
                    <a:pt x="437" y="239"/>
                  </a:lnTo>
                  <a:lnTo>
                    <a:pt x="437" y="57"/>
                  </a:lnTo>
                  <a:lnTo>
                    <a:pt x="437" y="57"/>
                  </a:lnTo>
                  <a:lnTo>
                    <a:pt x="439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3922" tIns="41961" rIns="83922" bIns="41961" numCol="1" anchor="t" anchorCtr="0" compatLnSpc="1"/>
            <a:lstStyle/>
            <a:p>
              <a:endParaRPr lang="en-US" sz="1600" dirty="0"/>
            </a:p>
          </p:txBody>
        </p:sp>
      </p:grpSp>
      <p:pic>
        <p:nvPicPr>
          <p:cNvPr id="74" name="Picture 4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703" y="1708660"/>
            <a:ext cx="966875" cy="646179"/>
          </a:xfrm>
          <a:prstGeom prst="rect">
            <a:avLst/>
          </a:prstGeom>
        </p:spPr>
      </p:pic>
      <p:pic>
        <p:nvPicPr>
          <p:cNvPr id="118" name="Picture 3" descr="C:\Users\v-junyo\Desktop\Dropbox\ZumTeam\Team_Resources\Design Resources\Icons\Metro_Style_Icons\paper_plane_64.png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896719" y="1774900"/>
            <a:ext cx="513564" cy="513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010" y="1676686"/>
            <a:ext cx="762000" cy="710127"/>
          </a:xfrm>
          <a:prstGeom prst="rect">
            <a:avLst/>
          </a:prstGeom>
        </p:spPr>
      </p:pic>
      <p:pic>
        <p:nvPicPr>
          <p:cNvPr id="120" name="Grafik 29"/>
          <p:cNvPicPr>
            <a:picLocks noChangeAspect="1"/>
          </p:cNvPicPr>
          <p:nvPr/>
        </p:nvPicPr>
        <p:blipFill>
          <a:blip r:embed="rId9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970" y="1794897"/>
            <a:ext cx="693078" cy="5383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8949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8949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8949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8949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12473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505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78" name="Picture 4" descr="\\MAGNUM\Projects\Microsoft\Cloud Power FY12\Design\Icons\PNGs\Factory.png"/>
          <p:cNvPicPr>
            <a:picLocks noChangeAspect="1" noChangeArrowheads="1"/>
          </p:cNvPicPr>
          <p:nvPr/>
        </p:nvPicPr>
        <p:blipFill>
          <a:blip r:embed="rId1" cstate="print">
            <a:lum bright="100000"/>
          </a:blip>
          <a:srcRect/>
          <a:stretch>
            <a:fillRect/>
          </a:stretch>
        </p:blipFill>
        <p:spPr bwMode="auto">
          <a:xfrm>
            <a:off x="291564" y="352397"/>
            <a:ext cx="1000152" cy="1000152"/>
          </a:xfrm>
          <a:prstGeom prst="rect">
            <a:avLst/>
          </a:prstGeom>
          <a:noFill/>
        </p:spPr>
      </p:pic>
      <p:pic>
        <p:nvPicPr>
          <p:cNvPr id="79" name="Picture 9" descr="\\MAGNUM\Projects\Microsoft\Cloud Power FY12\Design\Icons\PNGs\Branch.png"/>
          <p:cNvPicPr>
            <a:picLocks noChangeAspect="1" noChangeArrowheads="1"/>
          </p:cNvPicPr>
          <p:nvPr/>
        </p:nvPicPr>
        <p:blipFill>
          <a:blip r:embed="rId2" cstate="print">
            <a:lum bright="100000"/>
          </a:blip>
          <a:srcRect/>
          <a:stretch>
            <a:fillRect/>
          </a:stretch>
        </p:blipFill>
        <p:spPr bwMode="auto">
          <a:xfrm>
            <a:off x="1541432" y="330124"/>
            <a:ext cx="1044699" cy="1044699"/>
          </a:xfrm>
          <a:prstGeom prst="rect">
            <a:avLst/>
          </a:prstGeom>
          <a:noFill/>
        </p:spPr>
      </p:pic>
      <p:pic>
        <p:nvPicPr>
          <p:cNvPr id="80" name="Picture 7" descr="\\MAGNUM\Projects\Microsoft\Cloud Power FY12\Design\Icons\PNGs\Pooled.png"/>
          <p:cNvPicPr>
            <a:picLocks noChangeAspect="1" noChangeArrowheads="1"/>
          </p:cNvPicPr>
          <p:nvPr/>
        </p:nvPicPr>
        <p:blipFill>
          <a:blip r:embed="rId3" cstate="print">
            <a:lum bright="100000"/>
          </a:blip>
          <a:srcRect/>
          <a:stretch>
            <a:fillRect/>
          </a:stretch>
        </p:blipFill>
        <p:spPr bwMode="auto">
          <a:xfrm>
            <a:off x="2771800" y="285324"/>
            <a:ext cx="1134298" cy="1134298"/>
          </a:xfrm>
          <a:prstGeom prst="rect">
            <a:avLst/>
          </a:prstGeom>
          <a:noFill/>
        </p:spPr>
      </p:pic>
      <p:pic>
        <p:nvPicPr>
          <p:cNvPr id="81" name="Picture 2" descr="\\MAGNUM\Projects\Microsoft\Cloud Power FY12\Design\ICONS_PNG\Secure_Elastic.png"/>
          <p:cNvPicPr>
            <a:picLocks noChangeAspect="1" noChangeArrowheads="1"/>
          </p:cNvPicPr>
          <p:nvPr/>
        </p:nvPicPr>
        <p:blipFill>
          <a:blip r:embed="rId4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966" y="1635646"/>
            <a:ext cx="823349" cy="823136"/>
          </a:xfrm>
          <a:prstGeom prst="rect">
            <a:avLst/>
          </a:prstGeom>
          <a:noFill/>
        </p:spPr>
      </p:pic>
      <p:pic>
        <p:nvPicPr>
          <p:cNvPr id="82" name="Picture 2" descr="\\MAGNUM\Projects\Microsoft\Cloud Power FY12\Design\Icons\PNGs\Cash.png"/>
          <p:cNvPicPr>
            <a:picLocks noChangeAspect="1" noChangeArrowheads="1"/>
          </p:cNvPicPr>
          <p:nvPr/>
        </p:nvPicPr>
        <p:blipFill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7986" y="2708646"/>
            <a:ext cx="950713" cy="950464"/>
          </a:xfrm>
          <a:prstGeom prst="rect">
            <a:avLst/>
          </a:prstGeom>
          <a:noFill/>
        </p:spPr>
      </p:pic>
      <p:pic>
        <p:nvPicPr>
          <p:cNvPr id="83" name="Picture 5" descr="\\MAGNUM\Projects\Microsoft\Cloud Power FY12\Design\ICONS_PNG\Scale.png"/>
          <p:cNvPicPr>
            <a:picLocks noChangeAspect="1" noChangeArrowheads="1"/>
          </p:cNvPicPr>
          <p:nvPr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608" y="2715766"/>
            <a:ext cx="932346" cy="932103"/>
          </a:xfrm>
          <a:prstGeom prst="rect">
            <a:avLst/>
          </a:prstGeom>
          <a:noFill/>
        </p:spPr>
      </p:pic>
      <p:sp>
        <p:nvSpPr>
          <p:cNvPr id="84" name="Freeform 13"/>
          <p:cNvSpPr>
            <a:spLocks noEditPoints="1"/>
          </p:cNvSpPr>
          <p:nvPr/>
        </p:nvSpPr>
        <p:spPr bwMode="auto">
          <a:xfrm>
            <a:off x="1722985" y="1676606"/>
            <a:ext cx="688775" cy="751128"/>
          </a:xfrm>
          <a:custGeom>
            <a:avLst/>
            <a:gdLst>
              <a:gd name="T0" fmla="*/ 36 w 228"/>
              <a:gd name="T1" fmla="*/ 249 h 249"/>
              <a:gd name="T2" fmla="*/ 0 w 228"/>
              <a:gd name="T3" fmla="*/ 249 h 249"/>
              <a:gd name="T4" fmla="*/ 0 w 228"/>
              <a:gd name="T5" fmla="*/ 217 h 249"/>
              <a:gd name="T6" fmla="*/ 36 w 228"/>
              <a:gd name="T7" fmla="*/ 217 h 249"/>
              <a:gd name="T8" fmla="*/ 36 w 228"/>
              <a:gd name="T9" fmla="*/ 249 h 249"/>
              <a:gd name="T10" fmla="*/ 84 w 228"/>
              <a:gd name="T11" fmla="*/ 209 h 249"/>
              <a:gd name="T12" fmla="*/ 48 w 228"/>
              <a:gd name="T13" fmla="*/ 209 h 249"/>
              <a:gd name="T14" fmla="*/ 48 w 228"/>
              <a:gd name="T15" fmla="*/ 249 h 249"/>
              <a:gd name="T16" fmla="*/ 84 w 228"/>
              <a:gd name="T17" fmla="*/ 249 h 249"/>
              <a:gd name="T18" fmla="*/ 84 w 228"/>
              <a:gd name="T19" fmla="*/ 209 h 249"/>
              <a:gd name="T20" fmla="*/ 132 w 228"/>
              <a:gd name="T21" fmla="*/ 197 h 249"/>
              <a:gd name="T22" fmla="*/ 96 w 228"/>
              <a:gd name="T23" fmla="*/ 197 h 249"/>
              <a:gd name="T24" fmla="*/ 96 w 228"/>
              <a:gd name="T25" fmla="*/ 249 h 249"/>
              <a:gd name="T26" fmla="*/ 132 w 228"/>
              <a:gd name="T27" fmla="*/ 249 h 249"/>
              <a:gd name="T28" fmla="*/ 132 w 228"/>
              <a:gd name="T29" fmla="*/ 197 h 249"/>
              <a:gd name="T30" fmla="*/ 180 w 228"/>
              <a:gd name="T31" fmla="*/ 153 h 249"/>
              <a:gd name="T32" fmla="*/ 144 w 228"/>
              <a:gd name="T33" fmla="*/ 153 h 249"/>
              <a:gd name="T34" fmla="*/ 144 w 228"/>
              <a:gd name="T35" fmla="*/ 249 h 249"/>
              <a:gd name="T36" fmla="*/ 180 w 228"/>
              <a:gd name="T37" fmla="*/ 249 h 249"/>
              <a:gd name="T38" fmla="*/ 180 w 228"/>
              <a:gd name="T39" fmla="*/ 153 h 249"/>
              <a:gd name="T40" fmla="*/ 228 w 228"/>
              <a:gd name="T41" fmla="*/ 57 h 249"/>
              <a:gd name="T42" fmla="*/ 192 w 228"/>
              <a:gd name="T43" fmla="*/ 57 h 249"/>
              <a:gd name="T44" fmla="*/ 192 w 228"/>
              <a:gd name="T45" fmla="*/ 249 h 249"/>
              <a:gd name="T46" fmla="*/ 228 w 228"/>
              <a:gd name="T47" fmla="*/ 249 h 249"/>
              <a:gd name="T48" fmla="*/ 228 w 228"/>
              <a:gd name="T49" fmla="*/ 57 h 249"/>
              <a:gd name="T50" fmla="*/ 167 w 228"/>
              <a:gd name="T51" fmla="*/ 0 h 249"/>
              <a:gd name="T52" fmla="*/ 145 w 228"/>
              <a:gd name="T53" fmla="*/ 29 h 249"/>
              <a:gd name="T54" fmla="*/ 155 w 228"/>
              <a:gd name="T55" fmla="*/ 30 h 249"/>
              <a:gd name="T56" fmla="*/ 117 w 228"/>
              <a:gd name="T57" fmla="*/ 131 h 249"/>
              <a:gd name="T58" fmla="*/ 0 w 228"/>
              <a:gd name="T59" fmla="*/ 196 h 249"/>
              <a:gd name="T60" fmla="*/ 0 w 228"/>
              <a:gd name="T61" fmla="*/ 212 h 249"/>
              <a:gd name="T62" fmla="*/ 130 w 228"/>
              <a:gd name="T63" fmla="*/ 141 h 249"/>
              <a:gd name="T64" fmla="*/ 171 w 228"/>
              <a:gd name="T65" fmla="*/ 33 h 249"/>
              <a:gd name="T66" fmla="*/ 181 w 228"/>
              <a:gd name="T67" fmla="*/ 34 h 249"/>
              <a:gd name="T68" fmla="*/ 167 w 228"/>
              <a:gd name="T69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28" h="249">
                <a:moveTo>
                  <a:pt x="36" y="249"/>
                </a:moveTo>
                <a:cubicBezTo>
                  <a:pt x="0" y="249"/>
                  <a:pt x="0" y="249"/>
                  <a:pt x="0" y="249"/>
                </a:cubicBezTo>
                <a:cubicBezTo>
                  <a:pt x="0" y="217"/>
                  <a:pt x="0" y="217"/>
                  <a:pt x="0" y="217"/>
                </a:cubicBezTo>
                <a:cubicBezTo>
                  <a:pt x="36" y="217"/>
                  <a:pt x="36" y="217"/>
                  <a:pt x="36" y="217"/>
                </a:cubicBezTo>
                <a:lnTo>
                  <a:pt x="36" y="249"/>
                </a:lnTo>
                <a:close/>
                <a:moveTo>
                  <a:pt x="84" y="209"/>
                </a:moveTo>
                <a:cubicBezTo>
                  <a:pt x="48" y="209"/>
                  <a:pt x="48" y="209"/>
                  <a:pt x="48" y="209"/>
                </a:cubicBezTo>
                <a:cubicBezTo>
                  <a:pt x="48" y="249"/>
                  <a:pt x="48" y="249"/>
                  <a:pt x="48" y="249"/>
                </a:cubicBezTo>
                <a:cubicBezTo>
                  <a:pt x="84" y="249"/>
                  <a:pt x="84" y="249"/>
                  <a:pt x="84" y="249"/>
                </a:cubicBezTo>
                <a:lnTo>
                  <a:pt x="84" y="209"/>
                </a:lnTo>
                <a:close/>
                <a:moveTo>
                  <a:pt x="132" y="197"/>
                </a:moveTo>
                <a:cubicBezTo>
                  <a:pt x="96" y="197"/>
                  <a:pt x="96" y="197"/>
                  <a:pt x="96" y="197"/>
                </a:cubicBezTo>
                <a:cubicBezTo>
                  <a:pt x="96" y="249"/>
                  <a:pt x="96" y="249"/>
                  <a:pt x="96" y="249"/>
                </a:cubicBezTo>
                <a:cubicBezTo>
                  <a:pt x="132" y="249"/>
                  <a:pt x="132" y="249"/>
                  <a:pt x="132" y="249"/>
                </a:cubicBezTo>
                <a:lnTo>
                  <a:pt x="132" y="197"/>
                </a:lnTo>
                <a:close/>
                <a:moveTo>
                  <a:pt x="180" y="153"/>
                </a:moveTo>
                <a:cubicBezTo>
                  <a:pt x="144" y="153"/>
                  <a:pt x="144" y="153"/>
                  <a:pt x="144" y="153"/>
                </a:cubicBezTo>
                <a:cubicBezTo>
                  <a:pt x="144" y="249"/>
                  <a:pt x="144" y="249"/>
                  <a:pt x="144" y="249"/>
                </a:cubicBezTo>
                <a:cubicBezTo>
                  <a:pt x="180" y="249"/>
                  <a:pt x="180" y="249"/>
                  <a:pt x="180" y="249"/>
                </a:cubicBezTo>
                <a:lnTo>
                  <a:pt x="180" y="153"/>
                </a:lnTo>
                <a:close/>
                <a:moveTo>
                  <a:pt x="228" y="57"/>
                </a:moveTo>
                <a:cubicBezTo>
                  <a:pt x="192" y="57"/>
                  <a:pt x="192" y="57"/>
                  <a:pt x="192" y="57"/>
                </a:cubicBezTo>
                <a:cubicBezTo>
                  <a:pt x="192" y="249"/>
                  <a:pt x="192" y="249"/>
                  <a:pt x="192" y="249"/>
                </a:cubicBezTo>
                <a:cubicBezTo>
                  <a:pt x="228" y="249"/>
                  <a:pt x="228" y="249"/>
                  <a:pt x="228" y="249"/>
                </a:cubicBezTo>
                <a:lnTo>
                  <a:pt x="228" y="57"/>
                </a:lnTo>
                <a:close/>
                <a:moveTo>
                  <a:pt x="167" y="0"/>
                </a:moveTo>
                <a:cubicBezTo>
                  <a:pt x="145" y="29"/>
                  <a:pt x="145" y="29"/>
                  <a:pt x="145" y="29"/>
                </a:cubicBezTo>
                <a:cubicBezTo>
                  <a:pt x="155" y="30"/>
                  <a:pt x="155" y="30"/>
                  <a:pt x="155" y="30"/>
                </a:cubicBezTo>
                <a:cubicBezTo>
                  <a:pt x="150" y="58"/>
                  <a:pt x="139" y="104"/>
                  <a:pt x="117" y="131"/>
                </a:cubicBezTo>
                <a:cubicBezTo>
                  <a:pt x="83" y="174"/>
                  <a:pt x="20" y="191"/>
                  <a:pt x="0" y="196"/>
                </a:cubicBezTo>
                <a:cubicBezTo>
                  <a:pt x="0" y="212"/>
                  <a:pt x="0" y="212"/>
                  <a:pt x="0" y="212"/>
                </a:cubicBezTo>
                <a:cubicBezTo>
                  <a:pt x="17" y="209"/>
                  <a:pt x="90" y="191"/>
                  <a:pt x="130" y="141"/>
                </a:cubicBezTo>
                <a:cubicBezTo>
                  <a:pt x="152" y="112"/>
                  <a:pt x="164" y="67"/>
                  <a:pt x="171" y="33"/>
                </a:cubicBezTo>
                <a:cubicBezTo>
                  <a:pt x="181" y="34"/>
                  <a:pt x="181" y="34"/>
                  <a:pt x="181" y="34"/>
                </a:cubicBezTo>
                <a:lnTo>
                  <a:pt x="16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85" name="Picture 2" descr="\\MAGNUM\Projects\Microsoft\Cloud Power FY12\Design\ICONS_PNG\Building.png"/>
          <p:cNvPicPr>
            <a:picLocks noChangeAspect="1" noChangeArrowheads="1"/>
          </p:cNvPicPr>
          <p:nvPr/>
        </p:nvPicPr>
        <p:blipFill>
          <a:blip r:embed="rId7" cstate="print">
            <a:biLevel thresh="50000"/>
          </a:blip>
          <a:srcRect/>
          <a:stretch>
            <a:fillRect/>
          </a:stretch>
        </p:blipFill>
        <p:spPr bwMode="auto">
          <a:xfrm>
            <a:off x="4105005" y="411510"/>
            <a:ext cx="971051" cy="852613"/>
          </a:xfrm>
          <a:prstGeom prst="rect">
            <a:avLst/>
          </a:prstGeom>
          <a:noFill/>
        </p:spPr>
      </p:pic>
      <p:pic>
        <p:nvPicPr>
          <p:cNvPr id="86" name="Picture 5" descr="\\MAGNUM\Projects\Microsoft\Journey to the Cloud Campaign\102810 Drop\PUBLIC ICONS\Integrity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3094" y="2893595"/>
            <a:ext cx="747898" cy="503938"/>
          </a:xfrm>
          <a:prstGeom prst="rect">
            <a:avLst/>
          </a:prstGeom>
          <a:noFill/>
        </p:spPr>
      </p:pic>
      <p:sp>
        <p:nvSpPr>
          <p:cNvPr id="88" name="Freeform 134"/>
          <p:cNvSpPr>
            <a:spLocks noChangeAspect="1" noEditPoints="1"/>
          </p:cNvSpPr>
          <p:nvPr/>
        </p:nvSpPr>
        <p:spPr bwMode="black">
          <a:xfrm>
            <a:off x="323528" y="4011910"/>
            <a:ext cx="887031" cy="651977"/>
          </a:xfrm>
          <a:custGeom>
            <a:avLst/>
            <a:gdLst>
              <a:gd name="T0" fmla="*/ 333 w 666"/>
              <a:gd name="T1" fmla="*/ 125 h 720"/>
              <a:gd name="T2" fmla="*/ 126 w 666"/>
              <a:gd name="T3" fmla="*/ 90 h 720"/>
              <a:gd name="T4" fmla="*/ 56 w 666"/>
              <a:gd name="T5" fmla="*/ 502 h 720"/>
              <a:gd name="T6" fmla="*/ 324 w 666"/>
              <a:gd name="T7" fmla="*/ 720 h 720"/>
              <a:gd name="T8" fmla="*/ 402 w 666"/>
              <a:gd name="T9" fmla="*/ 352 h 720"/>
              <a:gd name="T10" fmla="*/ 476 w 666"/>
              <a:gd name="T11" fmla="*/ 315 h 720"/>
              <a:gd name="T12" fmla="*/ 462 w 666"/>
              <a:gd name="T13" fmla="*/ 318 h 720"/>
              <a:gd name="T14" fmla="*/ 548 w 666"/>
              <a:gd name="T15" fmla="*/ 205 h 720"/>
              <a:gd name="T16" fmla="*/ 403 w 666"/>
              <a:gd name="T17" fmla="*/ 241 h 720"/>
              <a:gd name="T18" fmla="*/ 328 w 666"/>
              <a:gd name="T19" fmla="*/ 215 h 720"/>
              <a:gd name="T20" fmla="*/ 314 w 666"/>
              <a:gd name="T21" fmla="*/ 381 h 720"/>
              <a:gd name="T22" fmla="*/ 325 w 666"/>
              <a:gd name="T23" fmla="*/ 377 h 720"/>
              <a:gd name="T24" fmla="*/ 285 w 666"/>
              <a:gd name="T25" fmla="*/ 474 h 720"/>
              <a:gd name="T26" fmla="*/ 285 w 666"/>
              <a:gd name="T27" fmla="*/ 474 h 720"/>
              <a:gd name="T28" fmla="*/ 228 w 666"/>
              <a:gd name="T29" fmla="*/ 414 h 720"/>
              <a:gd name="T30" fmla="*/ 229 w 666"/>
              <a:gd name="T31" fmla="*/ 593 h 720"/>
              <a:gd name="T32" fmla="*/ 221 w 666"/>
              <a:gd name="T33" fmla="*/ 521 h 720"/>
              <a:gd name="T34" fmla="*/ 234 w 666"/>
              <a:gd name="T35" fmla="*/ 278 h 720"/>
              <a:gd name="T36" fmla="*/ 297 w 666"/>
              <a:gd name="T37" fmla="*/ 135 h 720"/>
              <a:gd name="T38" fmla="*/ 268 w 666"/>
              <a:gd name="T39" fmla="*/ 314 h 720"/>
              <a:gd name="T40" fmla="*/ 280 w 666"/>
              <a:gd name="T41" fmla="*/ 377 h 720"/>
              <a:gd name="T42" fmla="*/ 288 w 666"/>
              <a:gd name="T43" fmla="*/ 374 h 720"/>
              <a:gd name="T44" fmla="*/ 289 w 666"/>
              <a:gd name="T45" fmla="*/ 300 h 720"/>
              <a:gd name="T46" fmla="*/ 409 w 666"/>
              <a:gd name="T47" fmla="*/ 156 h 720"/>
              <a:gd name="T48" fmla="*/ 317 w 666"/>
              <a:gd name="T49" fmla="*/ 123 h 720"/>
              <a:gd name="T50" fmla="*/ 275 w 666"/>
              <a:gd name="T51" fmla="*/ 5 h 720"/>
              <a:gd name="T52" fmla="*/ 171 w 666"/>
              <a:gd name="T53" fmla="*/ 54 h 720"/>
              <a:gd name="T54" fmla="*/ 226 w 666"/>
              <a:gd name="T55" fmla="*/ 108 h 720"/>
              <a:gd name="T56" fmla="*/ 166 w 666"/>
              <a:gd name="T57" fmla="*/ 57 h 720"/>
              <a:gd name="T58" fmla="*/ 150 w 666"/>
              <a:gd name="T59" fmla="*/ 102 h 720"/>
              <a:gd name="T60" fmla="*/ 203 w 666"/>
              <a:gd name="T61" fmla="*/ 117 h 720"/>
              <a:gd name="T62" fmla="*/ 227 w 666"/>
              <a:gd name="T63" fmla="*/ 309 h 720"/>
              <a:gd name="T64" fmla="*/ 188 w 666"/>
              <a:gd name="T65" fmla="*/ 383 h 720"/>
              <a:gd name="T66" fmla="*/ 144 w 666"/>
              <a:gd name="T67" fmla="*/ 453 h 720"/>
              <a:gd name="T68" fmla="*/ 144 w 666"/>
              <a:gd name="T69" fmla="*/ 453 h 720"/>
              <a:gd name="T70" fmla="*/ 125 w 666"/>
              <a:gd name="T71" fmla="*/ 463 h 720"/>
              <a:gd name="T72" fmla="*/ 27 w 666"/>
              <a:gd name="T73" fmla="*/ 564 h 720"/>
              <a:gd name="T74" fmla="*/ 71 w 666"/>
              <a:gd name="T75" fmla="*/ 639 h 720"/>
              <a:gd name="T76" fmla="*/ 169 w 666"/>
              <a:gd name="T77" fmla="*/ 571 h 720"/>
              <a:gd name="T78" fmla="*/ 171 w 666"/>
              <a:gd name="T79" fmla="*/ 687 h 720"/>
              <a:gd name="T80" fmla="*/ 171 w 666"/>
              <a:gd name="T81" fmla="*/ 687 h 720"/>
              <a:gd name="T82" fmla="*/ 353 w 666"/>
              <a:gd name="T83" fmla="*/ 644 h 720"/>
              <a:gd name="T84" fmla="*/ 179 w 666"/>
              <a:gd name="T85" fmla="*/ 689 h 720"/>
              <a:gd name="T86" fmla="*/ 381 w 666"/>
              <a:gd name="T87" fmla="*/ 546 h 720"/>
              <a:gd name="T88" fmla="*/ 381 w 666"/>
              <a:gd name="T89" fmla="*/ 546 h 720"/>
              <a:gd name="T90" fmla="*/ 384 w 666"/>
              <a:gd name="T91" fmla="*/ 530 h 720"/>
              <a:gd name="T92" fmla="*/ 393 w 666"/>
              <a:gd name="T93" fmla="*/ 432 h 720"/>
              <a:gd name="T94" fmla="*/ 451 w 666"/>
              <a:gd name="T95" fmla="*/ 321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66" h="720">
                <a:moveTo>
                  <a:pt x="666" y="290"/>
                </a:moveTo>
                <a:cubicBezTo>
                  <a:pt x="663" y="286"/>
                  <a:pt x="663" y="286"/>
                  <a:pt x="663" y="286"/>
                </a:cubicBezTo>
                <a:cubicBezTo>
                  <a:pt x="624" y="224"/>
                  <a:pt x="564" y="167"/>
                  <a:pt x="384" y="134"/>
                </a:cubicBezTo>
                <a:cubicBezTo>
                  <a:pt x="369" y="131"/>
                  <a:pt x="353" y="128"/>
                  <a:pt x="333" y="125"/>
                </a:cubicBezTo>
                <a:cubicBezTo>
                  <a:pt x="306" y="78"/>
                  <a:pt x="286" y="36"/>
                  <a:pt x="278" y="0"/>
                </a:cubicBezTo>
                <a:cubicBezTo>
                  <a:pt x="257" y="6"/>
                  <a:pt x="145" y="45"/>
                  <a:pt x="123" y="74"/>
                </a:cubicBezTo>
                <a:cubicBezTo>
                  <a:pt x="123" y="73"/>
                  <a:pt x="123" y="73"/>
                  <a:pt x="123" y="73"/>
                </a:cubicBezTo>
                <a:cubicBezTo>
                  <a:pt x="118" y="80"/>
                  <a:pt x="122" y="86"/>
                  <a:pt x="126" y="90"/>
                </a:cubicBezTo>
                <a:cubicBezTo>
                  <a:pt x="166" y="137"/>
                  <a:pt x="225" y="164"/>
                  <a:pt x="225" y="259"/>
                </a:cubicBezTo>
                <a:cubicBezTo>
                  <a:pt x="225" y="346"/>
                  <a:pt x="147" y="427"/>
                  <a:pt x="68" y="492"/>
                </a:cubicBezTo>
                <a:cubicBezTo>
                  <a:pt x="64" y="495"/>
                  <a:pt x="60" y="498"/>
                  <a:pt x="56" y="502"/>
                </a:cubicBezTo>
                <a:cubicBezTo>
                  <a:pt x="56" y="502"/>
                  <a:pt x="56" y="502"/>
                  <a:pt x="56" y="502"/>
                </a:cubicBezTo>
                <a:cubicBezTo>
                  <a:pt x="36" y="519"/>
                  <a:pt x="14" y="545"/>
                  <a:pt x="8" y="569"/>
                </a:cubicBezTo>
                <a:cubicBezTo>
                  <a:pt x="0" y="604"/>
                  <a:pt x="27" y="632"/>
                  <a:pt x="55" y="652"/>
                </a:cubicBezTo>
                <a:cubicBezTo>
                  <a:pt x="86" y="674"/>
                  <a:pt x="119" y="685"/>
                  <a:pt x="156" y="696"/>
                </a:cubicBezTo>
                <a:cubicBezTo>
                  <a:pt x="198" y="708"/>
                  <a:pt x="281" y="719"/>
                  <a:pt x="324" y="720"/>
                </a:cubicBezTo>
                <a:cubicBezTo>
                  <a:pt x="327" y="720"/>
                  <a:pt x="331" y="719"/>
                  <a:pt x="331" y="719"/>
                </a:cubicBezTo>
                <a:cubicBezTo>
                  <a:pt x="331" y="719"/>
                  <a:pt x="333" y="716"/>
                  <a:pt x="333" y="715"/>
                </a:cubicBezTo>
                <a:cubicBezTo>
                  <a:pt x="337" y="709"/>
                  <a:pt x="386" y="616"/>
                  <a:pt x="400" y="538"/>
                </a:cubicBezTo>
                <a:cubicBezTo>
                  <a:pt x="408" y="487"/>
                  <a:pt x="415" y="418"/>
                  <a:pt x="402" y="352"/>
                </a:cubicBezTo>
                <a:cubicBezTo>
                  <a:pt x="492" y="325"/>
                  <a:pt x="596" y="300"/>
                  <a:pt x="666" y="290"/>
                </a:cubicBezTo>
                <a:close/>
                <a:moveTo>
                  <a:pt x="650" y="282"/>
                </a:moveTo>
                <a:cubicBezTo>
                  <a:pt x="651" y="283"/>
                  <a:pt x="653" y="284"/>
                  <a:pt x="655" y="285"/>
                </a:cubicBezTo>
                <a:cubicBezTo>
                  <a:pt x="633" y="287"/>
                  <a:pt x="570" y="291"/>
                  <a:pt x="476" y="315"/>
                </a:cubicBezTo>
                <a:cubicBezTo>
                  <a:pt x="515" y="278"/>
                  <a:pt x="535" y="255"/>
                  <a:pt x="556" y="207"/>
                </a:cubicBezTo>
                <a:cubicBezTo>
                  <a:pt x="602" y="232"/>
                  <a:pt x="634" y="263"/>
                  <a:pt x="650" y="282"/>
                </a:cubicBezTo>
                <a:close/>
                <a:moveTo>
                  <a:pt x="462" y="318"/>
                </a:moveTo>
                <a:cubicBezTo>
                  <a:pt x="462" y="318"/>
                  <a:pt x="462" y="318"/>
                  <a:pt x="462" y="318"/>
                </a:cubicBezTo>
                <a:cubicBezTo>
                  <a:pt x="462" y="318"/>
                  <a:pt x="462" y="318"/>
                  <a:pt x="462" y="318"/>
                </a:cubicBezTo>
                <a:cubicBezTo>
                  <a:pt x="462" y="318"/>
                  <a:pt x="462" y="318"/>
                  <a:pt x="462" y="318"/>
                </a:cubicBezTo>
                <a:cubicBezTo>
                  <a:pt x="446" y="293"/>
                  <a:pt x="427" y="273"/>
                  <a:pt x="405" y="257"/>
                </a:cubicBezTo>
                <a:cubicBezTo>
                  <a:pt x="448" y="237"/>
                  <a:pt x="496" y="220"/>
                  <a:pt x="548" y="205"/>
                </a:cubicBezTo>
                <a:cubicBezTo>
                  <a:pt x="531" y="234"/>
                  <a:pt x="504" y="265"/>
                  <a:pt x="462" y="318"/>
                </a:cubicBezTo>
                <a:close/>
                <a:moveTo>
                  <a:pt x="509" y="186"/>
                </a:moveTo>
                <a:cubicBezTo>
                  <a:pt x="520" y="190"/>
                  <a:pt x="530" y="194"/>
                  <a:pt x="540" y="199"/>
                </a:cubicBezTo>
                <a:cubicBezTo>
                  <a:pt x="489" y="210"/>
                  <a:pt x="444" y="225"/>
                  <a:pt x="403" y="241"/>
                </a:cubicBezTo>
                <a:cubicBezTo>
                  <a:pt x="419" y="211"/>
                  <a:pt x="426" y="183"/>
                  <a:pt x="427" y="160"/>
                </a:cubicBezTo>
                <a:cubicBezTo>
                  <a:pt x="455" y="167"/>
                  <a:pt x="482" y="175"/>
                  <a:pt x="509" y="186"/>
                </a:cubicBezTo>
                <a:close/>
                <a:moveTo>
                  <a:pt x="385" y="243"/>
                </a:moveTo>
                <a:cubicBezTo>
                  <a:pt x="367" y="232"/>
                  <a:pt x="347" y="223"/>
                  <a:pt x="328" y="215"/>
                </a:cubicBezTo>
                <a:cubicBezTo>
                  <a:pt x="354" y="196"/>
                  <a:pt x="385" y="177"/>
                  <a:pt x="420" y="159"/>
                </a:cubicBezTo>
                <a:cubicBezTo>
                  <a:pt x="418" y="179"/>
                  <a:pt x="407" y="207"/>
                  <a:pt x="385" y="243"/>
                </a:cubicBezTo>
                <a:close/>
                <a:moveTo>
                  <a:pt x="312" y="382"/>
                </a:moveTo>
                <a:cubicBezTo>
                  <a:pt x="312" y="382"/>
                  <a:pt x="313" y="381"/>
                  <a:pt x="314" y="381"/>
                </a:cubicBezTo>
                <a:cubicBezTo>
                  <a:pt x="333" y="394"/>
                  <a:pt x="376" y="419"/>
                  <a:pt x="392" y="425"/>
                </a:cubicBezTo>
                <a:cubicBezTo>
                  <a:pt x="371" y="440"/>
                  <a:pt x="341" y="457"/>
                  <a:pt x="299" y="475"/>
                </a:cubicBezTo>
                <a:cubicBezTo>
                  <a:pt x="310" y="435"/>
                  <a:pt x="313" y="402"/>
                  <a:pt x="312" y="382"/>
                </a:cubicBezTo>
                <a:close/>
                <a:moveTo>
                  <a:pt x="325" y="377"/>
                </a:moveTo>
                <a:cubicBezTo>
                  <a:pt x="344" y="371"/>
                  <a:pt x="365" y="364"/>
                  <a:pt x="387" y="357"/>
                </a:cubicBezTo>
                <a:cubicBezTo>
                  <a:pt x="390" y="378"/>
                  <a:pt x="392" y="400"/>
                  <a:pt x="392" y="420"/>
                </a:cubicBezTo>
                <a:cubicBezTo>
                  <a:pt x="374" y="410"/>
                  <a:pt x="341" y="389"/>
                  <a:pt x="325" y="377"/>
                </a:cubicBezTo>
                <a:close/>
                <a:moveTo>
                  <a:pt x="285" y="474"/>
                </a:moveTo>
                <a:cubicBezTo>
                  <a:pt x="265" y="457"/>
                  <a:pt x="246" y="433"/>
                  <a:pt x="239" y="410"/>
                </a:cubicBezTo>
                <a:cubicBezTo>
                  <a:pt x="253" y="404"/>
                  <a:pt x="268" y="398"/>
                  <a:pt x="283" y="392"/>
                </a:cubicBezTo>
                <a:cubicBezTo>
                  <a:pt x="288" y="390"/>
                  <a:pt x="293" y="389"/>
                  <a:pt x="298" y="387"/>
                </a:cubicBezTo>
                <a:cubicBezTo>
                  <a:pt x="301" y="414"/>
                  <a:pt x="295" y="444"/>
                  <a:pt x="285" y="474"/>
                </a:cubicBezTo>
                <a:close/>
                <a:moveTo>
                  <a:pt x="209" y="509"/>
                </a:moveTo>
                <a:cubicBezTo>
                  <a:pt x="199" y="512"/>
                  <a:pt x="187" y="516"/>
                  <a:pt x="173" y="521"/>
                </a:cubicBezTo>
                <a:cubicBezTo>
                  <a:pt x="185" y="503"/>
                  <a:pt x="212" y="452"/>
                  <a:pt x="224" y="416"/>
                </a:cubicBezTo>
                <a:cubicBezTo>
                  <a:pt x="225" y="415"/>
                  <a:pt x="227" y="415"/>
                  <a:pt x="228" y="414"/>
                </a:cubicBezTo>
                <a:cubicBezTo>
                  <a:pt x="238" y="445"/>
                  <a:pt x="262" y="470"/>
                  <a:pt x="279" y="484"/>
                </a:cubicBezTo>
                <a:cubicBezTo>
                  <a:pt x="258" y="492"/>
                  <a:pt x="235" y="500"/>
                  <a:pt x="209" y="509"/>
                </a:cubicBezTo>
                <a:close/>
                <a:moveTo>
                  <a:pt x="276" y="499"/>
                </a:moveTo>
                <a:cubicBezTo>
                  <a:pt x="263" y="532"/>
                  <a:pt x="246" y="565"/>
                  <a:pt x="229" y="593"/>
                </a:cubicBezTo>
                <a:cubicBezTo>
                  <a:pt x="229" y="594"/>
                  <a:pt x="229" y="594"/>
                  <a:pt x="229" y="594"/>
                </a:cubicBezTo>
                <a:cubicBezTo>
                  <a:pt x="220" y="589"/>
                  <a:pt x="212" y="584"/>
                  <a:pt x="205" y="578"/>
                </a:cubicBezTo>
                <a:cubicBezTo>
                  <a:pt x="189" y="567"/>
                  <a:pt x="174" y="553"/>
                  <a:pt x="163" y="538"/>
                </a:cubicBezTo>
                <a:cubicBezTo>
                  <a:pt x="183" y="533"/>
                  <a:pt x="202" y="527"/>
                  <a:pt x="221" y="521"/>
                </a:cubicBezTo>
                <a:cubicBezTo>
                  <a:pt x="241" y="514"/>
                  <a:pt x="259" y="507"/>
                  <a:pt x="276" y="499"/>
                </a:cubicBezTo>
                <a:close/>
                <a:moveTo>
                  <a:pt x="231" y="205"/>
                </a:moveTo>
                <a:cubicBezTo>
                  <a:pt x="249" y="208"/>
                  <a:pt x="270" y="215"/>
                  <a:pt x="294" y="224"/>
                </a:cubicBezTo>
                <a:cubicBezTo>
                  <a:pt x="276" y="238"/>
                  <a:pt x="256" y="256"/>
                  <a:pt x="234" y="278"/>
                </a:cubicBezTo>
                <a:cubicBezTo>
                  <a:pt x="237" y="252"/>
                  <a:pt x="235" y="228"/>
                  <a:pt x="231" y="205"/>
                </a:cubicBezTo>
                <a:close/>
                <a:moveTo>
                  <a:pt x="236" y="187"/>
                </a:moveTo>
                <a:cubicBezTo>
                  <a:pt x="251" y="170"/>
                  <a:pt x="272" y="153"/>
                  <a:pt x="297" y="135"/>
                </a:cubicBezTo>
                <a:cubicBezTo>
                  <a:pt x="297" y="135"/>
                  <a:pt x="297" y="135"/>
                  <a:pt x="297" y="135"/>
                </a:cubicBezTo>
                <a:cubicBezTo>
                  <a:pt x="305" y="158"/>
                  <a:pt x="307" y="182"/>
                  <a:pt x="305" y="207"/>
                </a:cubicBezTo>
                <a:cubicBezTo>
                  <a:pt x="282" y="199"/>
                  <a:pt x="258" y="193"/>
                  <a:pt x="236" y="187"/>
                </a:cubicBezTo>
                <a:close/>
                <a:moveTo>
                  <a:pt x="301" y="235"/>
                </a:moveTo>
                <a:cubicBezTo>
                  <a:pt x="295" y="261"/>
                  <a:pt x="284" y="288"/>
                  <a:pt x="268" y="314"/>
                </a:cubicBezTo>
                <a:cubicBezTo>
                  <a:pt x="257" y="301"/>
                  <a:pt x="245" y="294"/>
                  <a:pt x="236" y="290"/>
                </a:cubicBezTo>
                <a:cubicBezTo>
                  <a:pt x="248" y="279"/>
                  <a:pt x="270" y="259"/>
                  <a:pt x="301" y="235"/>
                </a:cubicBezTo>
                <a:close/>
                <a:moveTo>
                  <a:pt x="264" y="338"/>
                </a:moveTo>
                <a:cubicBezTo>
                  <a:pt x="274" y="351"/>
                  <a:pt x="279" y="365"/>
                  <a:pt x="280" y="377"/>
                </a:cubicBezTo>
                <a:cubicBezTo>
                  <a:pt x="237" y="393"/>
                  <a:pt x="203" y="407"/>
                  <a:pt x="170" y="424"/>
                </a:cubicBezTo>
                <a:cubicBezTo>
                  <a:pt x="210" y="396"/>
                  <a:pt x="241" y="367"/>
                  <a:pt x="264" y="338"/>
                </a:cubicBezTo>
                <a:close/>
                <a:moveTo>
                  <a:pt x="288" y="374"/>
                </a:moveTo>
                <a:cubicBezTo>
                  <a:pt x="288" y="374"/>
                  <a:pt x="288" y="374"/>
                  <a:pt x="288" y="374"/>
                </a:cubicBezTo>
                <a:cubicBezTo>
                  <a:pt x="288" y="353"/>
                  <a:pt x="283" y="337"/>
                  <a:pt x="275" y="325"/>
                </a:cubicBezTo>
                <a:cubicBezTo>
                  <a:pt x="301" y="309"/>
                  <a:pt x="331" y="292"/>
                  <a:pt x="365" y="276"/>
                </a:cubicBezTo>
                <a:cubicBezTo>
                  <a:pt x="345" y="305"/>
                  <a:pt x="319" y="338"/>
                  <a:pt x="288" y="374"/>
                </a:cubicBezTo>
                <a:close/>
                <a:moveTo>
                  <a:pt x="289" y="300"/>
                </a:moveTo>
                <a:cubicBezTo>
                  <a:pt x="302" y="277"/>
                  <a:pt x="311" y="254"/>
                  <a:pt x="315" y="232"/>
                </a:cubicBezTo>
                <a:cubicBezTo>
                  <a:pt x="332" y="240"/>
                  <a:pt x="349" y="248"/>
                  <a:pt x="366" y="258"/>
                </a:cubicBezTo>
                <a:cubicBezTo>
                  <a:pt x="338" y="272"/>
                  <a:pt x="312" y="286"/>
                  <a:pt x="289" y="300"/>
                </a:cubicBezTo>
                <a:close/>
                <a:moveTo>
                  <a:pt x="409" y="156"/>
                </a:moveTo>
                <a:cubicBezTo>
                  <a:pt x="376" y="170"/>
                  <a:pt x="348" y="184"/>
                  <a:pt x="318" y="205"/>
                </a:cubicBezTo>
                <a:cubicBezTo>
                  <a:pt x="319" y="180"/>
                  <a:pt x="314" y="156"/>
                  <a:pt x="304" y="136"/>
                </a:cubicBezTo>
                <a:cubicBezTo>
                  <a:pt x="339" y="142"/>
                  <a:pt x="374" y="148"/>
                  <a:pt x="409" y="156"/>
                </a:cubicBezTo>
                <a:close/>
                <a:moveTo>
                  <a:pt x="317" y="123"/>
                </a:moveTo>
                <a:cubicBezTo>
                  <a:pt x="299" y="120"/>
                  <a:pt x="278" y="117"/>
                  <a:pt x="254" y="113"/>
                </a:cubicBezTo>
                <a:cubicBezTo>
                  <a:pt x="271" y="104"/>
                  <a:pt x="283" y="95"/>
                  <a:pt x="296" y="83"/>
                </a:cubicBezTo>
                <a:cubicBezTo>
                  <a:pt x="302" y="96"/>
                  <a:pt x="309" y="109"/>
                  <a:pt x="317" y="123"/>
                </a:cubicBezTo>
                <a:close/>
                <a:moveTo>
                  <a:pt x="275" y="5"/>
                </a:moveTo>
                <a:cubicBezTo>
                  <a:pt x="277" y="27"/>
                  <a:pt x="282" y="48"/>
                  <a:pt x="291" y="69"/>
                </a:cubicBezTo>
                <a:cubicBezTo>
                  <a:pt x="264" y="62"/>
                  <a:pt x="200" y="53"/>
                  <a:pt x="178" y="50"/>
                </a:cubicBezTo>
                <a:cubicBezTo>
                  <a:pt x="216" y="27"/>
                  <a:pt x="269" y="8"/>
                  <a:pt x="275" y="5"/>
                </a:cubicBezTo>
                <a:close/>
                <a:moveTo>
                  <a:pt x="171" y="54"/>
                </a:moveTo>
                <a:cubicBezTo>
                  <a:pt x="191" y="62"/>
                  <a:pt x="259" y="76"/>
                  <a:pt x="294" y="78"/>
                </a:cubicBezTo>
                <a:cubicBezTo>
                  <a:pt x="294" y="78"/>
                  <a:pt x="294" y="78"/>
                  <a:pt x="294" y="78"/>
                </a:cubicBezTo>
                <a:cubicBezTo>
                  <a:pt x="282" y="84"/>
                  <a:pt x="261" y="95"/>
                  <a:pt x="237" y="110"/>
                </a:cubicBezTo>
                <a:cubicBezTo>
                  <a:pt x="234" y="109"/>
                  <a:pt x="230" y="109"/>
                  <a:pt x="226" y="108"/>
                </a:cubicBezTo>
                <a:cubicBezTo>
                  <a:pt x="210" y="93"/>
                  <a:pt x="180" y="63"/>
                  <a:pt x="171" y="55"/>
                </a:cubicBezTo>
                <a:cubicBezTo>
                  <a:pt x="171" y="55"/>
                  <a:pt x="171" y="54"/>
                  <a:pt x="171" y="54"/>
                </a:cubicBezTo>
                <a:close/>
                <a:moveTo>
                  <a:pt x="155" y="66"/>
                </a:moveTo>
                <a:cubicBezTo>
                  <a:pt x="158" y="63"/>
                  <a:pt x="162" y="60"/>
                  <a:pt x="166" y="57"/>
                </a:cubicBezTo>
                <a:cubicBezTo>
                  <a:pt x="174" y="67"/>
                  <a:pt x="191" y="89"/>
                  <a:pt x="204" y="104"/>
                </a:cubicBezTo>
                <a:cubicBezTo>
                  <a:pt x="184" y="101"/>
                  <a:pt x="157" y="96"/>
                  <a:pt x="140" y="89"/>
                </a:cubicBezTo>
                <a:cubicBezTo>
                  <a:pt x="140" y="80"/>
                  <a:pt x="149" y="71"/>
                  <a:pt x="155" y="66"/>
                </a:cubicBezTo>
                <a:close/>
                <a:moveTo>
                  <a:pt x="150" y="102"/>
                </a:moveTo>
                <a:cubicBezTo>
                  <a:pt x="162" y="107"/>
                  <a:pt x="179" y="111"/>
                  <a:pt x="196" y="115"/>
                </a:cubicBezTo>
                <a:cubicBezTo>
                  <a:pt x="203" y="137"/>
                  <a:pt x="209" y="157"/>
                  <a:pt x="214" y="175"/>
                </a:cubicBezTo>
                <a:cubicBezTo>
                  <a:pt x="199" y="147"/>
                  <a:pt x="177" y="123"/>
                  <a:pt x="150" y="102"/>
                </a:cubicBezTo>
                <a:close/>
                <a:moveTo>
                  <a:pt x="203" y="117"/>
                </a:moveTo>
                <a:cubicBezTo>
                  <a:pt x="235" y="124"/>
                  <a:pt x="269" y="130"/>
                  <a:pt x="288" y="133"/>
                </a:cubicBezTo>
                <a:cubicBezTo>
                  <a:pt x="274" y="141"/>
                  <a:pt x="241" y="160"/>
                  <a:pt x="226" y="180"/>
                </a:cubicBezTo>
                <a:cubicBezTo>
                  <a:pt x="218" y="150"/>
                  <a:pt x="208" y="128"/>
                  <a:pt x="203" y="117"/>
                </a:cubicBezTo>
                <a:close/>
                <a:moveTo>
                  <a:pt x="227" y="309"/>
                </a:moveTo>
                <a:cubicBezTo>
                  <a:pt x="237" y="314"/>
                  <a:pt x="245" y="319"/>
                  <a:pt x="252" y="325"/>
                </a:cubicBezTo>
                <a:cubicBezTo>
                  <a:pt x="233" y="339"/>
                  <a:pt x="216" y="352"/>
                  <a:pt x="201" y="364"/>
                </a:cubicBezTo>
                <a:cubicBezTo>
                  <a:pt x="213" y="346"/>
                  <a:pt x="222" y="328"/>
                  <a:pt x="227" y="309"/>
                </a:cubicBezTo>
                <a:close/>
                <a:moveTo>
                  <a:pt x="188" y="383"/>
                </a:moveTo>
                <a:cubicBezTo>
                  <a:pt x="202" y="372"/>
                  <a:pt x="222" y="358"/>
                  <a:pt x="247" y="342"/>
                </a:cubicBezTo>
                <a:cubicBezTo>
                  <a:pt x="223" y="372"/>
                  <a:pt x="191" y="400"/>
                  <a:pt x="152" y="424"/>
                </a:cubicBezTo>
                <a:cubicBezTo>
                  <a:pt x="166" y="410"/>
                  <a:pt x="178" y="397"/>
                  <a:pt x="188" y="383"/>
                </a:cubicBezTo>
                <a:close/>
                <a:moveTo>
                  <a:pt x="144" y="453"/>
                </a:moveTo>
                <a:cubicBezTo>
                  <a:pt x="166" y="442"/>
                  <a:pt x="186" y="432"/>
                  <a:pt x="207" y="423"/>
                </a:cubicBezTo>
                <a:cubicBezTo>
                  <a:pt x="189" y="463"/>
                  <a:pt x="164" y="502"/>
                  <a:pt x="154" y="519"/>
                </a:cubicBezTo>
                <a:cubicBezTo>
                  <a:pt x="153" y="520"/>
                  <a:pt x="152" y="521"/>
                  <a:pt x="152" y="522"/>
                </a:cubicBezTo>
                <a:cubicBezTo>
                  <a:pt x="141" y="501"/>
                  <a:pt x="137" y="478"/>
                  <a:pt x="144" y="453"/>
                </a:cubicBezTo>
                <a:close/>
                <a:moveTo>
                  <a:pt x="27" y="560"/>
                </a:moveTo>
                <a:cubicBezTo>
                  <a:pt x="33" y="533"/>
                  <a:pt x="60" y="500"/>
                  <a:pt x="90" y="482"/>
                </a:cubicBezTo>
                <a:cubicBezTo>
                  <a:pt x="90" y="482"/>
                  <a:pt x="90" y="482"/>
                  <a:pt x="90" y="482"/>
                </a:cubicBezTo>
                <a:cubicBezTo>
                  <a:pt x="102" y="475"/>
                  <a:pt x="114" y="469"/>
                  <a:pt x="125" y="463"/>
                </a:cubicBezTo>
                <a:cubicBezTo>
                  <a:pt x="125" y="464"/>
                  <a:pt x="125" y="465"/>
                  <a:pt x="124" y="467"/>
                </a:cubicBezTo>
                <a:cubicBezTo>
                  <a:pt x="123" y="474"/>
                  <a:pt x="122" y="480"/>
                  <a:pt x="122" y="487"/>
                </a:cubicBezTo>
                <a:cubicBezTo>
                  <a:pt x="123" y="503"/>
                  <a:pt x="128" y="518"/>
                  <a:pt x="137" y="532"/>
                </a:cubicBezTo>
                <a:cubicBezTo>
                  <a:pt x="103" y="543"/>
                  <a:pt x="64" y="554"/>
                  <a:pt x="27" y="564"/>
                </a:cubicBezTo>
                <a:cubicBezTo>
                  <a:pt x="27" y="563"/>
                  <a:pt x="27" y="561"/>
                  <a:pt x="27" y="560"/>
                </a:cubicBezTo>
                <a:close/>
                <a:moveTo>
                  <a:pt x="27" y="571"/>
                </a:moveTo>
                <a:cubicBezTo>
                  <a:pt x="62" y="562"/>
                  <a:pt x="100" y="554"/>
                  <a:pt x="136" y="545"/>
                </a:cubicBezTo>
                <a:cubicBezTo>
                  <a:pt x="109" y="586"/>
                  <a:pt x="85" y="616"/>
                  <a:pt x="71" y="639"/>
                </a:cubicBezTo>
                <a:cubicBezTo>
                  <a:pt x="51" y="623"/>
                  <a:pt x="28" y="597"/>
                  <a:pt x="27" y="571"/>
                </a:cubicBezTo>
                <a:close/>
                <a:moveTo>
                  <a:pt x="76" y="643"/>
                </a:moveTo>
                <a:cubicBezTo>
                  <a:pt x="98" y="610"/>
                  <a:pt x="125" y="580"/>
                  <a:pt x="150" y="550"/>
                </a:cubicBezTo>
                <a:cubicBezTo>
                  <a:pt x="156" y="558"/>
                  <a:pt x="162" y="565"/>
                  <a:pt x="169" y="571"/>
                </a:cubicBezTo>
                <a:cubicBezTo>
                  <a:pt x="182" y="583"/>
                  <a:pt x="196" y="592"/>
                  <a:pt x="211" y="600"/>
                </a:cubicBezTo>
                <a:cubicBezTo>
                  <a:pt x="168" y="616"/>
                  <a:pt x="123" y="632"/>
                  <a:pt x="81" y="646"/>
                </a:cubicBezTo>
                <a:cubicBezTo>
                  <a:pt x="79" y="645"/>
                  <a:pt x="78" y="644"/>
                  <a:pt x="76" y="643"/>
                </a:cubicBezTo>
                <a:close/>
                <a:moveTo>
                  <a:pt x="171" y="687"/>
                </a:moveTo>
                <a:cubicBezTo>
                  <a:pt x="169" y="687"/>
                  <a:pt x="166" y="686"/>
                  <a:pt x="164" y="685"/>
                </a:cubicBezTo>
                <a:cubicBezTo>
                  <a:pt x="126" y="673"/>
                  <a:pt x="109" y="665"/>
                  <a:pt x="86" y="650"/>
                </a:cubicBezTo>
                <a:cubicBezTo>
                  <a:pt x="104" y="645"/>
                  <a:pt x="180" y="625"/>
                  <a:pt x="218" y="613"/>
                </a:cubicBezTo>
                <a:cubicBezTo>
                  <a:pt x="197" y="647"/>
                  <a:pt x="178" y="674"/>
                  <a:pt x="171" y="687"/>
                </a:cubicBezTo>
                <a:cubicBezTo>
                  <a:pt x="171" y="687"/>
                  <a:pt x="171" y="687"/>
                  <a:pt x="171" y="687"/>
                </a:cubicBezTo>
                <a:close/>
                <a:moveTo>
                  <a:pt x="327" y="715"/>
                </a:moveTo>
                <a:cubicBezTo>
                  <a:pt x="297" y="711"/>
                  <a:pt x="236" y="702"/>
                  <a:pt x="196" y="693"/>
                </a:cubicBezTo>
                <a:cubicBezTo>
                  <a:pt x="252" y="680"/>
                  <a:pt x="289" y="674"/>
                  <a:pt x="353" y="644"/>
                </a:cubicBezTo>
                <a:cubicBezTo>
                  <a:pt x="342" y="675"/>
                  <a:pt x="332" y="703"/>
                  <a:pt x="327" y="715"/>
                </a:cubicBezTo>
                <a:close/>
                <a:moveTo>
                  <a:pt x="185" y="690"/>
                </a:moveTo>
                <a:cubicBezTo>
                  <a:pt x="185" y="690"/>
                  <a:pt x="185" y="691"/>
                  <a:pt x="184" y="691"/>
                </a:cubicBezTo>
                <a:cubicBezTo>
                  <a:pt x="182" y="690"/>
                  <a:pt x="181" y="690"/>
                  <a:pt x="179" y="689"/>
                </a:cubicBezTo>
                <a:cubicBezTo>
                  <a:pt x="201" y="663"/>
                  <a:pt x="220" y="637"/>
                  <a:pt x="236" y="612"/>
                </a:cubicBezTo>
                <a:cubicBezTo>
                  <a:pt x="291" y="635"/>
                  <a:pt x="346" y="639"/>
                  <a:pt x="353" y="640"/>
                </a:cubicBezTo>
                <a:cubicBezTo>
                  <a:pt x="327" y="650"/>
                  <a:pt x="192" y="688"/>
                  <a:pt x="185" y="690"/>
                </a:cubicBezTo>
                <a:close/>
                <a:moveTo>
                  <a:pt x="381" y="546"/>
                </a:moveTo>
                <a:cubicBezTo>
                  <a:pt x="376" y="568"/>
                  <a:pt x="366" y="603"/>
                  <a:pt x="355" y="636"/>
                </a:cubicBezTo>
                <a:cubicBezTo>
                  <a:pt x="319" y="630"/>
                  <a:pt x="280" y="619"/>
                  <a:pt x="245" y="602"/>
                </a:cubicBezTo>
                <a:cubicBezTo>
                  <a:pt x="283" y="586"/>
                  <a:pt x="361" y="551"/>
                  <a:pt x="383" y="536"/>
                </a:cubicBezTo>
                <a:cubicBezTo>
                  <a:pt x="383" y="540"/>
                  <a:pt x="382" y="543"/>
                  <a:pt x="381" y="546"/>
                </a:cubicBezTo>
                <a:close/>
                <a:moveTo>
                  <a:pt x="384" y="530"/>
                </a:moveTo>
                <a:cubicBezTo>
                  <a:pt x="362" y="544"/>
                  <a:pt x="287" y="572"/>
                  <a:pt x="252" y="585"/>
                </a:cubicBezTo>
                <a:cubicBezTo>
                  <a:pt x="271" y="552"/>
                  <a:pt x="284" y="521"/>
                  <a:pt x="293" y="494"/>
                </a:cubicBezTo>
                <a:cubicBezTo>
                  <a:pt x="332" y="517"/>
                  <a:pt x="372" y="527"/>
                  <a:pt x="384" y="530"/>
                </a:cubicBezTo>
                <a:cubicBezTo>
                  <a:pt x="384" y="530"/>
                  <a:pt x="384" y="530"/>
                  <a:pt x="384" y="530"/>
                </a:cubicBezTo>
                <a:close/>
                <a:moveTo>
                  <a:pt x="385" y="526"/>
                </a:moveTo>
                <a:cubicBezTo>
                  <a:pt x="355" y="518"/>
                  <a:pt x="327" y="503"/>
                  <a:pt x="302" y="487"/>
                </a:cubicBezTo>
                <a:cubicBezTo>
                  <a:pt x="355" y="461"/>
                  <a:pt x="389" y="436"/>
                  <a:pt x="393" y="432"/>
                </a:cubicBezTo>
                <a:cubicBezTo>
                  <a:pt x="393" y="466"/>
                  <a:pt x="390" y="499"/>
                  <a:pt x="385" y="526"/>
                </a:cubicBezTo>
                <a:close/>
                <a:moveTo>
                  <a:pt x="300" y="369"/>
                </a:moveTo>
                <a:cubicBezTo>
                  <a:pt x="339" y="335"/>
                  <a:pt x="367" y="301"/>
                  <a:pt x="387" y="270"/>
                </a:cubicBezTo>
                <a:cubicBezTo>
                  <a:pt x="410" y="285"/>
                  <a:pt x="432" y="302"/>
                  <a:pt x="451" y="321"/>
                </a:cubicBezTo>
                <a:cubicBezTo>
                  <a:pt x="407" y="333"/>
                  <a:pt x="356" y="348"/>
                  <a:pt x="300" y="36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90" name="Picture 19"/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74583" y="3946315"/>
            <a:ext cx="1057273" cy="783165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Freeform 20"/>
          <p:cNvSpPr>
            <a:spLocks noEditPoints="1"/>
          </p:cNvSpPr>
          <p:nvPr/>
        </p:nvSpPr>
        <p:spPr bwMode="black">
          <a:xfrm>
            <a:off x="3036584" y="4011910"/>
            <a:ext cx="676314" cy="586368"/>
          </a:xfrm>
          <a:custGeom>
            <a:avLst/>
            <a:gdLst>
              <a:gd name="T0" fmla="*/ 243 w 708"/>
              <a:gd name="T1" fmla="*/ 484 h 614"/>
              <a:gd name="T2" fmla="*/ 243 w 708"/>
              <a:gd name="T3" fmla="*/ 614 h 614"/>
              <a:gd name="T4" fmla="*/ 0 w 708"/>
              <a:gd name="T5" fmla="*/ 614 h 614"/>
              <a:gd name="T6" fmla="*/ 104 w 708"/>
              <a:gd name="T7" fmla="*/ 437 h 614"/>
              <a:gd name="T8" fmla="*/ 174 w 708"/>
              <a:gd name="T9" fmla="*/ 437 h 614"/>
              <a:gd name="T10" fmla="*/ 134 w 708"/>
              <a:gd name="T11" fmla="*/ 484 h 614"/>
              <a:gd name="T12" fmla="*/ 243 w 708"/>
              <a:gd name="T13" fmla="*/ 484 h 614"/>
              <a:gd name="T14" fmla="*/ 574 w 708"/>
              <a:gd name="T15" fmla="*/ 484 h 614"/>
              <a:gd name="T16" fmla="*/ 465 w 708"/>
              <a:gd name="T17" fmla="*/ 484 h 614"/>
              <a:gd name="T18" fmla="*/ 465 w 708"/>
              <a:gd name="T19" fmla="*/ 614 h 614"/>
              <a:gd name="T20" fmla="*/ 465 w 708"/>
              <a:gd name="T21" fmla="*/ 614 h 614"/>
              <a:gd name="T22" fmla="*/ 708 w 708"/>
              <a:gd name="T23" fmla="*/ 614 h 614"/>
              <a:gd name="T24" fmla="*/ 604 w 708"/>
              <a:gd name="T25" fmla="*/ 437 h 614"/>
              <a:gd name="T26" fmla="*/ 533 w 708"/>
              <a:gd name="T27" fmla="*/ 437 h 614"/>
              <a:gd name="T28" fmla="*/ 574 w 708"/>
              <a:gd name="T29" fmla="*/ 484 h 614"/>
              <a:gd name="T30" fmla="*/ 354 w 708"/>
              <a:gd name="T31" fmla="*/ 229 h 614"/>
              <a:gd name="T32" fmla="*/ 507 w 708"/>
              <a:gd name="T33" fmla="*/ 408 h 614"/>
              <a:gd name="T34" fmla="*/ 590 w 708"/>
              <a:gd name="T35" fmla="*/ 408 h 614"/>
              <a:gd name="T36" fmla="*/ 486 w 708"/>
              <a:gd name="T37" fmla="*/ 229 h 614"/>
              <a:gd name="T38" fmla="*/ 222 w 708"/>
              <a:gd name="T39" fmla="*/ 229 h 614"/>
              <a:gd name="T40" fmla="*/ 118 w 708"/>
              <a:gd name="T41" fmla="*/ 408 h 614"/>
              <a:gd name="T42" fmla="*/ 200 w 708"/>
              <a:gd name="T43" fmla="*/ 408 h 614"/>
              <a:gd name="T44" fmla="*/ 354 w 708"/>
              <a:gd name="T45" fmla="*/ 229 h 614"/>
              <a:gd name="T46" fmla="*/ 354 w 708"/>
              <a:gd name="T47" fmla="*/ 0 h 614"/>
              <a:gd name="T48" fmla="*/ 238 w 708"/>
              <a:gd name="T49" fmla="*/ 200 h 614"/>
              <a:gd name="T50" fmla="*/ 470 w 708"/>
              <a:gd name="T51" fmla="*/ 200 h 614"/>
              <a:gd name="T52" fmla="*/ 354 w 708"/>
              <a:gd name="T53" fmla="*/ 0 h 614"/>
              <a:gd name="T54" fmla="*/ 354 w 708"/>
              <a:gd name="T55" fmla="*/ 274 h 614"/>
              <a:gd name="T56" fmla="*/ 196 w 708"/>
              <a:gd name="T57" fmla="*/ 463 h 614"/>
              <a:gd name="T58" fmla="*/ 278 w 708"/>
              <a:gd name="T59" fmla="*/ 463 h 614"/>
              <a:gd name="T60" fmla="*/ 278 w 708"/>
              <a:gd name="T61" fmla="*/ 614 h 614"/>
              <a:gd name="T62" fmla="*/ 430 w 708"/>
              <a:gd name="T63" fmla="*/ 614 h 614"/>
              <a:gd name="T64" fmla="*/ 430 w 708"/>
              <a:gd name="T65" fmla="*/ 463 h 614"/>
              <a:gd name="T66" fmla="*/ 515 w 708"/>
              <a:gd name="T67" fmla="*/ 463 h 614"/>
              <a:gd name="T68" fmla="*/ 354 w 708"/>
              <a:gd name="T69" fmla="*/ 274 h 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08" h="614">
                <a:moveTo>
                  <a:pt x="243" y="484"/>
                </a:moveTo>
                <a:lnTo>
                  <a:pt x="243" y="614"/>
                </a:lnTo>
                <a:lnTo>
                  <a:pt x="0" y="614"/>
                </a:lnTo>
                <a:lnTo>
                  <a:pt x="104" y="437"/>
                </a:lnTo>
                <a:lnTo>
                  <a:pt x="174" y="437"/>
                </a:lnTo>
                <a:lnTo>
                  <a:pt x="134" y="484"/>
                </a:lnTo>
                <a:lnTo>
                  <a:pt x="243" y="484"/>
                </a:lnTo>
                <a:close/>
                <a:moveTo>
                  <a:pt x="574" y="484"/>
                </a:moveTo>
                <a:lnTo>
                  <a:pt x="465" y="484"/>
                </a:lnTo>
                <a:lnTo>
                  <a:pt x="465" y="614"/>
                </a:lnTo>
                <a:lnTo>
                  <a:pt x="465" y="614"/>
                </a:lnTo>
                <a:lnTo>
                  <a:pt x="708" y="614"/>
                </a:lnTo>
                <a:lnTo>
                  <a:pt x="604" y="437"/>
                </a:lnTo>
                <a:lnTo>
                  <a:pt x="533" y="437"/>
                </a:lnTo>
                <a:lnTo>
                  <a:pt x="574" y="484"/>
                </a:lnTo>
                <a:close/>
                <a:moveTo>
                  <a:pt x="354" y="229"/>
                </a:moveTo>
                <a:lnTo>
                  <a:pt x="507" y="408"/>
                </a:lnTo>
                <a:lnTo>
                  <a:pt x="590" y="408"/>
                </a:lnTo>
                <a:lnTo>
                  <a:pt x="486" y="229"/>
                </a:lnTo>
                <a:lnTo>
                  <a:pt x="222" y="229"/>
                </a:lnTo>
                <a:lnTo>
                  <a:pt x="118" y="408"/>
                </a:lnTo>
                <a:lnTo>
                  <a:pt x="200" y="408"/>
                </a:lnTo>
                <a:lnTo>
                  <a:pt x="354" y="229"/>
                </a:lnTo>
                <a:close/>
                <a:moveTo>
                  <a:pt x="354" y="0"/>
                </a:moveTo>
                <a:lnTo>
                  <a:pt x="238" y="200"/>
                </a:lnTo>
                <a:lnTo>
                  <a:pt x="470" y="200"/>
                </a:lnTo>
                <a:lnTo>
                  <a:pt x="354" y="0"/>
                </a:lnTo>
                <a:close/>
                <a:moveTo>
                  <a:pt x="354" y="274"/>
                </a:moveTo>
                <a:lnTo>
                  <a:pt x="196" y="463"/>
                </a:lnTo>
                <a:lnTo>
                  <a:pt x="278" y="463"/>
                </a:lnTo>
                <a:lnTo>
                  <a:pt x="278" y="614"/>
                </a:lnTo>
                <a:lnTo>
                  <a:pt x="430" y="614"/>
                </a:lnTo>
                <a:lnTo>
                  <a:pt x="430" y="463"/>
                </a:lnTo>
                <a:lnTo>
                  <a:pt x="515" y="463"/>
                </a:lnTo>
                <a:lnTo>
                  <a:pt x="354" y="27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83943" tIns="41972" rIns="83943" bIns="41972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</a:endParaRPr>
          </a:p>
        </p:txBody>
      </p:sp>
      <p:pic>
        <p:nvPicPr>
          <p:cNvPr id="92" name="Picture 9"/>
          <p:cNvPicPr>
            <a:picLocks noChangeAspect="1" noChangeArrowheads="1"/>
          </p:cNvPicPr>
          <p:nvPr/>
        </p:nvPicPr>
        <p:blipFill>
          <a:blip r:embed="rId11" cstate="email">
            <a:biLevel thresh="50000"/>
          </a:blip>
          <a:srcRect/>
          <a:stretch>
            <a:fillRect/>
          </a:stretch>
        </p:blipFill>
        <p:spPr bwMode="auto">
          <a:xfrm>
            <a:off x="2965000" y="1594970"/>
            <a:ext cx="679118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3" name="Picture 12"/>
          <p:cNvPicPr>
            <a:picLocks noChangeAspect="1" noChangeArrowheads="1"/>
          </p:cNvPicPr>
          <p:nvPr/>
        </p:nvPicPr>
        <p:blipFill>
          <a:blip r:embed="rId12" cstate="email">
            <a:biLevel thresh="50000"/>
          </a:blip>
          <a:srcRect/>
          <a:stretch>
            <a:fillRect/>
          </a:stretch>
        </p:blipFill>
        <p:spPr bwMode="auto">
          <a:xfrm>
            <a:off x="4224055" y="1657618"/>
            <a:ext cx="732949" cy="779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6" name="Picture 13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46654" y="4011909"/>
            <a:ext cx="613378" cy="708791"/>
          </a:xfrm>
          <a:prstGeom prst="rect">
            <a:avLst/>
          </a:prstGeom>
        </p:spPr>
      </p:pic>
      <p:pic>
        <p:nvPicPr>
          <p:cNvPr id="100" name="Picture 174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657618"/>
            <a:ext cx="766173" cy="770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" name="Freeform 23"/>
          <p:cNvSpPr>
            <a:spLocks noEditPoints="1"/>
          </p:cNvSpPr>
          <p:nvPr/>
        </p:nvSpPr>
        <p:spPr bwMode="black">
          <a:xfrm>
            <a:off x="6877419" y="2953149"/>
            <a:ext cx="513287" cy="513145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81" tIns="41141" rIns="82281" bIns="41141" numCol="1" anchor="t" anchorCtr="0" compatLnSpc="1"/>
          <a:lstStyle/>
          <a:p>
            <a:pPr marL="0" marR="0" lvl="0" indent="0" defTabSz="9315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4" name="Freeform 9"/>
          <p:cNvSpPr>
            <a:spLocks noChangeAspect="1"/>
          </p:cNvSpPr>
          <p:nvPr/>
        </p:nvSpPr>
        <p:spPr bwMode="black">
          <a:xfrm>
            <a:off x="6913984" y="1671283"/>
            <a:ext cx="476722" cy="821812"/>
          </a:xfrm>
          <a:custGeom>
            <a:avLst/>
            <a:gdLst>
              <a:gd name="T0" fmla="*/ 219 w 339"/>
              <a:gd name="T1" fmla="*/ 584 h 584"/>
              <a:gd name="T2" fmla="*/ 219 w 339"/>
              <a:gd name="T3" fmla="*/ 511 h 584"/>
              <a:gd name="T4" fmla="*/ 339 w 339"/>
              <a:gd name="T5" fmla="*/ 373 h 584"/>
              <a:gd name="T6" fmla="*/ 214 w 339"/>
              <a:gd name="T7" fmla="*/ 230 h 584"/>
              <a:gd name="T8" fmla="*/ 146 w 339"/>
              <a:gd name="T9" fmla="*/ 190 h 584"/>
              <a:gd name="T10" fmla="*/ 186 w 339"/>
              <a:gd name="T11" fmla="*/ 169 h 584"/>
              <a:gd name="T12" fmla="*/ 274 w 339"/>
              <a:gd name="T13" fmla="*/ 191 h 584"/>
              <a:gd name="T14" fmla="*/ 294 w 339"/>
              <a:gd name="T15" fmla="*/ 200 h 584"/>
              <a:gd name="T16" fmla="*/ 300 w 339"/>
              <a:gd name="T17" fmla="*/ 180 h 584"/>
              <a:gd name="T18" fmla="*/ 324 w 339"/>
              <a:gd name="T19" fmla="*/ 89 h 584"/>
              <a:gd name="T20" fmla="*/ 310 w 339"/>
              <a:gd name="T21" fmla="*/ 83 h 584"/>
              <a:gd name="T22" fmla="*/ 222 w 339"/>
              <a:gd name="T23" fmla="*/ 61 h 584"/>
              <a:gd name="T24" fmla="*/ 222 w 339"/>
              <a:gd name="T25" fmla="*/ 0 h 584"/>
              <a:gd name="T26" fmla="*/ 121 w 339"/>
              <a:gd name="T27" fmla="*/ 0 h 584"/>
              <a:gd name="T28" fmla="*/ 121 w 339"/>
              <a:gd name="T29" fmla="*/ 68 h 584"/>
              <a:gd name="T30" fmla="*/ 7 w 339"/>
              <a:gd name="T31" fmla="*/ 201 h 584"/>
              <a:gd name="T32" fmla="*/ 140 w 339"/>
              <a:gd name="T33" fmla="*/ 341 h 584"/>
              <a:gd name="T34" fmla="*/ 200 w 339"/>
              <a:gd name="T35" fmla="*/ 383 h 584"/>
              <a:gd name="T36" fmla="*/ 153 w 339"/>
              <a:gd name="T37" fmla="*/ 407 h 584"/>
              <a:gd name="T38" fmla="*/ 50 w 339"/>
              <a:gd name="T39" fmla="*/ 379 h 584"/>
              <a:gd name="T40" fmla="*/ 30 w 339"/>
              <a:gd name="T41" fmla="*/ 369 h 584"/>
              <a:gd name="T42" fmla="*/ 0 w 339"/>
              <a:gd name="T43" fmla="*/ 483 h 584"/>
              <a:gd name="T44" fmla="*/ 0 w 339"/>
              <a:gd name="T45" fmla="*/ 483 h 584"/>
              <a:gd name="T46" fmla="*/ 12 w 339"/>
              <a:gd name="T47" fmla="*/ 489 h 584"/>
              <a:gd name="T48" fmla="*/ 118 w 339"/>
              <a:gd name="T49" fmla="*/ 518 h 584"/>
              <a:gd name="T50" fmla="*/ 118 w 339"/>
              <a:gd name="T51" fmla="*/ 584 h 584"/>
              <a:gd name="T52" fmla="*/ 219 w 339"/>
              <a:gd name="T53" fmla="*/ 584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39" h="584">
                <a:moveTo>
                  <a:pt x="219" y="584"/>
                </a:moveTo>
                <a:cubicBezTo>
                  <a:pt x="219" y="511"/>
                  <a:pt x="219" y="511"/>
                  <a:pt x="219" y="511"/>
                </a:cubicBezTo>
                <a:cubicBezTo>
                  <a:pt x="293" y="493"/>
                  <a:pt x="339" y="442"/>
                  <a:pt x="339" y="373"/>
                </a:cubicBezTo>
                <a:cubicBezTo>
                  <a:pt x="339" y="304"/>
                  <a:pt x="301" y="261"/>
                  <a:pt x="214" y="230"/>
                </a:cubicBezTo>
                <a:cubicBezTo>
                  <a:pt x="182" y="219"/>
                  <a:pt x="146" y="203"/>
                  <a:pt x="146" y="190"/>
                </a:cubicBezTo>
                <a:cubicBezTo>
                  <a:pt x="146" y="172"/>
                  <a:pt x="171" y="169"/>
                  <a:pt x="186" y="169"/>
                </a:cubicBezTo>
                <a:cubicBezTo>
                  <a:pt x="230" y="169"/>
                  <a:pt x="258" y="183"/>
                  <a:pt x="274" y="191"/>
                </a:cubicBezTo>
                <a:cubicBezTo>
                  <a:pt x="294" y="200"/>
                  <a:pt x="294" y="200"/>
                  <a:pt x="294" y="200"/>
                </a:cubicBezTo>
                <a:cubicBezTo>
                  <a:pt x="300" y="180"/>
                  <a:pt x="300" y="180"/>
                  <a:pt x="300" y="180"/>
                </a:cubicBezTo>
                <a:cubicBezTo>
                  <a:pt x="324" y="89"/>
                  <a:pt x="324" y="89"/>
                  <a:pt x="324" y="89"/>
                </a:cubicBezTo>
                <a:cubicBezTo>
                  <a:pt x="310" y="83"/>
                  <a:pt x="310" y="83"/>
                  <a:pt x="310" y="83"/>
                </a:cubicBezTo>
                <a:cubicBezTo>
                  <a:pt x="293" y="75"/>
                  <a:pt x="264" y="64"/>
                  <a:pt x="222" y="61"/>
                </a:cubicBezTo>
                <a:cubicBezTo>
                  <a:pt x="222" y="0"/>
                  <a:pt x="222" y="0"/>
                  <a:pt x="222" y="0"/>
                </a:cubicBezTo>
                <a:cubicBezTo>
                  <a:pt x="121" y="0"/>
                  <a:pt x="121" y="0"/>
                  <a:pt x="121" y="0"/>
                </a:cubicBezTo>
                <a:cubicBezTo>
                  <a:pt x="121" y="68"/>
                  <a:pt x="121" y="68"/>
                  <a:pt x="121" y="68"/>
                </a:cubicBezTo>
                <a:cubicBezTo>
                  <a:pt x="51" y="86"/>
                  <a:pt x="7" y="136"/>
                  <a:pt x="7" y="201"/>
                </a:cubicBezTo>
                <a:cubicBezTo>
                  <a:pt x="7" y="286"/>
                  <a:pt x="78" y="320"/>
                  <a:pt x="140" y="341"/>
                </a:cubicBezTo>
                <a:cubicBezTo>
                  <a:pt x="193" y="359"/>
                  <a:pt x="200" y="372"/>
                  <a:pt x="200" y="383"/>
                </a:cubicBezTo>
                <a:cubicBezTo>
                  <a:pt x="200" y="400"/>
                  <a:pt x="176" y="407"/>
                  <a:pt x="153" y="407"/>
                </a:cubicBezTo>
                <a:cubicBezTo>
                  <a:pt x="107" y="407"/>
                  <a:pt x="68" y="390"/>
                  <a:pt x="50" y="379"/>
                </a:cubicBezTo>
                <a:cubicBezTo>
                  <a:pt x="30" y="369"/>
                  <a:pt x="30" y="369"/>
                  <a:pt x="30" y="369"/>
                </a:cubicBezTo>
                <a:cubicBezTo>
                  <a:pt x="0" y="483"/>
                  <a:pt x="0" y="483"/>
                  <a:pt x="0" y="483"/>
                </a:cubicBezTo>
                <a:cubicBezTo>
                  <a:pt x="0" y="483"/>
                  <a:pt x="0" y="483"/>
                  <a:pt x="0" y="483"/>
                </a:cubicBezTo>
                <a:cubicBezTo>
                  <a:pt x="12" y="489"/>
                  <a:pt x="12" y="489"/>
                  <a:pt x="12" y="489"/>
                </a:cubicBezTo>
                <a:cubicBezTo>
                  <a:pt x="39" y="504"/>
                  <a:pt x="79" y="515"/>
                  <a:pt x="118" y="518"/>
                </a:cubicBezTo>
                <a:cubicBezTo>
                  <a:pt x="118" y="584"/>
                  <a:pt x="118" y="584"/>
                  <a:pt x="118" y="584"/>
                </a:cubicBezTo>
                <a:lnTo>
                  <a:pt x="219" y="584"/>
                </a:lnTo>
                <a:close/>
              </a:path>
            </a:pathLst>
          </a:custGeom>
          <a:solidFill>
            <a:srgbClr val="FFFFFF"/>
          </a:solidFill>
          <a:ln w="31750" cap="sq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106" name="Picture 3" descr="C:\Users\Jonahs\Dropbox\Projects SCOTT\MEET Windows Azure\source\Background\tile-icon-bigdata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9918" y="2892970"/>
            <a:ext cx="689139" cy="683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40"/>
          <p:cNvPicPr>
            <a:picLocks noChangeAspect="1"/>
          </p:cNvPicPr>
          <p:nvPr/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94059">
                        <a14:foregroundMark x1="55116" y1="5254" x2="55116" y2="93559"/>
                        <a14:foregroundMark x1="65347" y1="13898" x2="66007" y2="89831"/>
                        <a14:foregroundMark x1="76238" y1="28136" x2="76568" y2="91864"/>
                        <a14:backgroundMark x1="45215" y1="23220" x2="45215" y2="23220"/>
                        <a14:backgroundMark x1="45215" y1="6610" x2="45545" y2="91356"/>
                        <a14:backgroundMark x1="45215" y1="91864" x2="45215" y2="96271"/>
                        <a14:backgroundMark x1="47855" y1="96271" x2="63696" y2="94746"/>
                        <a14:backgroundMark x1="52475" y1="95085" x2="51815" y2="3898"/>
                        <a14:backgroundMark x1="57756" y1="4407" x2="57756" y2="94407"/>
                        <a14:backgroundMark x1="61386" y1="12373" x2="72937" y2="13729"/>
                        <a14:backgroundMark x1="63036" y1="13220" x2="63036" y2="94576"/>
                        <a14:backgroundMark x1="68317" y1="14746" x2="68647" y2="93390"/>
                        <a14:backgroundMark x1="68977" y1="94407" x2="83498" y2="92712"/>
                        <a14:backgroundMark x1="73267" y1="14576" x2="74257" y2="93559"/>
                        <a14:backgroundMark x1="76898" y1="25932" x2="84488" y2="26949"/>
                        <a14:backgroundMark x1="79208" y1="27458" x2="79208" y2="92373"/>
                        <a14:backgroundMark x1="84158" y1="27627" x2="83828" y2="92712"/>
                        <a14:backgroundMark x1="37624" y1="4746" x2="38284" y2="94068"/>
                        <a14:backgroundMark x1="33993" y1="5424" x2="33663" y2="92034"/>
                        <a14:backgroundMark x1="34983" y1="5085" x2="35974" y2="93559"/>
                        <a14:backgroundMark x1="36634" y1="94576" x2="34983" y2="93390"/>
                        <a14:backgroundMark x1="34653" y1="4746" x2="38284" y2="3729"/>
                        <a14:backgroundMark x1="24092" y1="13559" x2="23762" y2="89661"/>
                        <a14:backgroundMark x1="25413" y1="13220" x2="26403" y2="91186"/>
                        <a14:backgroundMark x1="28053" y1="13559" x2="28053" y2="77797"/>
                        <a14:backgroundMark x1="19802" y1="14237" x2="19472" y2="88644"/>
                        <a14:backgroundMark x1="15512" y1="26271" x2="15182" y2="87627"/>
                        <a14:backgroundMark x1="15842" y1="25763" x2="18482" y2="25085"/>
                        <a14:backgroundMark x1="16832" y1="26102" x2="17492" y2="87966"/>
                        <a14:backgroundMark x1="16172" y1="88644" x2="19802" y2="89322"/>
                        <a14:backgroundMark x1="11221" y1="26610" x2="11551" y2="8627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224"/>
          <a:stretch>
            <a:fillRect/>
          </a:stretch>
        </p:blipFill>
        <p:spPr>
          <a:xfrm flipH="1">
            <a:off x="5615251" y="411510"/>
            <a:ext cx="497644" cy="856877"/>
          </a:xfrm>
          <a:prstGeom prst="rect">
            <a:avLst/>
          </a:prstGeom>
        </p:spPr>
      </p:pic>
      <p:sp>
        <p:nvSpPr>
          <p:cNvPr id="108" name="Freeform 55"/>
          <p:cNvSpPr>
            <a:spLocks noEditPoints="1"/>
          </p:cNvSpPr>
          <p:nvPr/>
        </p:nvSpPr>
        <p:spPr bwMode="auto">
          <a:xfrm>
            <a:off x="5616176" y="3986590"/>
            <a:ext cx="540000" cy="719710"/>
          </a:xfrm>
          <a:custGeom>
            <a:avLst/>
            <a:gdLst>
              <a:gd name="T0" fmla="*/ 48 w 66"/>
              <a:gd name="T1" fmla="*/ 61 h 88"/>
              <a:gd name="T2" fmla="*/ 45 w 66"/>
              <a:gd name="T3" fmla="*/ 23 h 88"/>
              <a:gd name="T4" fmla="*/ 44 w 66"/>
              <a:gd name="T5" fmla="*/ 18 h 88"/>
              <a:gd name="T6" fmla="*/ 62 w 66"/>
              <a:gd name="T7" fmla="*/ 17 h 88"/>
              <a:gd name="T8" fmla="*/ 63 w 66"/>
              <a:gd name="T9" fmla="*/ 22 h 88"/>
              <a:gd name="T10" fmla="*/ 59 w 66"/>
              <a:gd name="T11" fmla="*/ 23 h 88"/>
              <a:gd name="T12" fmla="*/ 53 w 66"/>
              <a:gd name="T13" fmla="*/ 66 h 88"/>
              <a:gd name="T14" fmla="*/ 45 w 66"/>
              <a:gd name="T15" fmla="*/ 14 h 88"/>
              <a:gd name="T16" fmla="*/ 40 w 66"/>
              <a:gd name="T17" fmla="*/ 22 h 88"/>
              <a:gd name="T18" fmla="*/ 44 w 66"/>
              <a:gd name="T19" fmla="*/ 61 h 88"/>
              <a:gd name="T20" fmla="*/ 62 w 66"/>
              <a:gd name="T21" fmla="*/ 61 h 88"/>
              <a:gd name="T22" fmla="*/ 66 w 66"/>
              <a:gd name="T23" fmla="*/ 22 h 88"/>
              <a:gd name="T24" fmla="*/ 62 w 66"/>
              <a:gd name="T25" fmla="*/ 14 h 88"/>
              <a:gd name="T26" fmla="*/ 4 w 66"/>
              <a:gd name="T27" fmla="*/ 83 h 88"/>
              <a:gd name="T28" fmla="*/ 19 w 66"/>
              <a:gd name="T29" fmla="*/ 59 h 88"/>
              <a:gd name="T30" fmla="*/ 21 w 66"/>
              <a:gd name="T31" fmla="*/ 36 h 88"/>
              <a:gd name="T32" fmla="*/ 18 w 66"/>
              <a:gd name="T33" fmla="*/ 35 h 88"/>
              <a:gd name="T34" fmla="*/ 18 w 66"/>
              <a:gd name="T35" fmla="*/ 30 h 88"/>
              <a:gd name="T36" fmla="*/ 34 w 66"/>
              <a:gd name="T37" fmla="*/ 31 h 88"/>
              <a:gd name="T38" fmla="*/ 34 w 66"/>
              <a:gd name="T39" fmla="*/ 36 h 88"/>
              <a:gd name="T40" fmla="*/ 31 w 66"/>
              <a:gd name="T41" fmla="*/ 52 h 88"/>
              <a:gd name="T42" fmla="*/ 47 w 66"/>
              <a:gd name="T43" fmla="*/ 80 h 88"/>
              <a:gd name="T44" fmla="*/ 47 w 66"/>
              <a:gd name="T45" fmla="*/ 84 h 88"/>
              <a:gd name="T46" fmla="*/ 34 w 66"/>
              <a:gd name="T47" fmla="*/ 26 h 88"/>
              <a:gd name="T48" fmla="*/ 14 w 66"/>
              <a:gd name="T49" fmla="*/ 31 h 88"/>
              <a:gd name="T50" fmla="*/ 18 w 66"/>
              <a:gd name="T51" fmla="*/ 40 h 88"/>
              <a:gd name="T52" fmla="*/ 16 w 66"/>
              <a:gd name="T53" fmla="*/ 57 h 88"/>
              <a:gd name="T54" fmla="*/ 0 w 66"/>
              <a:gd name="T55" fmla="*/ 83 h 88"/>
              <a:gd name="T56" fmla="*/ 5 w 66"/>
              <a:gd name="T57" fmla="*/ 88 h 88"/>
              <a:gd name="T58" fmla="*/ 51 w 66"/>
              <a:gd name="T59" fmla="*/ 85 h 88"/>
              <a:gd name="T60" fmla="*/ 50 w 66"/>
              <a:gd name="T61" fmla="*/ 78 h 88"/>
              <a:gd name="T62" fmla="*/ 34 w 66"/>
              <a:gd name="T63" fmla="*/ 52 h 88"/>
              <a:gd name="T64" fmla="*/ 38 w 66"/>
              <a:gd name="T65" fmla="*/ 35 h 88"/>
              <a:gd name="T66" fmla="*/ 34 w 66"/>
              <a:gd name="T67" fmla="*/ 26 h 88"/>
              <a:gd name="T68" fmla="*/ 51 w 66"/>
              <a:gd name="T69" fmla="*/ 35 h 88"/>
              <a:gd name="T70" fmla="*/ 53 w 66"/>
              <a:gd name="T71" fmla="*/ 64 h 88"/>
              <a:gd name="T72" fmla="*/ 56 w 66"/>
              <a:gd name="T73" fmla="*/ 35 h 88"/>
              <a:gd name="T74" fmla="*/ 26 w 66"/>
              <a:gd name="T75" fmla="*/ 62 h 88"/>
              <a:gd name="T76" fmla="*/ 8 w 66"/>
              <a:gd name="T77" fmla="*/ 80 h 88"/>
              <a:gd name="T78" fmla="*/ 26 w 66"/>
              <a:gd name="T79" fmla="*/ 82 h 88"/>
              <a:gd name="T80" fmla="*/ 44 w 66"/>
              <a:gd name="T81" fmla="*/ 80 h 88"/>
              <a:gd name="T82" fmla="*/ 20 w 66"/>
              <a:gd name="T83" fmla="*/ 0 h 88"/>
              <a:gd name="T84" fmla="*/ 20 w 66"/>
              <a:gd name="T85" fmla="*/ 6 h 88"/>
              <a:gd name="T86" fmla="*/ 20 w 66"/>
              <a:gd name="T87" fmla="*/ 0 h 88"/>
              <a:gd name="T88" fmla="*/ 25 w 66"/>
              <a:gd name="T89" fmla="*/ 8 h 88"/>
              <a:gd name="T90" fmla="*/ 36 w 66"/>
              <a:gd name="T91" fmla="*/ 8 h 88"/>
              <a:gd name="T92" fmla="*/ 25 w 66"/>
              <a:gd name="T93" fmla="*/ 16 h 88"/>
              <a:gd name="T94" fmla="*/ 25 w 66"/>
              <a:gd name="T95" fmla="*/ 24 h 88"/>
              <a:gd name="T96" fmla="*/ 25 w 66"/>
              <a:gd name="T97" fmla="*/ 1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" h="88">
                <a:moveTo>
                  <a:pt x="53" y="66"/>
                </a:moveTo>
                <a:cubicBezTo>
                  <a:pt x="51" y="66"/>
                  <a:pt x="48" y="64"/>
                  <a:pt x="48" y="61"/>
                </a:cubicBezTo>
                <a:cubicBezTo>
                  <a:pt x="48" y="23"/>
                  <a:pt x="48" y="23"/>
                  <a:pt x="48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4" y="23"/>
                  <a:pt x="44" y="22"/>
                </a:cubicBezTo>
                <a:cubicBezTo>
                  <a:pt x="44" y="18"/>
                  <a:pt x="44" y="18"/>
                  <a:pt x="44" y="18"/>
                </a:cubicBezTo>
                <a:cubicBezTo>
                  <a:pt x="44" y="18"/>
                  <a:pt x="45" y="17"/>
                  <a:pt x="45" y="17"/>
                </a:cubicBezTo>
                <a:cubicBezTo>
                  <a:pt x="62" y="17"/>
                  <a:pt x="62" y="17"/>
                  <a:pt x="62" y="17"/>
                </a:cubicBezTo>
                <a:cubicBezTo>
                  <a:pt x="62" y="17"/>
                  <a:pt x="63" y="18"/>
                  <a:pt x="63" y="18"/>
                </a:cubicBezTo>
                <a:cubicBezTo>
                  <a:pt x="63" y="22"/>
                  <a:pt x="63" y="22"/>
                  <a:pt x="63" y="22"/>
                </a:cubicBezTo>
                <a:cubicBezTo>
                  <a:pt x="63" y="23"/>
                  <a:pt x="62" y="23"/>
                  <a:pt x="62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61"/>
                  <a:pt x="59" y="61"/>
                  <a:pt x="59" y="61"/>
                </a:cubicBezTo>
                <a:cubicBezTo>
                  <a:pt x="59" y="64"/>
                  <a:pt x="56" y="66"/>
                  <a:pt x="53" y="66"/>
                </a:cubicBezTo>
                <a:moveTo>
                  <a:pt x="62" y="14"/>
                </a:moveTo>
                <a:cubicBezTo>
                  <a:pt x="45" y="14"/>
                  <a:pt x="45" y="14"/>
                  <a:pt x="45" y="14"/>
                </a:cubicBezTo>
                <a:cubicBezTo>
                  <a:pt x="43" y="14"/>
                  <a:pt x="40" y="16"/>
                  <a:pt x="40" y="18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25"/>
                  <a:pt x="42" y="27"/>
                  <a:pt x="44" y="27"/>
                </a:cubicBezTo>
                <a:cubicBezTo>
                  <a:pt x="44" y="30"/>
                  <a:pt x="44" y="61"/>
                  <a:pt x="44" y="61"/>
                </a:cubicBezTo>
                <a:cubicBezTo>
                  <a:pt x="44" y="66"/>
                  <a:pt x="48" y="70"/>
                  <a:pt x="53" y="70"/>
                </a:cubicBezTo>
                <a:cubicBezTo>
                  <a:pt x="58" y="70"/>
                  <a:pt x="62" y="66"/>
                  <a:pt x="62" y="61"/>
                </a:cubicBezTo>
                <a:cubicBezTo>
                  <a:pt x="62" y="61"/>
                  <a:pt x="62" y="30"/>
                  <a:pt x="62" y="27"/>
                </a:cubicBezTo>
                <a:cubicBezTo>
                  <a:pt x="65" y="27"/>
                  <a:pt x="66" y="25"/>
                  <a:pt x="66" y="22"/>
                </a:cubicBezTo>
                <a:cubicBezTo>
                  <a:pt x="66" y="18"/>
                  <a:pt x="66" y="18"/>
                  <a:pt x="66" y="18"/>
                </a:cubicBezTo>
                <a:cubicBezTo>
                  <a:pt x="66" y="16"/>
                  <a:pt x="64" y="14"/>
                  <a:pt x="62" y="14"/>
                </a:cubicBezTo>
                <a:moveTo>
                  <a:pt x="5" y="84"/>
                </a:moveTo>
                <a:cubicBezTo>
                  <a:pt x="5" y="84"/>
                  <a:pt x="4" y="84"/>
                  <a:pt x="4" y="83"/>
                </a:cubicBezTo>
                <a:cubicBezTo>
                  <a:pt x="3" y="83"/>
                  <a:pt x="3" y="82"/>
                  <a:pt x="4" y="80"/>
                </a:cubicBezTo>
                <a:cubicBezTo>
                  <a:pt x="5" y="79"/>
                  <a:pt x="18" y="61"/>
                  <a:pt x="19" y="59"/>
                </a:cubicBezTo>
                <a:cubicBezTo>
                  <a:pt x="20" y="57"/>
                  <a:pt x="21" y="55"/>
                  <a:pt x="21" y="52"/>
                </a:cubicBezTo>
                <a:cubicBezTo>
                  <a:pt x="21" y="36"/>
                  <a:pt x="21" y="36"/>
                  <a:pt x="21" y="36"/>
                </a:cubicBezTo>
                <a:cubicBezTo>
                  <a:pt x="18" y="36"/>
                  <a:pt x="18" y="36"/>
                  <a:pt x="18" y="36"/>
                </a:cubicBezTo>
                <a:cubicBezTo>
                  <a:pt x="18" y="36"/>
                  <a:pt x="18" y="35"/>
                  <a:pt x="18" y="35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31"/>
                  <a:pt x="18" y="30"/>
                  <a:pt x="18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0"/>
                  <a:pt x="34" y="31"/>
                  <a:pt x="34" y="31"/>
                </a:cubicBezTo>
                <a:cubicBezTo>
                  <a:pt x="34" y="35"/>
                  <a:pt x="34" y="35"/>
                  <a:pt x="34" y="35"/>
                </a:cubicBezTo>
                <a:cubicBezTo>
                  <a:pt x="34" y="35"/>
                  <a:pt x="34" y="36"/>
                  <a:pt x="34" y="36"/>
                </a:cubicBezTo>
                <a:cubicBezTo>
                  <a:pt x="31" y="36"/>
                  <a:pt x="31" y="36"/>
                  <a:pt x="31" y="36"/>
                </a:cubicBezTo>
                <a:cubicBezTo>
                  <a:pt x="31" y="52"/>
                  <a:pt x="31" y="52"/>
                  <a:pt x="31" y="52"/>
                </a:cubicBezTo>
                <a:cubicBezTo>
                  <a:pt x="31" y="55"/>
                  <a:pt x="32" y="57"/>
                  <a:pt x="33" y="59"/>
                </a:cubicBezTo>
                <a:cubicBezTo>
                  <a:pt x="34" y="61"/>
                  <a:pt x="47" y="79"/>
                  <a:pt x="47" y="80"/>
                </a:cubicBezTo>
                <a:cubicBezTo>
                  <a:pt x="49" y="82"/>
                  <a:pt x="49" y="83"/>
                  <a:pt x="48" y="83"/>
                </a:cubicBezTo>
                <a:cubicBezTo>
                  <a:pt x="48" y="84"/>
                  <a:pt x="47" y="84"/>
                  <a:pt x="47" y="84"/>
                </a:cubicBezTo>
                <a:cubicBezTo>
                  <a:pt x="5" y="84"/>
                  <a:pt x="5" y="84"/>
                  <a:pt x="5" y="84"/>
                </a:cubicBezTo>
                <a:moveTo>
                  <a:pt x="34" y="26"/>
                </a:moveTo>
                <a:cubicBezTo>
                  <a:pt x="18" y="26"/>
                  <a:pt x="18" y="26"/>
                  <a:pt x="18" y="26"/>
                </a:cubicBezTo>
                <a:cubicBezTo>
                  <a:pt x="16" y="26"/>
                  <a:pt x="14" y="28"/>
                  <a:pt x="14" y="31"/>
                </a:cubicBezTo>
                <a:cubicBezTo>
                  <a:pt x="14" y="35"/>
                  <a:pt x="14" y="35"/>
                  <a:pt x="14" y="35"/>
                </a:cubicBezTo>
                <a:cubicBezTo>
                  <a:pt x="14" y="37"/>
                  <a:pt x="16" y="39"/>
                  <a:pt x="18" y="40"/>
                </a:cubicBezTo>
                <a:cubicBezTo>
                  <a:pt x="18" y="42"/>
                  <a:pt x="18" y="52"/>
                  <a:pt x="18" y="52"/>
                </a:cubicBezTo>
                <a:cubicBezTo>
                  <a:pt x="18" y="53"/>
                  <a:pt x="17" y="55"/>
                  <a:pt x="16" y="57"/>
                </a:cubicBezTo>
                <a:cubicBezTo>
                  <a:pt x="15" y="58"/>
                  <a:pt x="2" y="78"/>
                  <a:pt x="2" y="78"/>
                </a:cubicBezTo>
                <a:cubicBezTo>
                  <a:pt x="1" y="80"/>
                  <a:pt x="0" y="81"/>
                  <a:pt x="0" y="83"/>
                </a:cubicBezTo>
                <a:cubicBezTo>
                  <a:pt x="0" y="84"/>
                  <a:pt x="0" y="84"/>
                  <a:pt x="1" y="85"/>
                </a:cubicBezTo>
                <a:cubicBezTo>
                  <a:pt x="1" y="87"/>
                  <a:pt x="3" y="88"/>
                  <a:pt x="5" y="88"/>
                </a:cubicBezTo>
                <a:cubicBezTo>
                  <a:pt x="47" y="88"/>
                  <a:pt x="47" y="88"/>
                  <a:pt x="47" y="88"/>
                </a:cubicBezTo>
                <a:cubicBezTo>
                  <a:pt x="49" y="88"/>
                  <a:pt x="51" y="87"/>
                  <a:pt x="51" y="85"/>
                </a:cubicBezTo>
                <a:cubicBezTo>
                  <a:pt x="52" y="84"/>
                  <a:pt x="52" y="84"/>
                  <a:pt x="52" y="83"/>
                </a:cubicBezTo>
                <a:cubicBezTo>
                  <a:pt x="52" y="81"/>
                  <a:pt x="51" y="80"/>
                  <a:pt x="50" y="78"/>
                </a:cubicBezTo>
                <a:cubicBezTo>
                  <a:pt x="50" y="78"/>
                  <a:pt x="37" y="58"/>
                  <a:pt x="36" y="57"/>
                </a:cubicBezTo>
                <a:cubicBezTo>
                  <a:pt x="35" y="55"/>
                  <a:pt x="34" y="53"/>
                  <a:pt x="34" y="52"/>
                </a:cubicBezTo>
                <a:cubicBezTo>
                  <a:pt x="34" y="52"/>
                  <a:pt x="34" y="42"/>
                  <a:pt x="34" y="40"/>
                </a:cubicBezTo>
                <a:cubicBezTo>
                  <a:pt x="36" y="39"/>
                  <a:pt x="38" y="37"/>
                  <a:pt x="38" y="35"/>
                </a:cubicBezTo>
                <a:cubicBezTo>
                  <a:pt x="38" y="31"/>
                  <a:pt x="38" y="31"/>
                  <a:pt x="38" y="31"/>
                </a:cubicBezTo>
                <a:cubicBezTo>
                  <a:pt x="38" y="28"/>
                  <a:pt x="36" y="26"/>
                  <a:pt x="34" y="26"/>
                </a:cubicBezTo>
                <a:moveTo>
                  <a:pt x="56" y="35"/>
                </a:moveTo>
                <a:cubicBezTo>
                  <a:pt x="51" y="35"/>
                  <a:pt x="51" y="35"/>
                  <a:pt x="51" y="35"/>
                </a:cubicBezTo>
                <a:cubicBezTo>
                  <a:pt x="51" y="61"/>
                  <a:pt x="51" y="61"/>
                  <a:pt x="51" y="61"/>
                </a:cubicBezTo>
                <a:cubicBezTo>
                  <a:pt x="51" y="63"/>
                  <a:pt x="52" y="64"/>
                  <a:pt x="53" y="64"/>
                </a:cubicBezTo>
                <a:cubicBezTo>
                  <a:pt x="55" y="64"/>
                  <a:pt x="56" y="63"/>
                  <a:pt x="56" y="61"/>
                </a:cubicBezTo>
                <a:cubicBezTo>
                  <a:pt x="56" y="35"/>
                  <a:pt x="56" y="35"/>
                  <a:pt x="56" y="35"/>
                </a:cubicBezTo>
                <a:moveTo>
                  <a:pt x="32" y="62"/>
                </a:moveTo>
                <a:cubicBezTo>
                  <a:pt x="26" y="62"/>
                  <a:pt x="26" y="62"/>
                  <a:pt x="26" y="62"/>
                </a:cubicBezTo>
                <a:cubicBezTo>
                  <a:pt x="20" y="62"/>
                  <a:pt x="20" y="62"/>
                  <a:pt x="20" y="62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81"/>
                  <a:pt x="8" y="82"/>
                  <a:pt x="10" y="82"/>
                </a:cubicBezTo>
                <a:cubicBezTo>
                  <a:pt x="11" y="82"/>
                  <a:pt x="26" y="82"/>
                  <a:pt x="26" y="82"/>
                </a:cubicBezTo>
                <a:cubicBezTo>
                  <a:pt x="26" y="82"/>
                  <a:pt x="41" y="82"/>
                  <a:pt x="42" y="82"/>
                </a:cubicBezTo>
                <a:cubicBezTo>
                  <a:pt x="44" y="82"/>
                  <a:pt x="44" y="81"/>
                  <a:pt x="44" y="80"/>
                </a:cubicBezTo>
                <a:cubicBezTo>
                  <a:pt x="32" y="62"/>
                  <a:pt x="32" y="62"/>
                  <a:pt x="32" y="62"/>
                </a:cubicBezTo>
                <a:moveTo>
                  <a:pt x="20" y="0"/>
                </a:moveTo>
                <a:cubicBezTo>
                  <a:pt x="18" y="0"/>
                  <a:pt x="17" y="2"/>
                  <a:pt x="17" y="3"/>
                </a:cubicBezTo>
                <a:cubicBezTo>
                  <a:pt x="17" y="5"/>
                  <a:pt x="18" y="6"/>
                  <a:pt x="20" y="6"/>
                </a:cubicBezTo>
                <a:cubicBezTo>
                  <a:pt x="21" y="6"/>
                  <a:pt x="23" y="5"/>
                  <a:pt x="23" y="3"/>
                </a:cubicBezTo>
                <a:cubicBezTo>
                  <a:pt x="23" y="2"/>
                  <a:pt x="21" y="0"/>
                  <a:pt x="20" y="0"/>
                </a:cubicBezTo>
                <a:moveTo>
                  <a:pt x="31" y="3"/>
                </a:moveTo>
                <a:cubicBezTo>
                  <a:pt x="28" y="3"/>
                  <a:pt x="25" y="5"/>
                  <a:pt x="25" y="8"/>
                </a:cubicBezTo>
                <a:cubicBezTo>
                  <a:pt x="25" y="11"/>
                  <a:pt x="28" y="13"/>
                  <a:pt x="31" y="13"/>
                </a:cubicBezTo>
                <a:cubicBezTo>
                  <a:pt x="34" y="13"/>
                  <a:pt x="36" y="11"/>
                  <a:pt x="36" y="8"/>
                </a:cubicBezTo>
                <a:cubicBezTo>
                  <a:pt x="36" y="5"/>
                  <a:pt x="34" y="3"/>
                  <a:pt x="31" y="3"/>
                </a:cubicBezTo>
                <a:moveTo>
                  <a:pt x="25" y="16"/>
                </a:moveTo>
                <a:cubicBezTo>
                  <a:pt x="23" y="16"/>
                  <a:pt x="22" y="18"/>
                  <a:pt x="22" y="20"/>
                </a:cubicBezTo>
                <a:cubicBezTo>
                  <a:pt x="22" y="22"/>
                  <a:pt x="23" y="24"/>
                  <a:pt x="25" y="24"/>
                </a:cubicBezTo>
                <a:cubicBezTo>
                  <a:pt x="27" y="24"/>
                  <a:pt x="29" y="22"/>
                  <a:pt x="29" y="20"/>
                </a:cubicBezTo>
                <a:cubicBezTo>
                  <a:pt x="29" y="18"/>
                  <a:pt x="27" y="16"/>
                  <a:pt x="25" y="1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43" tIns="46620" rIns="93243" bIns="46620" numCol="1" anchor="t" anchorCtr="0" compatLnSpc="1"/>
          <a:lstStyle/>
          <a:p>
            <a:endParaRPr lang="en-US"/>
          </a:p>
        </p:txBody>
      </p:sp>
      <p:sp>
        <p:nvSpPr>
          <p:cNvPr id="109" name="Freeform 11"/>
          <p:cNvSpPr>
            <a:spLocks noEditPoints="1"/>
          </p:cNvSpPr>
          <p:nvPr/>
        </p:nvSpPr>
        <p:spPr bwMode="auto">
          <a:xfrm>
            <a:off x="6791685" y="4040008"/>
            <a:ext cx="721320" cy="666292"/>
          </a:xfrm>
          <a:custGeom>
            <a:avLst/>
            <a:gdLst>
              <a:gd name="T0" fmla="*/ 146 w 205"/>
              <a:gd name="T1" fmla="*/ 106 h 190"/>
              <a:gd name="T2" fmla="*/ 123 w 205"/>
              <a:gd name="T3" fmla="*/ 59 h 190"/>
              <a:gd name="T4" fmla="*/ 91 w 205"/>
              <a:gd name="T5" fmla="*/ 38 h 190"/>
              <a:gd name="T6" fmla="*/ 78 w 205"/>
              <a:gd name="T7" fmla="*/ 11 h 190"/>
              <a:gd name="T8" fmla="*/ 56 w 205"/>
              <a:gd name="T9" fmla="*/ 11 h 190"/>
              <a:gd name="T10" fmla="*/ 32 w 205"/>
              <a:gd name="T11" fmla="*/ 60 h 190"/>
              <a:gd name="T12" fmla="*/ 0 w 205"/>
              <a:gd name="T13" fmla="*/ 82 h 190"/>
              <a:gd name="T14" fmla="*/ 32 w 205"/>
              <a:gd name="T15" fmla="*/ 104 h 190"/>
              <a:gd name="T16" fmla="*/ 33 w 205"/>
              <a:gd name="T17" fmla="*/ 155 h 190"/>
              <a:gd name="T18" fmla="*/ 102 w 205"/>
              <a:gd name="T19" fmla="*/ 155 h 190"/>
              <a:gd name="T20" fmla="*/ 131 w 205"/>
              <a:gd name="T21" fmla="*/ 148 h 190"/>
              <a:gd name="T22" fmla="*/ 205 w 205"/>
              <a:gd name="T23" fmla="*/ 137 h 190"/>
              <a:gd name="T24" fmla="*/ 71 w 205"/>
              <a:gd name="T25" fmla="*/ 121 h 190"/>
              <a:gd name="T26" fmla="*/ 79 w 205"/>
              <a:gd name="T27" fmla="*/ 108 h 190"/>
              <a:gd name="T28" fmla="*/ 71 w 205"/>
              <a:gd name="T29" fmla="*/ 121 h 190"/>
              <a:gd name="T30" fmla="*/ 71 w 205"/>
              <a:gd name="T31" fmla="*/ 72 h 190"/>
              <a:gd name="T32" fmla="*/ 89 w 205"/>
              <a:gd name="T33" fmla="*/ 78 h 190"/>
              <a:gd name="T34" fmla="*/ 71 w 205"/>
              <a:gd name="T35" fmla="*/ 96 h 190"/>
              <a:gd name="T36" fmla="*/ 63 w 205"/>
              <a:gd name="T37" fmla="*/ 74 h 190"/>
              <a:gd name="T38" fmla="*/ 47 w 205"/>
              <a:gd name="T39" fmla="*/ 87 h 190"/>
              <a:gd name="T40" fmla="*/ 47 w 205"/>
              <a:gd name="T41" fmla="*/ 79 h 190"/>
              <a:gd name="T42" fmla="*/ 85 w 205"/>
              <a:gd name="T43" fmla="*/ 43 h 190"/>
              <a:gd name="T44" fmla="*/ 78 w 205"/>
              <a:gd name="T45" fmla="*/ 61 h 190"/>
              <a:gd name="T46" fmla="*/ 71 w 205"/>
              <a:gd name="T47" fmla="*/ 23 h 190"/>
              <a:gd name="T48" fmla="*/ 101 w 205"/>
              <a:gd name="T49" fmla="*/ 81 h 190"/>
              <a:gd name="T50" fmla="*/ 140 w 205"/>
              <a:gd name="T51" fmla="*/ 111 h 190"/>
              <a:gd name="T52" fmla="*/ 89 w 205"/>
              <a:gd name="T53" fmla="*/ 103 h 190"/>
              <a:gd name="T54" fmla="*/ 63 w 205"/>
              <a:gd name="T55" fmla="*/ 25 h 190"/>
              <a:gd name="T56" fmla="*/ 44 w 205"/>
              <a:gd name="T57" fmla="*/ 72 h 190"/>
              <a:gd name="T58" fmla="*/ 63 w 205"/>
              <a:gd name="T59" fmla="*/ 25 h 190"/>
              <a:gd name="T60" fmla="*/ 44 w 205"/>
              <a:gd name="T61" fmla="*/ 94 h 190"/>
              <a:gd name="T62" fmla="*/ 63 w 205"/>
              <a:gd name="T63" fmla="*/ 121 h 190"/>
              <a:gd name="T64" fmla="*/ 39 w 205"/>
              <a:gd name="T65" fmla="*/ 100 h 190"/>
              <a:gd name="T66" fmla="*/ 82 w 205"/>
              <a:gd name="T67" fmla="*/ 124 h 190"/>
              <a:gd name="T68" fmla="*/ 130 w 205"/>
              <a:gd name="T69" fmla="*/ 127 h 190"/>
              <a:gd name="T70" fmla="*/ 129 w 205"/>
              <a:gd name="T71" fmla="*/ 14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5" h="190">
                <a:moveTo>
                  <a:pt x="167" y="99"/>
                </a:moveTo>
                <a:cubicBezTo>
                  <a:pt x="159" y="99"/>
                  <a:pt x="152" y="102"/>
                  <a:pt x="146" y="106"/>
                </a:cubicBezTo>
                <a:cubicBezTo>
                  <a:pt x="118" y="73"/>
                  <a:pt x="118" y="73"/>
                  <a:pt x="118" y="73"/>
                </a:cubicBezTo>
                <a:cubicBezTo>
                  <a:pt x="121" y="69"/>
                  <a:pt x="123" y="64"/>
                  <a:pt x="123" y="59"/>
                </a:cubicBezTo>
                <a:cubicBezTo>
                  <a:pt x="123" y="46"/>
                  <a:pt x="113" y="36"/>
                  <a:pt x="101" y="36"/>
                </a:cubicBezTo>
                <a:cubicBezTo>
                  <a:pt x="97" y="36"/>
                  <a:pt x="94" y="37"/>
                  <a:pt x="91" y="38"/>
                </a:cubicBezTo>
                <a:cubicBezTo>
                  <a:pt x="76" y="17"/>
                  <a:pt x="76" y="17"/>
                  <a:pt x="76" y="17"/>
                </a:cubicBezTo>
                <a:cubicBezTo>
                  <a:pt x="77" y="15"/>
                  <a:pt x="78" y="13"/>
                  <a:pt x="78" y="11"/>
                </a:cubicBezTo>
                <a:cubicBezTo>
                  <a:pt x="78" y="5"/>
                  <a:pt x="73" y="0"/>
                  <a:pt x="67" y="0"/>
                </a:cubicBezTo>
                <a:cubicBezTo>
                  <a:pt x="61" y="0"/>
                  <a:pt x="56" y="5"/>
                  <a:pt x="56" y="11"/>
                </a:cubicBezTo>
                <a:cubicBezTo>
                  <a:pt x="56" y="13"/>
                  <a:pt x="57" y="16"/>
                  <a:pt x="58" y="17"/>
                </a:cubicBezTo>
                <a:cubicBezTo>
                  <a:pt x="32" y="60"/>
                  <a:pt x="32" y="60"/>
                  <a:pt x="32" y="60"/>
                </a:cubicBezTo>
                <a:cubicBezTo>
                  <a:pt x="29" y="59"/>
                  <a:pt x="27" y="59"/>
                  <a:pt x="24" y="59"/>
                </a:cubicBezTo>
                <a:cubicBezTo>
                  <a:pt x="11" y="59"/>
                  <a:pt x="0" y="69"/>
                  <a:pt x="0" y="82"/>
                </a:cubicBezTo>
                <a:cubicBezTo>
                  <a:pt x="0" y="95"/>
                  <a:pt x="11" y="106"/>
                  <a:pt x="24" y="106"/>
                </a:cubicBezTo>
                <a:cubicBezTo>
                  <a:pt x="26" y="106"/>
                  <a:pt x="29" y="105"/>
                  <a:pt x="32" y="104"/>
                </a:cubicBezTo>
                <a:cubicBezTo>
                  <a:pt x="46" y="128"/>
                  <a:pt x="46" y="128"/>
                  <a:pt x="46" y="128"/>
                </a:cubicBezTo>
                <a:cubicBezTo>
                  <a:pt x="38" y="134"/>
                  <a:pt x="33" y="144"/>
                  <a:pt x="33" y="155"/>
                </a:cubicBezTo>
                <a:cubicBezTo>
                  <a:pt x="33" y="174"/>
                  <a:pt x="48" y="190"/>
                  <a:pt x="67" y="190"/>
                </a:cubicBezTo>
                <a:cubicBezTo>
                  <a:pt x="86" y="190"/>
                  <a:pt x="102" y="174"/>
                  <a:pt x="102" y="155"/>
                </a:cubicBezTo>
                <a:cubicBezTo>
                  <a:pt x="102" y="155"/>
                  <a:pt x="101" y="154"/>
                  <a:pt x="101" y="153"/>
                </a:cubicBezTo>
                <a:cubicBezTo>
                  <a:pt x="131" y="148"/>
                  <a:pt x="131" y="148"/>
                  <a:pt x="131" y="148"/>
                </a:cubicBezTo>
                <a:cubicBezTo>
                  <a:pt x="135" y="164"/>
                  <a:pt x="150" y="175"/>
                  <a:pt x="167" y="175"/>
                </a:cubicBezTo>
                <a:cubicBezTo>
                  <a:pt x="188" y="175"/>
                  <a:pt x="205" y="158"/>
                  <a:pt x="205" y="137"/>
                </a:cubicBezTo>
                <a:cubicBezTo>
                  <a:pt x="205" y="116"/>
                  <a:pt x="188" y="99"/>
                  <a:pt x="167" y="99"/>
                </a:cubicBezTo>
                <a:close/>
                <a:moveTo>
                  <a:pt x="71" y="121"/>
                </a:moveTo>
                <a:cubicBezTo>
                  <a:pt x="71" y="105"/>
                  <a:pt x="71" y="105"/>
                  <a:pt x="71" y="105"/>
                </a:cubicBezTo>
                <a:cubicBezTo>
                  <a:pt x="79" y="108"/>
                  <a:pt x="79" y="108"/>
                  <a:pt x="79" y="108"/>
                </a:cubicBezTo>
                <a:cubicBezTo>
                  <a:pt x="74" y="122"/>
                  <a:pt x="74" y="122"/>
                  <a:pt x="74" y="122"/>
                </a:cubicBezTo>
                <a:cubicBezTo>
                  <a:pt x="73" y="121"/>
                  <a:pt x="72" y="121"/>
                  <a:pt x="71" y="121"/>
                </a:cubicBezTo>
                <a:close/>
                <a:moveTo>
                  <a:pt x="71" y="96"/>
                </a:moveTo>
                <a:cubicBezTo>
                  <a:pt x="71" y="72"/>
                  <a:pt x="71" y="72"/>
                  <a:pt x="71" y="72"/>
                </a:cubicBezTo>
                <a:cubicBezTo>
                  <a:pt x="81" y="69"/>
                  <a:pt x="81" y="69"/>
                  <a:pt x="81" y="69"/>
                </a:cubicBezTo>
                <a:cubicBezTo>
                  <a:pt x="83" y="73"/>
                  <a:pt x="86" y="76"/>
                  <a:pt x="89" y="78"/>
                </a:cubicBezTo>
                <a:cubicBezTo>
                  <a:pt x="82" y="100"/>
                  <a:pt x="82" y="100"/>
                  <a:pt x="82" y="100"/>
                </a:cubicBezTo>
                <a:lnTo>
                  <a:pt x="71" y="96"/>
                </a:lnTo>
                <a:close/>
                <a:moveTo>
                  <a:pt x="47" y="79"/>
                </a:moveTo>
                <a:cubicBezTo>
                  <a:pt x="63" y="74"/>
                  <a:pt x="63" y="74"/>
                  <a:pt x="63" y="74"/>
                </a:cubicBezTo>
                <a:cubicBezTo>
                  <a:pt x="63" y="93"/>
                  <a:pt x="63" y="93"/>
                  <a:pt x="63" y="93"/>
                </a:cubicBezTo>
                <a:cubicBezTo>
                  <a:pt x="47" y="87"/>
                  <a:pt x="47" y="87"/>
                  <a:pt x="47" y="87"/>
                </a:cubicBezTo>
                <a:cubicBezTo>
                  <a:pt x="47" y="85"/>
                  <a:pt x="47" y="84"/>
                  <a:pt x="47" y="82"/>
                </a:cubicBezTo>
                <a:cubicBezTo>
                  <a:pt x="47" y="81"/>
                  <a:pt x="47" y="80"/>
                  <a:pt x="47" y="79"/>
                </a:cubicBezTo>
                <a:close/>
                <a:moveTo>
                  <a:pt x="71" y="23"/>
                </a:moveTo>
                <a:cubicBezTo>
                  <a:pt x="85" y="43"/>
                  <a:pt x="85" y="43"/>
                  <a:pt x="85" y="43"/>
                </a:cubicBezTo>
                <a:cubicBezTo>
                  <a:pt x="81" y="47"/>
                  <a:pt x="78" y="53"/>
                  <a:pt x="78" y="59"/>
                </a:cubicBezTo>
                <a:cubicBezTo>
                  <a:pt x="78" y="60"/>
                  <a:pt x="78" y="61"/>
                  <a:pt x="78" y="61"/>
                </a:cubicBezTo>
                <a:cubicBezTo>
                  <a:pt x="71" y="64"/>
                  <a:pt x="71" y="64"/>
                  <a:pt x="71" y="64"/>
                </a:cubicBezTo>
                <a:lnTo>
                  <a:pt x="71" y="23"/>
                </a:lnTo>
                <a:close/>
                <a:moveTo>
                  <a:pt x="97" y="81"/>
                </a:moveTo>
                <a:cubicBezTo>
                  <a:pt x="98" y="81"/>
                  <a:pt x="99" y="81"/>
                  <a:pt x="101" y="81"/>
                </a:cubicBezTo>
                <a:cubicBezTo>
                  <a:pt x="105" y="81"/>
                  <a:pt x="108" y="80"/>
                  <a:pt x="112" y="78"/>
                </a:cubicBezTo>
                <a:cubicBezTo>
                  <a:pt x="140" y="111"/>
                  <a:pt x="140" y="111"/>
                  <a:pt x="140" y="111"/>
                </a:cubicBezTo>
                <a:cubicBezTo>
                  <a:pt x="137" y="114"/>
                  <a:pt x="135" y="117"/>
                  <a:pt x="133" y="120"/>
                </a:cubicBezTo>
                <a:cubicBezTo>
                  <a:pt x="89" y="103"/>
                  <a:pt x="89" y="103"/>
                  <a:pt x="89" y="103"/>
                </a:cubicBezTo>
                <a:lnTo>
                  <a:pt x="97" y="81"/>
                </a:lnTo>
                <a:close/>
                <a:moveTo>
                  <a:pt x="63" y="25"/>
                </a:moveTo>
                <a:cubicBezTo>
                  <a:pt x="63" y="66"/>
                  <a:pt x="63" y="66"/>
                  <a:pt x="63" y="66"/>
                </a:cubicBezTo>
                <a:cubicBezTo>
                  <a:pt x="44" y="72"/>
                  <a:pt x="44" y="72"/>
                  <a:pt x="44" y="72"/>
                </a:cubicBezTo>
                <a:cubicBezTo>
                  <a:pt x="43" y="69"/>
                  <a:pt x="41" y="67"/>
                  <a:pt x="39" y="65"/>
                </a:cubicBezTo>
                <a:lnTo>
                  <a:pt x="63" y="25"/>
                </a:lnTo>
                <a:close/>
                <a:moveTo>
                  <a:pt x="39" y="100"/>
                </a:moveTo>
                <a:cubicBezTo>
                  <a:pt x="41" y="98"/>
                  <a:pt x="42" y="96"/>
                  <a:pt x="44" y="94"/>
                </a:cubicBezTo>
                <a:cubicBezTo>
                  <a:pt x="63" y="102"/>
                  <a:pt x="63" y="102"/>
                  <a:pt x="63" y="102"/>
                </a:cubicBezTo>
                <a:cubicBezTo>
                  <a:pt x="63" y="121"/>
                  <a:pt x="63" y="121"/>
                  <a:pt x="63" y="121"/>
                </a:cubicBezTo>
                <a:cubicBezTo>
                  <a:pt x="59" y="121"/>
                  <a:pt x="56" y="122"/>
                  <a:pt x="53" y="124"/>
                </a:cubicBezTo>
                <a:lnTo>
                  <a:pt x="39" y="100"/>
                </a:lnTo>
                <a:close/>
                <a:moveTo>
                  <a:pt x="100" y="145"/>
                </a:moveTo>
                <a:cubicBezTo>
                  <a:pt x="97" y="136"/>
                  <a:pt x="91" y="128"/>
                  <a:pt x="82" y="124"/>
                </a:cubicBezTo>
                <a:cubicBezTo>
                  <a:pt x="87" y="111"/>
                  <a:pt x="87" y="111"/>
                  <a:pt x="87" y="111"/>
                </a:cubicBezTo>
                <a:cubicBezTo>
                  <a:pt x="130" y="127"/>
                  <a:pt x="130" y="127"/>
                  <a:pt x="130" y="127"/>
                </a:cubicBezTo>
                <a:cubicBezTo>
                  <a:pt x="129" y="131"/>
                  <a:pt x="129" y="134"/>
                  <a:pt x="129" y="137"/>
                </a:cubicBezTo>
                <a:cubicBezTo>
                  <a:pt x="129" y="138"/>
                  <a:pt x="129" y="139"/>
                  <a:pt x="129" y="140"/>
                </a:cubicBezTo>
                <a:lnTo>
                  <a:pt x="100" y="1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7" tIns="45713" rIns="91427" bIns="45713" numCol="1" anchor="t" anchorCtr="0" compatLnSpc="1"/>
          <a:lstStyle/>
          <a:p>
            <a:pPr defTabSz="913130">
              <a:defRPr/>
            </a:pPr>
            <a:endParaRPr lang="en-US" kern="0" dirty="0">
              <a:solidFill>
                <a:srgbClr val="FFFFFF"/>
              </a:solidFill>
              <a:latin typeface="Segoe"/>
            </a:endParaRPr>
          </a:p>
        </p:txBody>
      </p:sp>
      <p:pic>
        <p:nvPicPr>
          <p:cNvPr id="110" name="Picture 6" descr="C:\Users\Jonahs\Dropbox\Projects SCOTT\MEET Windows Azure\source\Background\tile-icon-database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544" y="2821157"/>
            <a:ext cx="721320" cy="721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Freeform 21"/>
          <p:cNvSpPr>
            <a:spLocks noEditPoints="1"/>
          </p:cNvSpPr>
          <p:nvPr/>
        </p:nvSpPr>
        <p:spPr bwMode="black">
          <a:xfrm>
            <a:off x="2949544" y="2858542"/>
            <a:ext cx="694573" cy="694394"/>
          </a:xfrm>
          <a:custGeom>
            <a:avLst/>
            <a:gdLst>
              <a:gd name="T0" fmla="*/ 75 w 300"/>
              <a:gd name="T1" fmla="*/ 60 h 300"/>
              <a:gd name="T2" fmla="*/ 37 w 300"/>
              <a:gd name="T3" fmla="*/ 52 h 300"/>
              <a:gd name="T4" fmla="*/ 0 w 300"/>
              <a:gd name="T5" fmla="*/ 60 h 300"/>
              <a:gd name="T6" fmla="*/ 0 w 300"/>
              <a:gd name="T7" fmla="*/ 15 h 300"/>
              <a:gd name="T8" fmla="*/ 37 w 300"/>
              <a:gd name="T9" fmla="*/ 22 h 300"/>
              <a:gd name="T10" fmla="*/ 75 w 300"/>
              <a:gd name="T11" fmla="*/ 15 h 300"/>
              <a:gd name="T12" fmla="*/ 300 w 300"/>
              <a:gd name="T13" fmla="*/ 15 h 300"/>
              <a:gd name="T14" fmla="*/ 262 w 300"/>
              <a:gd name="T15" fmla="*/ 22 h 300"/>
              <a:gd name="T16" fmla="*/ 225 w 300"/>
              <a:gd name="T17" fmla="*/ 15 h 300"/>
              <a:gd name="T18" fmla="*/ 225 w 300"/>
              <a:gd name="T19" fmla="*/ 60 h 300"/>
              <a:gd name="T20" fmla="*/ 262 w 300"/>
              <a:gd name="T21" fmla="*/ 52 h 300"/>
              <a:gd name="T22" fmla="*/ 300 w 300"/>
              <a:gd name="T23" fmla="*/ 60 h 300"/>
              <a:gd name="T24" fmla="*/ 300 w 300"/>
              <a:gd name="T25" fmla="*/ 15 h 300"/>
              <a:gd name="T26" fmla="*/ 173 w 300"/>
              <a:gd name="T27" fmla="*/ 0 h 300"/>
              <a:gd name="T28" fmla="*/ 128 w 300"/>
              <a:gd name="T29" fmla="*/ 0 h 300"/>
              <a:gd name="T30" fmla="*/ 135 w 300"/>
              <a:gd name="T31" fmla="*/ 37 h 300"/>
              <a:gd name="T32" fmla="*/ 128 w 300"/>
              <a:gd name="T33" fmla="*/ 75 h 300"/>
              <a:gd name="T34" fmla="*/ 173 w 300"/>
              <a:gd name="T35" fmla="*/ 75 h 300"/>
              <a:gd name="T36" fmla="*/ 165 w 300"/>
              <a:gd name="T37" fmla="*/ 37 h 300"/>
              <a:gd name="T38" fmla="*/ 38 w 300"/>
              <a:gd name="T39" fmla="*/ 225 h 300"/>
              <a:gd name="T40" fmla="*/ 38 w 300"/>
              <a:gd name="T41" fmla="*/ 300 h 300"/>
              <a:gd name="T42" fmla="*/ 38 w 300"/>
              <a:gd name="T43" fmla="*/ 225 h 300"/>
              <a:gd name="T44" fmla="*/ 38 w 300"/>
              <a:gd name="T45" fmla="*/ 277 h 300"/>
              <a:gd name="T46" fmla="*/ 38 w 300"/>
              <a:gd name="T47" fmla="*/ 247 h 300"/>
              <a:gd name="T48" fmla="*/ 150 w 300"/>
              <a:gd name="T49" fmla="*/ 225 h 300"/>
              <a:gd name="T50" fmla="*/ 150 w 300"/>
              <a:gd name="T51" fmla="*/ 300 h 300"/>
              <a:gd name="T52" fmla="*/ 150 w 300"/>
              <a:gd name="T53" fmla="*/ 225 h 300"/>
              <a:gd name="T54" fmla="*/ 150 w 300"/>
              <a:gd name="T55" fmla="*/ 277 h 300"/>
              <a:gd name="T56" fmla="*/ 150 w 300"/>
              <a:gd name="T57" fmla="*/ 247 h 300"/>
              <a:gd name="T58" fmla="*/ 263 w 300"/>
              <a:gd name="T59" fmla="*/ 225 h 300"/>
              <a:gd name="T60" fmla="*/ 263 w 300"/>
              <a:gd name="T61" fmla="*/ 300 h 300"/>
              <a:gd name="T62" fmla="*/ 263 w 300"/>
              <a:gd name="T63" fmla="*/ 225 h 300"/>
              <a:gd name="T64" fmla="*/ 263 w 300"/>
              <a:gd name="T65" fmla="*/ 277 h 300"/>
              <a:gd name="T66" fmla="*/ 263 w 300"/>
              <a:gd name="T67" fmla="*/ 247 h 300"/>
              <a:gd name="T68" fmla="*/ 162 w 300"/>
              <a:gd name="T69" fmla="*/ 162 h 300"/>
              <a:gd name="T70" fmla="*/ 257 w 300"/>
              <a:gd name="T71" fmla="*/ 174 h 300"/>
              <a:gd name="T72" fmla="*/ 269 w 300"/>
              <a:gd name="T73" fmla="*/ 207 h 300"/>
              <a:gd name="T74" fmla="*/ 162 w 300"/>
              <a:gd name="T75" fmla="*/ 162 h 300"/>
              <a:gd name="T76" fmla="*/ 60 w 300"/>
              <a:gd name="T77" fmla="*/ 166 h 300"/>
              <a:gd name="T78" fmla="*/ 138 w 300"/>
              <a:gd name="T79" fmla="*/ 174 h 300"/>
              <a:gd name="T80" fmla="*/ 65 w 300"/>
              <a:gd name="T81" fmla="*/ 162 h 300"/>
              <a:gd name="T82" fmla="*/ 9 w 300"/>
              <a:gd name="T83" fmla="*/ 105 h 300"/>
              <a:gd name="T84" fmla="*/ 32 w 300"/>
              <a:gd name="T85" fmla="*/ 167 h 300"/>
              <a:gd name="T86" fmla="*/ 44 w 300"/>
              <a:gd name="T87" fmla="*/ 148 h 300"/>
              <a:gd name="T88" fmla="*/ 66 w 300"/>
              <a:gd name="T89" fmla="*/ 105 h 300"/>
              <a:gd name="T90" fmla="*/ 215 w 300"/>
              <a:gd name="T91" fmla="*/ 85 h 300"/>
              <a:gd name="T92" fmla="*/ 231 w 300"/>
              <a:gd name="T93" fmla="*/ 101 h 300"/>
              <a:gd name="T94" fmla="*/ 162 w 300"/>
              <a:gd name="T95" fmla="*/ 149 h 300"/>
              <a:gd name="T96" fmla="*/ 255 w 300"/>
              <a:gd name="T97" fmla="*/ 125 h 300"/>
              <a:gd name="T98" fmla="*/ 215 w 300"/>
              <a:gd name="T99" fmla="*/ 85 h 300"/>
              <a:gd name="T100" fmla="*/ 47 w 300"/>
              <a:gd name="T101" fmla="*/ 153 h 300"/>
              <a:gd name="T102" fmla="*/ 35 w 300"/>
              <a:gd name="T103" fmla="*/ 174 h 300"/>
              <a:gd name="T104" fmla="*/ 44 w 300"/>
              <a:gd name="T105" fmla="*/ 207 h 300"/>
              <a:gd name="T106" fmla="*/ 55 w 300"/>
              <a:gd name="T107" fmla="*/ 162 h 300"/>
              <a:gd name="T108" fmla="*/ 110 w 300"/>
              <a:gd name="T109" fmla="*/ 151 h 300"/>
              <a:gd name="T110" fmla="*/ 138 w 300"/>
              <a:gd name="T111" fmla="*/ 139 h 300"/>
              <a:gd name="T112" fmla="*/ 179 w 300"/>
              <a:gd name="T113" fmla="*/ 105 h 300"/>
              <a:gd name="T114" fmla="*/ 122 w 300"/>
              <a:gd name="T115" fmla="*/ 105 h 300"/>
              <a:gd name="T116" fmla="*/ 144 w 300"/>
              <a:gd name="T117" fmla="*/ 207 h 300"/>
              <a:gd name="T118" fmla="*/ 156 w 300"/>
              <a:gd name="T119" fmla="*/ 105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0" h="300">
                <a:moveTo>
                  <a:pt x="52" y="37"/>
                </a:moveTo>
                <a:cubicBezTo>
                  <a:pt x="75" y="60"/>
                  <a:pt x="75" y="60"/>
                  <a:pt x="75" y="60"/>
                </a:cubicBezTo>
                <a:cubicBezTo>
                  <a:pt x="60" y="75"/>
                  <a:pt x="60" y="75"/>
                  <a:pt x="60" y="75"/>
                </a:cubicBezTo>
                <a:cubicBezTo>
                  <a:pt x="37" y="52"/>
                  <a:pt x="37" y="52"/>
                  <a:pt x="37" y="52"/>
                </a:cubicBezTo>
                <a:cubicBezTo>
                  <a:pt x="15" y="75"/>
                  <a:pt x="15" y="75"/>
                  <a:pt x="15" y="75"/>
                </a:cubicBezTo>
                <a:cubicBezTo>
                  <a:pt x="0" y="60"/>
                  <a:pt x="0" y="60"/>
                  <a:pt x="0" y="60"/>
                </a:cubicBezTo>
                <a:cubicBezTo>
                  <a:pt x="23" y="37"/>
                  <a:pt x="23" y="37"/>
                  <a:pt x="23" y="37"/>
                </a:cubicBezTo>
                <a:cubicBezTo>
                  <a:pt x="0" y="15"/>
                  <a:pt x="0" y="15"/>
                  <a:pt x="0" y="15"/>
                </a:cubicBezTo>
                <a:cubicBezTo>
                  <a:pt x="15" y="0"/>
                  <a:pt x="15" y="0"/>
                  <a:pt x="15" y="0"/>
                </a:cubicBezTo>
                <a:cubicBezTo>
                  <a:pt x="37" y="22"/>
                  <a:pt x="37" y="22"/>
                  <a:pt x="37" y="22"/>
                </a:cubicBezTo>
                <a:cubicBezTo>
                  <a:pt x="60" y="0"/>
                  <a:pt x="60" y="0"/>
                  <a:pt x="60" y="0"/>
                </a:cubicBezTo>
                <a:cubicBezTo>
                  <a:pt x="75" y="15"/>
                  <a:pt x="75" y="15"/>
                  <a:pt x="75" y="15"/>
                </a:cubicBezTo>
                <a:lnTo>
                  <a:pt x="52" y="37"/>
                </a:lnTo>
                <a:close/>
                <a:moveTo>
                  <a:pt x="300" y="15"/>
                </a:moveTo>
                <a:cubicBezTo>
                  <a:pt x="285" y="0"/>
                  <a:pt x="285" y="0"/>
                  <a:pt x="285" y="0"/>
                </a:cubicBezTo>
                <a:cubicBezTo>
                  <a:pt x="262" y="22"/>
                  <a:pt x="262" y="22"/>
                  <a:pt x="262" y="22"/>
                </a:cubicBezTo>
                <a:cubicBezTo>
                  <a:pt x="240" y="0"/>
                  <a:pt x="240" y="0"/>
                  <a:pt x="240" y="0"/>
                </a:cubicBezTo>
                <a:cubicBezTo>
                  <a:pt x="225" y="15"/>
                  <a:pt x="225" y="15"/>
                  <a:pt x="225" y="15"/>
                </a:cubicBezTo>
                <a:cubicBezTo>
                  <a:pt x="248" y="37"/>
                  <a:pt x="248" y="37"/>
                  <a:pt x="248" y="37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40" y="75"/>
                  <a:pt x="240" y="75"/>
                  <a:pt x="240" y="75"/>
                </a:cubicBezTo>
                <a:cubicBezTo>
                  <a:pt x="262" y="52"/>
                  <a:pt x="262" y="52"/>
                  <a:pt x="262" y="52"/>
                </a:cubicBezTo>
                <a:cubicBezTo>
                  <a:pt x="285" y="75"/>
                  <a:pt x="285" y="75"/>
                  <a:pt x="285" y="75"/>
                </a:cubicBezTo>
                <a:cubicBezTo>
                  <a:pt x="300" y="60"/>
                  <a:pt x="300" y="60"/>
                  <a:pt x="300" y="60"/>
                </a:cubicBezTo>
                <a:cubicBezTo>
                  <a:pt x="277" y="37"/>
                  <a:pt x="277" y="37"/>
                  <a:pt x="277" y="37"/>
                </a:cubicBezTo>
                <a:lnTo>
                  <a:pt x="300" y="15"/>
                </a:lnTo>
                <a:close/>
                <a:moveTo>
                  <a:pt x="188" y="15"/>
                </a:moveTo>
                <a:cubicBezTo>
                  <a:pt x="173" y="0"/>
                  <a:pt x="173" y="0"/>
                  <a:pt x="173" y="0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28" y="0"/>
                  <a:pt x="128" y="0"/>
                  <a:pt x="128" y="0"/>
                </a:cubicBezTo>
                <a:cubicBezTo>
                  <a:pt x="113" y="15"/>
                  <a:pt x="113" y="15"/>
                  <a:pt x="113" y="15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13" y="60"/>
                  <a:pt x="113" y="60"/>
                  <a:pt x="113" y="60"/>
                </a:cubicBezTo>
                <a:cubicBezTo>
                  <a:pt x="128" y="75"/>
                  <a:pt x="128" y="75"/>
                  <a:pt x="128" y="75"/>
                </a:cubicBezTo>
                <a:cubicBezTo>
                  <a:pt x="150" y="52"/>
                  <a:pt x="150" y="52"/>
                  <a:pt x="150" y="52"/>
                </a:cubicBezTo>
                <a:cubicBezTo>
                  <a:pt x="173" y="75"/>
                  <a:pt x="173" y="75"/>
                  <a:pt x="173" y="75"/>
                </a:cubicBezTo>
                <a:cubicBezTo>
                  <a:pt x="188" y="60"/>
                  <a:pt x="188" y="60"/>
                  <a:pt x="188" y="60"/>
                </a:cubicBezTo>
                <a:cubicBezTo>
                  <a:pt x="165" y="37"/>
                  <a:pt x="165" y="37"/>
                  <a:pt x="165" y="37"/>
                </a:cubicBezTo>
                <a:lnTo>
                  <a:pt x="188" y="15"/>
                </a:lnTo>
                <a:close/>
                <a:moveTo>
                  <a:pt x="38" y="225"/>
                </a:moveTo>
                <a:cubicBezTo>
                  <a:pt x="17" y="225"/>
                  <a:pt x="0" y="242"/>
                  <a:pt x="0" y="262"/>
                </a:cubicBezTo>
                <a:cubicBezTo>
                  <a:pt x="0" y="283"/>
                  <a:pt x="17" y="300"/>
                  <a:pt x="38" y="300"/>
                </a:cubicBezTo>
                <a:cubicBezTo>
                  <a:pt x="58" y="300"/>
                  <a:pt x="75" y="283"/>
                  <a:pt x="75" y="262"/>
                </a:cubicBezTo>
                <a:cubicBezTo>
                  <a:pt x="75" y="242"/>
                  <a:pt x="58" y="225"/>
                  <a:pt x="38" y="225"/>
                </a:cubicBezTo>
                <a:close/>
                <a:moveTo>
                  <a:pt x="53" y="262"/>
                </a:moveTo>
                <a:cubicBezTo>
                  <a:pt x="53" y="271"/>
                  <a:pt x="46" y="277"/>
                  <a:pt x="38" y="277"/>
                </a:cubicBezTo>
                <a:cubicBezTo>
                  <a:pt x="29" y="277"/>
                  <a:pt x="23" y="271"/>
                  <a:pt x="23" y="262"/>
                </a:cubicBezTo>
                <a:cubicBezTo>
                  <a:pt x="23" y="254"/>
                  <a:pt x="29" y="247"/>
                  <a:pt x="38" y="247"/>
                </a:cubicBezTo>
                <a:cubicBezTo>
                  <a:pt x="46" y="247"/>
                  <a:pt x="53" y="254"/>
                  <a:pt x="53" y="262"/>
                </a:cubicBezTo>
                <a:close/>
                <a:moveTo>
                  <a:pt x="150" y="225"/>
                </a:moveTo>
                <a:cubicBezTo>
                  <a:pt x="129" y="225"/>
                  <a:pt x="113" y="242"/>
                  <a:pt x="113" y="262"/>
                </a:cubicBezTo>
                <a:cubicBezTo>
                  <a:pt x="113" y="283"/>
                  <a:pt x="129" y="300"/>
                  <a:pt x="150" y="300"/>
                </a:cubicBezTo>
                <a:cubicBezTo>
                  <a:pt x="171" y="300"/>
                  <a:pt x="188" y="283"/>
                  <a:pt x="188" y="262"/>
                </a:cubicBezTo>
                <a:cubicBezTo>
                  <a:pt x="188" y="242"/>
                  <a:pt x="171" y="225"/>
                  <a:pt x="150" y="225"/>
                </a:cubicBezTo>
                <a:close/>
                <a:moveTo>
                  <a:pt x="165" y="262"/>
                </a:moveTo>
                <a:cubicBezTo>
                  <a:pt x="165" y="271"/>
                  <a:pt x="158" y="277"/>
                  <a:pt x="150" y="277"/>
                </a:cubicBezTo>
                <a:cubicBezTo>
                  <a:pt x="142" y="277"/>
                  <a:pt x="135" y="271"/>
                  <a:pt x="135" y="262"/>
                </a:cubicBezTo>
                <a:cubicBezTo>
                  <a:pt x="135" y="254"/>
                  <a:pt x="142" y="247"/>
                  <a:pt x="150" y="247"/>
                </a:cubicBezTo>
                <a:cubicBezTo>
                  <a:pt x="158" y="247"/>
                  <a:pt x="165" y="254"/>
                  <a:pt x="165" y="262"/>
                </a:cubicBezTo>
                <a:close/>
                <a:moveTo>
                  <a:pt x="263" y="225"/>
                </a:moveTo>
                <a:cubicBezTo>
                  <a:pt x="242" y="225"/>
                  <a:pt x="225" y="242"/>
                  <a:pt x="225" y="262"/>
                </a:cubicBezTo>
                <a:cubicBezTo>
                  <a:pt x="225" y="283"/>
                  <a:pt x="242" y="300"/>
                  <a:pt x="263" y="300"/>
                </a:cubicBezTo>
                <a:cubicBezTo>
                  <a:pt x="283" y="300"/>
                  <a:pt x="300" y="283"/>
                  <a:pt x="300" y="262"/>
                </a:cubicBezTo>
                <a:cubicBezTo>
                  <a:pt x="300" y="242"/>
                  <a:pt x="283" y="225"/>
                  <a:pt x="263" y="225"/>
                </a:cubicBezTo>
                <a:close/>
                <a:moveTo>
                  <a:pt x="278" y="262"/>
                </a:moveTo>
                <a:cubicBezTo>
                  <a:pt x="278" y="271"/>
                  <a:pt x="271" y="277"/>
                  <a:pt x="263" y="277"/>
                </a:cubicBezTo>
                <a:cubicBezTo>
                  <a:pt x="254" y="277"/>
                  <a:pt x="248" y="271"/>
                  <a:pt x="248" y="262"/>
                </a:cubicBezTo>
                <a:cubicBezTo>
                  <a:pt x="248" y="254"/>
                  <a:pt x="254" y="247"/>
                  <a:pt x="263" y="247"/>
                </a:cubicBezTo>
                <a:cubicBezTo>
                  <a:pt x="271" y="247"/>
                  <a:pt x="278" y="254"/>
                  <a:pt x="278" y="262"/>
                </a:cubicBezTo>
                <a:close/>
                <a:moveTo>
                  <a:pt x="162" y="162"/>
                </a:moveTo>
                <a:cubicBezTo>
                  <a:pt x="162" y="174"/>
                  <a:pt x="162" y="174"/>
                  <a:pt x="162" y="174"/>
                </a:cubicBezTo>
                <a:cubicBezTo>
                  <a:pt x="257" y="174"/>
                  <a:pt x="257" y="174"/>
                  <a:pt x="257" y="174"/>
                </a:cubicBezTo>
                <a:cubicBezTo>
                  <a:pt x="257" y="207"/>
                  <a:pt x="257" y="207"/>
                  <a:pt x="257" y="207"/>
                </a:cubicBezTo>
                <a:cubicBezTo>
                  <a:pt x="269" y="207"/>
                  <a:pt x="269" y="207"/>
                  <a:pt x="269" y="207"/>
                </a:cubicBezTo>
                <a:cubicBezTo>
                  <a:pt x="269" y="162"/>
                  <a:pt x="269" y="162"/>
                  <a:pt x="269" y="162"/>
                </a:cubicBezTo>
                <a:lnTo>
                  <a:pt x="162" y="162"/>
                </a:lnTo>
                <a:close/>
                <a:moveTo>
                  <a:pt x="65" y="162"/>
                </a:moveTo>
                <a:cubicBezTo>
                  <a:pt x="63" y="163"/>
                  <a:pt x="62" y="164"/>
                  <a:pt x="60" y="166"/>
                </a:cubicBezTo>
                <a:cubicBezTo>
                  <a:pt x="58" y="168"/>
                  <a:pt x="56" y="171"/>
                  <a:pt x="55" y="174"/>
                </a:cubicBezTo>
                <a:cubicBezTo>
                  <a:pt x="138" y="174"/>
                  <a:pt x="138" y="174"/>
                  <a:pt x="138" y="174"/>
                </a:cubicBezTo>
                <a:cubicBezTo>
                  <a:pt x="138" y="162"/>
                  <a:pt x="138" y="162"/>
                  <a:pt x="138" y="162"/>
                </a:cubicBezTo>
                <a:lnTo>
                  <a:pt x="65" y="162"/>
                </a:lnTo>
                <a:close/>
                <a:moveTo>
                  <a:pt x="38" y="76"/>
                </a:moveTo>
                <a:cubicBezTo>
                  <a:pt x="9" y="105"/>
                  <a:pt x="9" y="105"/>
                  <a:pt x="9" y="105"/>
                </a:cubicBezTo>
                <a:cubicBezTo>
                  <a:pt x="32" y="105"/>
                  <a:pt x="32" y="105"/>
                  <a:pt x="32" y="105"/>
                </a:cubicBezTo>
                <a:cubicBezTo>
                  <a:pt x="32" y="167"/>
                  <a:pt x="32" y="167"/>
                  <a:pt x="32" y="167"/>
                </a:cubicBezTo>
                <a:cubicBezTo>
                  <a:pt x="34" y="160"/>
                  <a:pt x="38" y="154"/>
                  <a:pt x="43" y="149"/>
                </a:cubicBezTo>
                <a:cubicBezTo>
                  <a:pt x="43" y="149"/>
                  <a:pt x="43" y="148"/>
                  <a:pt x="44" y="148"/>
                </a:cubicBezTo>
                <a:cubicBezTo>
                  <a:pt x="44" y="105"/>
                  <a:pt x="44" y="105"/>
                  <a:pt x="44" y="105"/>
                </a:cubicBezTo>
                <a:cubicBezTo>
                  <a:pt x="66" y="105"/>
                  <a:pt x="66" y="105"/>
                  <a:pt x="66" y="105"/>
                </a:cubicBezTo>
                <a:lnTo>
                  <a:pt x="38" y="76"/>
                </a:lnTo>
                <a:close/>
                <a:moveTo>
                  <a:pt x="215" y="85"/>
                </a:moveTo>
                <a:cubicBezTo>
                  <a:pt x="235" y="105"/>
                  <a:pt x="235" y="105"/>
                  <a:pt x="235" y="105"/>
                </a:cubicBezTo>
                <a:cubicBezTo>
                  <a:pt x="231" y="101"/>
                  <a:pt x="231" y="101"/>
                  <a:pt x="231" y="101"/>
                </a:cubicBezTo>
                <a:cubicBezTo>
                  <a:pt x="208" y="123"/>
                  <a:pt x="185" y="133"/>
                  <a:pt x="162" y="137"/>
                </a:cubicBezTo>
                <a:cubicBezTo>
                  <a:pt x="162" y="149"/>
                  <a:pt x="162" y="149"/>
                  <a:pt x="162" y="149"/>
                </a:cubicBezTo>
                <a:cubicBezTo>
                  <a:pt x="187" y="145"/>
                  <a:pt x="214" y="135"/>
                  <a:pt x="239" y="109"/>
                </a:cubicBezTo>
                <a:cubicBezTo>
                  <a:pt x="255" y="125"/>
                  <a:pt x="255" y="125"/>
                  <a:pt x="255" y="125"/>
                </a:cubicBezTo>
                <a:cubicBezTo>
                  <a:pt x="255" y="85"/>
                  <a:pt x="255" y="85"/>
                  <a:pt x="255" y="85"/>
                </a:cubicBezTo>
                <a:lnTo>
                  <a:pt x="215" y="85"/>
                </a:lnTo>
                <a:close/>
                <a:moveTo>
                  <a:pt x="111" y="139"/>
                </a:moveTo>
                <a:cubicBezTo>
                  <a:pt x="85" y="139"/>
                  <a:pt x="62" y="138"/>
                  <a:pt x="47" y="153"/>
                </a:cubicBezTo>
                <a:cubicBezTo>
                  <a:pt x="46" y="154"/>
                  <a:pt x="45" y="156"/>
                  <a:pt x="44" y="157"/>
                </a:cubicBezTo>
                <a:cubicBezTo>
                  <a:pt x="40" y="162"/>
                  <a:pt x="37" y="167"/>
                  <a:pt x="35" y="174"/>
                </a:cubicBezTo>
                <a:cubicBezTo>
                  <a:pt x="33" y="183"/>
                  <a:pt x="32" y="194"/>
                  <a:pt x="32" y="207"/>
                </a:cubicBezTo>
                <a:cubicBezTo>
                  <a:pt x="44" y="207"/>
                  <a:pt x="44" y="207"/>
                  <a:pt x="44" y="207"/>
                </a:cubicBezTo>
                <a:cubicBezTo>
                  <a:pt x="44" y="193"/>
                  <a:pt x="45" y="182"/>
                  <a:pt x="48" y="174"/>
                </a:cubicBezTo>
                <a:cubicBezTo>
                  <a:pt x="50" y="169"/>
                  <a:pt x="52" y="165"/>
                  <a:pt x="55" y="162"/>
                </a:cubicBezTo>
                <a:cubicBezTo>
                  <a:pt x="56" y="162"/>
                  <a:pt x="56" y="162"/>
                  <a:pt x="56" y="161"/>
                </a:cubicBezTo>
                <a:cubicBezTo>
                  <a:pt x="67" y="150"/>
                  <a:pt x="86" y="151"/>
                  <a:pt x="110" y="151"/>
                </a:cubicBezTo>
                <a:cubicBezTo>
                  <a:pt x="119" y="151"/>
                  <a:pt x="128" y="152"/>
                  <a:pt x="138" y="151"/>
                </a:cubicBezTo>
                <a:cubicBezTo>
                  <a:pt x="138" y="139"/>
                  <a:pt x="138" y="139"/>
                  <a:pt x="138" y="139"/>
                </a:cubicBezTo>
                <a:cubicBezTo>
                  <a:pt x="128" y="140"/>
                  <a:pt x="119" y="139"/>
                  <a:pt x="111" y="139"/>
                </a:cubicBezTo>
                <a:close/>
                <a:moveTo>
                  <a:pt x="179" y="105"/>
                </a:moveTo>
                <a:cubicBezTo>
                  <a:pt x="150" y="76"/>
                  <a:pt x="150" y="76"/>
                  <a:pt x="150" y="76"/>
                </a:cubicBezTo>
                <a:cubicBezTo>
                  <a:pt x="122" y="105"/>
                  <a:pt x="122" y="105"/>
                  <a:pt x="122" y="105"/>
                </a:cubicBezTo>
                <a:cubicBezTo>
                  <a:pt x="144" y="105"/>
                  <a:pt x="144" y="105"/>
                  <a:pt x="144" y="105"/>
                </a:cubicBezTo>
                <a:cubicBezTo>
                  <a:pt x="144" y="207"/>
                  <a:pt x="144" y="207"/>
                  <a:pt x="144" y="207"/>
                </a:cubicBezTo>
                <a:cubicBezTo>
                  <a:pt x="156" y="207"/>
                  <a:pt x="156" y="207"/>
                  <a:pt x="156" y="207"/>
                </a:cubicBezTo>
                <a:cubicBezTo>
                  <a:pt x="156" y="105"/>
                  <a:pt x="156" y="105"/>
                  <a:pt x="156" y="105"/>
                </a:cubicBezTo>
                <a:lnTo>
                  <a:pt x="179" y="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3891" tIns="41948" rIns="83891" bIns="41948" numCol="1" anchor="t" anchorCtr="0" compatLnSpc="1"/>
          <a:lstStyle/>
          <a:p>
            <a:pPr defTabSz="930275"/>
            <a:endParaRPr lang="en-US" sz="1300">
              <a:solidFill>
                <a:srgbClr val="FFFFFF"/>
              </a:solidFill>
            </a:endParaRPr>
          </a:p>
        </p:txBody>
      </p:sp>
      <p:pic>
        <p:nvPicPr>
          <p:cNvPr id="112" name="Picture 13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079918" y="4008019"/>
            <a:ext cx="655546" cy="651963"/>
          </a:xfrm>
          <a:prstGeom prst="rect">
            <a:avLst/>
          </a:prstGeom>
        </p:spPr>
      </p:pic>
      <p:pic>
        <p:nvPicPr>
          <p:cNvPr id="115" name="Picture 14"/>
          <p:cNvPicPr>
            <a:picLocks noChangeAspect="1"/>
          </p:cNvPicPr>
          <p:nvPr/>
        </p:nvPicPr>
        <p:blipFill>
          <a:blip r:embed="rId2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49060" y="442730"/>
            <a:ext cx="970004" cy="790172"/>
          </a:xfrm>
          <a:prstGeom prst="rect">
            <a:avLst/>
          </a:prstGeom>
        </p:spPr>
      </p:pic>
      <p:sp>
        <p:nvSpPr>
          <p:cNvPr id="117" name="Freeform 80"/>
          <p:cNvSpPr/>
          <p:nvPr/>
        </p:nvSpPr>
        <p:spPr>
          <a:xfrm>
            <a:off x="8063302" y="573737"/>
            <a:ext cx="722372" cy="651844"/>
          </a:xfrm>
          <a:custGeom>
            <a:avLst/>
            <a:gdLst/>
            <a:ahLst/>
            <a:cxnLst/>
            <a:rect l="l" t="t" r="r" b="b"/>
            <a:pathLst>
              <a:path w="6642100" h="5993606">
                <a:moveTo>
                  <a:pt x="2981325" y="5655069"/>
                </a:moveTo>
                <a:lnTo>
                  <a:pt x="2946400" y="5689994"/>
                </a:lnTo>
                <a:lnTo>
                  <a:pt x="2946400" y="5934867"/>
                </a:lnTo>
                <a:cubicBezTo>
                  <a:pt x="2946400" y="5954156"/>
                  <a:pt x="2962036" y="5969792"/>
                  <a:pt x="2981325" y="5969792"/>
                </a:cubicBezTo>
                <a:cubicBezTo>
                  <a:pt x="3000614" y="5969792"/>
                  <a:pt x="3016250" y="5954156"/>
                  <a:pt x="3016250" y="5934867"/>
                </a:cubicBezTo>
                <a:lnTo>
                  <a:pt x="3016250" y="5689994"/>
                </a:lnTo>
                <a:cubicBezTo>
                  <a:pt x="3016250" y="5670705"/>
                  <a:pt x="3000614" y="5655069"/>
                  <a:pt x="2981325" y="5655069"/>
                </a:cubicBezTo>
                <a:close/>
                <a:moveTo>
                  <a:pt x="2981325" y="5305026"/>
                </a:moveTo>
                <a:cubicBezTo>
                  <a:pt x="2962036" y="5305026"/>
                  <a:pt x="2946400" y="5320662"/>
                  <a:pt x="2946400" y="5339951"/>
                </a:cubicBezTo>
                <a:lnTo>
                  <a:pt x="2946400" y="5584824"/>
                </a:lnTo>
                <a:cubicBezTo>
                  <a:pt x="2946400" y="5604113"/>
                  <a:pt x="2962036" y="5619749"/>
                  <a:pt x="2981325" y="5619749"/>
                </a:cubicBezTo>
                <a:cubicBezTo>
                  <a:pt x="3000614" y="5619749"/>
                  <a:pt x="3016250" y="5604113"/>
                  <a:pt x="3016250" y="5584824"/>
                </a:cubicBezTo>
                <a:lnTo>
                  <a:pt x="3016250" y="5339951"/>
                </a:lnTo>
                <a:cubicBezTo>
                  <a:pt x="3016250" y="5320662"/>
                  <a:pt x="3000614" y="5305026"/>
                  <a:pt x="2981325" y="5305026"/>
                </a:cubicBezTo>
                <a:close/>
                <a:moveTo>
                  <a:pt x="2981325" y="4950220"/>
                </a:moveTo>
                <a:cubicBezTo>
                  <a:pt x="2962036" y="4950220"/>
                  <a:pt x="2946400" y="4965856"/>
                  <a:pt x="2946400" y="4985145"/>
                </a:cubicBezTo>
                <a:lnTo>
                  <a:pt x="2946400" y="5230018"/>
                </a:lnTo>
                <a:cubicBezTo>
                  <a:pt x="2946400" y="5249307"/>
                  <a:pt x="2962036" y="5264943"/>
                  <a:pt x="2981325" y="5264943"/>
                </a:cubicBezTo>
                <a:cubicBezTo>
                  <a:pt x="3000614" y="5264943"/>
                  <a:pt x="3016250" y="5249307"/>
                  <a:pt x="3016250" y="5230018"/>
                </a:cubicBezTo>
                <a:lnTo>
                  <a:pt x="3016250" y="4985145"/>
                </a:lnTo>
                <a:cubicBezTo>
                  <a:pt x="3016250" y="4965856"/>
                  <a:pt x="3000614" y="4950220"/>
                  <a:pt x="2981325" y="4950220"/>
                </a:cubicBezTo>
                <a:close/>
                <a:moveTo>
                  <a:pt x="2981325" y="4780756"/>
                </a:moveTo>
                <a:cubicBezTo>
                  <a:pt x="2962036" y="4780756"/>
                  <a:pt x="2946400" y="4796392"/>
                  <a:pt x="2946400" y="4815681"/>
                </a:cubicBezTo>
                <a:lnTo>
                  <a:pt x="2946400" y="4899025"/>
                </a:lnTo>
                <a:cubicBezTo>
                  <a:pt x="2946400" y="4918314"/>
                  <a:pt x="2962036" y="4933950"/>
                  <a:pt x="2981325" y="4933950"/>
                </a:cubicBezTo>
                <a:cubicBezTo>
                  <a:pt x="3000614" y="4933950"/>
                  <a:pt x="3016250" y="4918314"/>
                  <a:pt x="3016250" y="4899025"/>
                </a:cubicBezTo>
                <a:lnTo>
                  <a:pt x="3016250" y="4815681"/>
                </a:lnTo>
                <a:cubicBezTo>
                  <a:pt x="3016250" y="4796392"/>
                  <a:pt x="3000614" y="4780756"/>
                  <a:pt x="2981325" y="4780756"/>
                </a:cubicBezTo>
                <a:close/>
                <a:moveTo>
                  <a:pt x="2134394" y="4660106"/>
                </a:moveTo>
                <a:lnTo>
                  <a:pt x="1143794" y="4745831"/>
                </a:lnTo>
                <a:lnTo>
                  <a:pt x="1143794" y="4807744"/>
                </a:lnTo>
                <a:lnTo>
                  <a:pt x="2134394" y="4714875"/>
                </a:lnTo>
                <a:close/>
                <a:moveTo>
                  <a:pt x="4689467" y="4410077"/>
                </a:moveTo>
                <a:cubicBezTo>
                  <a:pt x="4483109" y="4428995"/>
                  <a:pt x="3652687" y="4516703"/>
                  <a:pt x="3396457" y="4542633"/>
                </a:cubicBezTo>
                <a:cubicBezTo>
                  <a:pt x="3399118" y="4570149"/>
                  <a:pt x="3399372" y="4588141"/>
                  <a:pt x="3402032" y="4615657"/>
                </a:cubicBezTo>
                <a:cubicBezTo>
                  <a:pt x="3627472" y="4589596"/>
                  <a:pt x="4441017" y="4507707"/>
                  <a:pt x="4694231" y="4483895"/>
                </a:cubicBezTo>
                <a:cubicBezTo>
                  <a:pt x="4690911" y="4450822"/>
                  <a:pt x="4693446" y="4450690"/>
                  <a:pt x="4689467" y="4410077"/>
                </a:cubicBezTo>
                <a:close/>
                <a:moveTo>
                  <a:pt x="2981325" y="4318794"/>
                </a:moveTo>
                <a:cubicBezTo>
                  <a:pt x="2962036" y="4318794"/>
                  <a:pt x="2946400" y="4334430"/>
                  <a:pt x="2946400" y="4353719"/>
                </a:cubicBezTo>
                <a:lnTo>
                  <a:pt x="2946400" y="4556125"/>
                </a:lnTo>
                <a:cubicBezTo>
                  <a:pt x="2946400" y="4575414"/>
                  <a:pt x="2962036" y="4591050"/>
                  <a:pt x="2981325" y="4591050"/>
                </a:cubicBezTo>
                <a:cubicBezTo>
                  <a:pt x="3000614" y="4591050"/>
                  <a:pt x="3016250" y="4575414"/>
                  <a:pt x="3016250" y="4556125"/>
                </a:cubicBezTo>
                <a:lnTo>
                  <a:pt x="3016250" y="4353719"/>
                </a:lnTo>
                <a:cubicBezTo>
                  <a:pt x="3016250" y="4334430"/>
                  <a:pt x="3000614" y="4318794"/>
                  <a:pt x="2981325" y="4318794"/>
                </a:cubicBezTo>
                <a:close/>
                <a:moveTo>
                  <a:pt x="6296031" y="4253707"/>
                </a:moveTo>
                <a:cubicBezTo>
                  <a:pt x="6047860" y="4274874"/>
                  <a:pt x="5019949" y="4374886"/>
                  <a:pt x="4768838" y="4399757"/>
                </a:cubicBezTo>
                <a:cubicBezTo>
                  <a:pt x="4771499" y="4427273"/>
                  <a:pt x="4774135" y="4454790"/>
                  <a:pt x="4776796" y="4482306"/>
                </a:cubicBezTo>
                <a:lnTo>
                  <a:pt x="6296031" y="4339432"/>
                </a:lnTo>
                <a:cubicBezTo>
                  <a:pt x="6293142" y="4295511"/>
                  <a:pt x="6295499" y="4281753"/>
                  <a:pt x="6296031" y="4253707"/>
                </a:cubicBezTo>
                <a:close/>
                <a:moveTo>
                  <a:pt x="1810544" y="4214812"/>
                </a:moveTo>
                <a:lnTo>
                  <a:pt x="1205706" y="4295775"/>
                </a:lnTo>
                <a:cubicBezTo>
                  <a:pt x="1204912" y="4384675"/>
                  <a:pt x="1204119" y="4473575"/>
                  <a:pt x="1203325" y="4562475"/>
                </a:cubicBezTo>
                <a:lnTo>
                  <a:pt x="1810544" y="4498181"/>
                </a:lnTo>
                <a:close/>
                <a:moveTo>
                  <a:pt x="2136775" y="4181475"/>
                </a:moveTo>
                <a:lnTo>
                  <a:pt x="1951038" y="4207669"/>
                </a:lnTo>
                <a:lnTo>
                  <a:pt x="1943894" y="4486275"/>
                </a:lnTo>
                <a:lnTo>
                  <a:pt x="2129631" y="4462462"/>
                </a:lnTo>
                <a:close/>
                <a:moveTo>
                  <a:pt x="1081881" y="4162425"/>
                </a:moveTo>
                <a:lnTo>
                  <a:pt x="869949" y="4193381"/>
                </a:lnTo>
                <a:lnTo>
                  <a:pt x="848518" y="4593431"/>
                </a:lnTo>
                <a:lnTo>
                  <a:pt x="1062830" y="4574381"/>
                </a:lnTo>
                <a:cubicBezTo>
                  <a:pt x="1066799" y="4461668"/>
                  <a:pt x="1075531" y="4310857"/>
                  <a:pt x="1081881" y="4162425"/>
                </a:cubicBezTo>
                <a:close/>
                <a:moveTo>
                  <a:pt x="2884488" y="4088606"/>
                </a:moveTo>
                <a:lnTo>
                  <a:pt x="2272506" y="4162425"/>
                </a:lnTo>
                <a:lnTo>
                  <a:pt x="2260600" y="4450556"/>
                </a:lnTo>
                <a:lnTo>
                  <a:pt x="2477294" y="4433887"/>
                </a:lnTo>
                <a:cubicBezTo>
                  <a:pt x="2565399" y="4498180"/>
                  <a:pt x="2679700" y="4545806"/>
                  <a:pt x="2777331" y="4548187"/>
                </a:cubicBezTo>
                <a:lnTo>
                  <a:pt x="2779713" y="4602956"/>
                </a:lnTo>
                <a:lnTo>
                  <a:pt x="2220119" y="4662487"/>
                </a:lnTo>
                <a:cubicBezTo>
                  <a:pt x="2189162" y="4685506"/>
                  <a:pt x="2210594" y="4696618"/>
                  <a:pt x="2220119" y="4702969"/>
                </a:cubicBezTo>
                <a:lnTo>
                  <a:pt x="2884488" y="4641056"/>
                </a:lnTo>
                <a:close/>
                <a:moveTo>
                  <a:pt x="2981325" y="4071144"/>
                </a:moveTo>
                <a:cubicBezTo>
                  <a:pt x="2962036" y="4071144"/>
                  <a:pt x="2946400" y="4086780"/>
                  <a:pt x="2946400" y="4106069"/>
                </a:cubicBezTo>
                <a:lnTo>
                  <a:pt x="2946400" y="4248944"/>
                </a:lnTo>
                <a:cubicBezTo>
                  <a:pt x="2946400" y="4268233"/>
                  <a:pt x="2962036" y="4283869"/>
                  <a:pt x="2981325" y="4283869"/>
                </a:cubicBezTo>
                <a:cubicBezTo>
                  <a:pt x="3000614" y="4283869"/>
                  <a:pt x="3016250" y="4268233"/>
                  <a:pt x="3016250" y="4248944"/>
                </a:cubicBezTo>
                <a:lnTo>
                  <a:pt x="3016250" y="4106069"/>
                </a:lnTo>
                <a:cubicBezTo>
                  <a:pt x="3016250" y="4086780"/>
                  <a:pt x="3000614" y="4071144"/>
                  <a:pt x="2981325" y="4071144"/>
                </a:cubicBezTo>
                <a:close/>
                <a:moveTo>
                  <a:pt x="4416424" y="3885406"/>
                </a:moveTo>
                <a:lnTo>
                  <a:pt x="3394074" y="4018756"/>
                </a:lnTo>
                <a:lnTo>
                  <a:pt x="3394074" y="4317206"/>
                </a:lnTo>
                <a:lnTo>
                  <a:pt x="4416424" y="4209256"/>
                </a:lnTo>
                <a:close/>
                <a:moveTo>
                  <a:pt x="4657725" y="3869531"/>
                </a:moveTo>
                <a:lnTo>
                  <a:pt x="4597399" y="3879056"/>
                </a:lnTo>
                <a:lnTo>
                  <a:pt x="4597399" y="4177506"/>
                </a:lnTo>
                <a:lnTo>
                  <a:pt x="4657725" y="4171156"/>
                </a:lnTo>
                <a:close/>
                <a:moveTo>
                  <a:pt x="6051550" y="3694905"/>
                </a:moveTo>
                <a:lnTo>
                  <a:pt x="4848225" y="3856830"/>
                </a:lnTo>
                <a:lnTo>
                  <a:pt x="4848225" y="4155280"/>
                </a:lnTo>
                <a:lnTo>
                  <a:pt x="6099175" y="4031455"/>
                </a:lnTo>
                <a:close/>
                <a:moveTo>
                  <a:pt x="6226175" y="3671093"/>
                </a:moveTo>
                <a:lnTo>
                  <a:pt x="6187282" y="3674268"/>
                </a:lnTo>
                <a:lnTo>
                  <a:pt x="6242050" y="4121943"/>
                </a:lnTo>
                <a:lnTo>
                  <a:pt x="6280150" y="4121943"/>
                </a:lnTo>
                <a:close/>
                <a:moveTo>
                  <a:pt x="1296194" y="2116932"/>
                </a:moveTo>
                <a:lnTo>
                  <a:pt x="1291346" y="2239754"/>
                </a:lnTo>
                <a:lnTo>
                  <a:pt x="1445537" y="2203508"/>
                </a:lnTo>
                <a:close/>
                <a:moveTo>
                  <a:pt x="2463006" y="1754982"/>
                </a:moveTo>
                <a:lnTo>
                  <a:pt x="2458034" y="1965496"/>
                </a:lnTo>
                <a:lnTo>
                  <a:pt x="2663110" y="1917288"/>
                </a:lnTo>
                <a:close/>
                <a:moveTo>
                  <a:pt x="3884613" y="1459707"/>
                </a:moveTo>
                <a:lnTo>
                  <a:pt x="3880380" y="1631138"/>
                </a:lnTo>
                <a:lnTo>
                  <a:pt x="4019097" y="1598530"/>
                </a:lnTo>
                <a:close/>
                <a:moveTo>
                  <a:pt x="5744257" y="1401844"/>
                </a:moveTo>
                <a:lnTo>
                  <a:pt x="975704" y="2529889"/>
                </a:lnTo>
                <a:lnTo>
                  <a:pt x="890246" y="4051040"/>
                </a:lnTo>
                <a:lnTo>
                  <a:pt x="6094635" y="3341739"/>
                </a:lnTo>
                <a:lnTo>
                  <a:pt x="5872444" y="1564214"/>
                </a:lnTo>
                <a:cubicBezTo>
                  <a:pt x="5778915" y="1573591"/>
                  <a:pt x="5758411" y="1462317"/>
                  <a:pt x="5744257" y="1401844"/>
                </a:cubicBezTo>
                <a:close/>
                <a:moveTo>
                  <a:pt x="5542154" y="1105556"/>
                </a:moveTo>
                <a:lnTo>
                  <a:pt x="5527466" y="1243950"/>
                </a:lnTo>
                <a:lnTo>
                  <a:pt x="5621379" y="1221873"/>
                </a:lnTo>
                <a:close/>
                <a:moveTo>
                  <a:pt x="5096669" y="0"/>
                </a:moveTo>
                <a:lnTo>
                  <a:pt x="5155183" y="110340"/>
                </a:lnTo>
                <a:lnTo>
                  <a:pt x="5156201" y="109538"/>
                </a:lnTo>
                <a:lnTo>
                  <a:pt x="5160632" y="120615"/>
                </a:lnTo>
                <a:lnTo>
                  <a:pt x="5180013" y="157162"/>
                </a:lnTo>
                <a:lnTo>
                  <a:pt x="5175752" y="158414"/>
                </a:lnTo>
                <a:lnTo>
                  <a:pt x="5179938" y="168879"/>
                </a:lnTo>
                <a:lnTo>
                  <a:pt x="5698167" y="1203823"/>
                </a:lnTo>
                <a:lnTo>
                  <a:pt x="5946775" y="1145381"/>
                </a:lnTo>
                <a:lnTo>
                  <a:pt x="6003925" y="1488281"/>
                </a:lnTo>
                <a:lnTo>
                  <a:pt x="6099175" y="1488281"/>
                </a:lnTo>
                <a:lnTo>
                  <a:pt x="6346825" y="3555206"/>
                </a:lnTo>
                <a:cubicBezTo>
                  <a:pt x="6359525" y="3647281"/>
                  <a:pt x="6343650" y="3663156"/>
                  <a:pt x="6299200" y="3669506"/>
                </a:cubicBezTo>
                <a:lnTo>
                  <a:pt x="6384925" y="4326731"/>
                </a:lnTo>
                <a:lnTo>
                  <a:pt x="6451600" y="4317206"/>
                </a:lnTo>
                <a:lnTo>
                  <a:pt x="6508750" y="4431506"/>
                </a:lnTo>
                <a:lnTo>
                  <a:pt x="6642100" y="4421981"/>
                </a:lnTo>
                <a:lnTo>
                  <a:pt x="6642100" y="4498181"/>
                </a:lnTo>
                <a:lnTo>
                  <a:pt x="3422650" y="4783931"/>
                </a:lnTo>
                <a:lnTo>
                  <a:pt x="3422650" y="5993606"/>
                </a:lnTo>
                <a:lnTo>
                  <a:pt x="3355971" y="5993606"/>
                </a:lnTo>
                <a:lnTo>
                  <a:pt x="3362229" y="5982496"/>
                </a:lnTo>
                <a:cubicBezTo>
                  <a:pt x="3358557" y="5499631"/>
                  <a:pt x="3354886" y="5016766"/>
                  <a:pt x="3351214" y="4533901"/>
                </a:cubicBezTo>
                <a:cubicBezTo>
                  <a:pt x="3342979" y="4537474"/>
                  <a:pt x="3346652" y="4519614"/>
                  <a:pt x="3340798" y="4480324"/>
                </a:cubicBezTo>
                <a:cubicBezTo>
                  <a:pt x="3324394" y="4463324"/>
                  <a:pt x="3311165" y="4460942"/>
                  <a:pt x="3278091" y="4468417"/>
                </a:cubicBezTo>
                <a:lnTo>
                  <a:pt x="3292350" y="5993606"/>
                </a:lnTo>
                <a:lnTo>
                  <a:pt x="2841625" y="5993606"/>
                </a:lnTo>
                <a:lnTo>
                  <a:pt x="2870200" y="4822031"/>
                </a:lnTo>
                <a:lnTo>
                  <a:pt x="1365250" y="4948237"/>
                </a:lnTo>
                <a:cubicBezTo>
                  <a:pt x="1348580" y="4919662"/>
                  <a:pt x="1312863" y="4933950"/>
                  <a:pt x="1286669" y="4926806"/>
                </a:cubicBezTo>
                <a:cubicBezTo>
                  <a:pt x="1285875" y="4901406"/>
                  <a:pt x="1277938" y="4895056"/>
                  <a:pt x="1277144" y="4869656"/>
                </a:cubicBezTo>
                <a:cubicBezTo>
                  <a:pt x="1033462" y="4877594"/>
                  <a:pt x="999332" y="4892675"/>
                  <a:pt x="1086644" y="4807744"/>
                </a:cubicBezTo>
                <a:lnTo>
                  <a:pt x="1069975" y="4774406"/>
                </a:lnTo>
                <a:lnTo>
                  <a:pt x="679450" y="4812506"/>
                </a:lnTo>
                <a:cubicBezTo>
                  <a:pt x="651669" y="4772025"/>
                  <a:pt x="571500" y="4733926"/>
                  <a:pt x="438944" y="4736307"/>
                </a:cubicBezTo>
                <a:lnTo>
                  <a:pt x="357981" y="4741068"/>
                </a:lnTo>
                <a:cubicBezTo>
                  <a:pt x="357187" y="4713287"/>
                  <a:pt x="354013" y="4678362"/>
                  <a:pt x="353219" y="4650581"/>
                </a:cubicBezTo>
                <a:lnTo>
                  <a:pt x="727075" y="4610100"/>
                </a:lnTo>
                <a:lnTo>
                  <a:pt x="727075" y="4221956"/>
                </a:lnTo>
                <a:lnTo>
                  <a:pt x="679450" y="4193381"/>
                </a:lnTo>
                <a:lnTo>
                  <a:pt x="841375" y="2345531"/>
                </a:lnTo>
                <a:lnTo>
                  <a:pt x="1177925" y="2266417"/>
                </a:lnTo>
                <a:lnTo>
                  <a:pt x="1177925" y="2028032"/>
                </a:lnTo>
                <a:lnTo>
                  <a:pt x="447675" y="1567657"/>
                </a:lnTo>
                <a:lnTo>
                  <a:pt x="9525" y="1726407"/>
                </a:lnTo>
                <a:lnTo>
                  <a:pt x="0" y="1577182"/>
                </a:lnTo>
                <a:lnTo>
                  <a:pt x="190500" y="1507332"/>
                </a:lnTo>
                <a:cubicBezTo>
                  <a:pt x="295539" y="1507596"/>
                  <a:pt x="376767" y="1484049"/>
                  <a:pt x="469900" y="1472407"/>
                </a:cubicBezTo>
                <a:lnTo>
                  <a:pt x="1576977" y="2172610"/>
                </a:lnTo>
                <a:lnTo>
                  <a:pt x="2372592" y="1985581"/>
                </a:lnTo>
                <a:lnTo>
                  <a:pt x="2374899" y="1676400"/>
                </a:lnTo>
                <a:lnTo>
                  <a:pt x="1770062" y="1188244"/>
                </a:lnTo>
                <a:lnTo>
                  <a:pt x="1353343" y="1307306"/>
                </a:lnTo>
                <a:cubicBezTo>
                  <a:pt x="1342230" y="1240631"/>
                  <a:pt x="1343025" y="1233488"/>
                  <a:pt x="1350962" y="1181100"/>
                </a:cubicBezTo>
                <a:cubicBezTo>
                  <a:pt x="1424781" y="1101724"/>
                  <a:pt x="1522412" y="1084263"/>
                  <a:pt x="1598612" y="1090613"/>
                </a:cubicBezTo>
                <a:cubicBezTo>
                  <a:pt x="1685130" y="1134270"/>
                  <a:pt x="1740693" y="1104106"/>
                  <a:pt x="1815305" y="1092994"/>
                </a:cubicBezTo>
                <a:lnTo>
                  <a:pt x="2777072" y="1890498"/>
                </a:lnTo>
                <a:lnTo>
                  <a:pt x="3800587" y="1649896"/>
                </a:lnTo>
                <a:lnTo>
                  <a:pt x="3810000" y="1354932"/>
                </a:lnTo>
                <a:lnTo>
                  <a:pt x="3270250" y="735807"/>
                </a:lnTo>
                <a:lnTo>
                  <a:pt x="2933700" y="856457"/>
                </a:lnTo>
                <a:lnTo>
                  <a:pt x="2921000" y="675482"/>
                </a:lnTo>
                <a:lnTo>
                  <a:pt x="3101975" y="596107"/>
                </a:lnTo>
                <a:cubicBezTo>
                  <a:pt x="3117784" y="590882"/>
                  <a:pt x="3135081" y="587740"/>
                  <a:pt x="3153309" y="586793"/>
                </a:cubicBezTo>
                <a:cubicBezTo>
                  <a:pt x="3207991" y="583953"/>
                  <a:pt x="3271044" y="600869"/>
                  <a:pt x="3327400" y="640557"/>
                </a:cubicBezTo>
                <a:lnTo>
                  <a:pt x="4119283" y="1574979"/>
                </a:lnTo>
                <a:lnTo>
                  <a:pt x="5445162" y="1263298"/>
                </a:lnTo>
                <a:lnTo>
                  <a:pt x="5451474" y="931069"/>
                </a:lnTo>
                <a:cubicBezTo>
                  <a:pt x="5343727" y="708020"/>
                  <a:pt x="5212264" y="441855"/>
                  <a:pt x="5102274" y="214595"/>
                </a:cubicBezTo>
                <a:lnTo>
                  <a:pt x="5085344" y="184967"/>
                </a:lnTo>
                <a:lnTo>
                  <a:pt x="4839494" y="257175"/>
                </a:lnTo>
                <a:cubicBezTo>
                  <a:pt x="4840288" y="196850"/>
                  <a:pt x="4841081" y="136525"/>
                  <a:pt x="4841875" y="76200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27" tIns="91427" rIns="91427" bIns="91427" numCol="1" spcCol="0" rtlCol="0" fromWordArt="0" anchor="b" anchorCtr="0" forceAA="0" compatLnSpc="1">
            <a:noAutofit/>
          </a:bodyPr>
          <a:lstStyle/>
          <a:p>
            <a:pPr marL="0" marR="0" lvl="0" indent="0" algn="r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18" name="Freeform 331"/>
          <p:cNvSpPr>
            <a:spLocks noChangeAspect="1" noEditPoints="1"/>
          </p:cNvSpPr>
          <p:nvPr/>
        </p:nvSpPr>
        <p:spPr bwMode="auto">
          <a:xfrm>
            <a:off x="8028384" y="1690467"/>
            <a:ext cx="792419" cy="777182"/>
          </a:xfrm>
          <a:custGeom>
            <a:avLst/>
            <a:gdLst>
              <a:gd name="T0" fmla="*/ 39 w 88"/>
              <a:gd name="T1" fmla="*/ 46 h 86"/>
              <a:gd name="T2" fmla="*/ 79 w 88"/>
              <a:gd name="T3" fmla="*/ 46 h 86"/>
              <a:gd name="T4" fmla="*/ 39 w 88"/>
              <a:gd name="T5" fmla="*/ 86 h 86"/>
              <a:gd name="T6" fmla="*/ 0 w 88"/>
              <a:gd name="T7" fmla="*/ 46 h 86"/>
              <a:gd name="T8" fmla="*/ 39 w 88"/>
              <a:gd name="T9" fmla="*/ 7 h 86"/>
              <a:gd name="T10" fmla="*/ 39 w 88"/>
              <a:gd name="T11" fmla="*/ 46 h 86"/>
              <a:gd name="T12" fmla="*/ 48 w 88"/>
              <a:gd name="T13" fmla="*/ 40 h 86"/>
              <a:gd name="T14" fmla="*/ 88 w 88"/>
              <a:gd name="T15" fmla="*/ 40 h 86"/>
              <a:gd name="T16" fmla="*/ 48 w 88"/>
              <a:gd name="T17" fmla="*/ 0 h 86"/>
              <a:gd name="T18" fmla="*/ 48 w 88"/>
              <a:gd name="T19" fmla="*/ 4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8" h="86">
                <a:moveTo>
                  <a:pt x="39" y="46"/>
                </a:moveTo>
                <a:cubicBezTo>
                  <a:pt x="79" y="46"/>
                  <a:pt x="79" y="46"/>
                  <a:pt x="79" y="46"/>
                </a:cubicBezTo>
                <a:cubicBezTo>
                  <a:pt x="79" y="68"/>
                  <a:pt x="61" y="86"/>
                  <a:pt x="39" y="86"/>
                </a:cubicBezTo>
                <a:cubicBezTo>
                  <a:pt x="18" y="86"/>
                  <a:pt x="0" y="68"/>
                  <a:pt x="0" y="46"/>
                </a:cubicBezTo>
                <a:cubicBezTo>
                  <a:pt x="0" y="25"/>
                  <a:pt x="18" y="7"/>
                  <a:pt x="39" y="7"/>
                </a:cubicBezTo>
                <a:lnTo>
                  <a:pt x="39" y="46"/>
                </a:lnTo>
                <a:close/>
                <a:moveTo>
                  <a:pt x="48" y="40"/>
                </a:moveTo>
                <a:cubicBezTo>
                  <a:pt x="88" y="40"/>
                  <a:pt x="88" y="40"/>
                  <a:pt x="88" y="40"/>
                </a:cubicBezTo>
                <a:cubicBezTo>
                  <a:pt x="88" y="18"/>
                  <a:pt x="70" y="0"/>
                  <a:pt x="48" y="0"/>
                </a:cubicBezTo>
                <a:lnTo>
                  <a:pt x="48" y="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47" tIns="46623" rIns="93247" bIns="46623" numCol="1" anchor="t" anchorCtr="0" compatLnSpc="1"/>
          <a:lstStyle/>
          <a:p>
            <a:pPr defTabSz="931545"/>
            <a:endParaRPr lang="en-US" dirty="0">
              <a:solidFill>
                <a:srgbClr val="505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34" name="Picture 6" descr="\\MAGNUM\Projects\Microsoft\Cloud Power FY12\Design\ICONS_PNG\Professionals.png"/>
          <p:cNvPicPr>
            <a:picLocks noChangeAspect="1" noChangeArrowheads="1"/>
          </p:cNvPicPr>
          <p:nvPr/>
        </p:nvPicPr>
        <p:blipFill>
          <a:blip r:embed="rId1" cstate="print">
            <a:lum bright="100000"/>
          </a:blip>
          <a:srcRect/>
          <a:stretch>
            <a:fillRect/>
          </a:stretch>
        </p:blipFill>
        <p:spPr bwMode="auto">
          <a:xfrm>
            <a:off x="359592" y="1618559"/>
            <a:ext cx="864096" cy="864096"/>
          </a:xfrm>
          <a:prstGeom prst="rect">
            <a:avLst/>
          </a:prstGeom>
          <a:noFill/>
        </p:spPr>
      </p:pic>
      <p:pic>
        <p:nvPicPr>
          <p:cNvPr id="44" name="Picture 6" descr="\\MAGNUM\Projects\Microsoft\Cloud Power FY12\Design\ICONS_PNG\Flexible_Workspace.png"/>
          <p:cNvPicPr>
            <a:picLocks noChangeAspect="1" noChangeArrowheads="1"/>
          </p:cNvPicPr>
          <p:nvPr/>
        </p:nvPicPr>
        <p:blipFill>
          <a:blip r:embed="rId2">
            <a:lum bright="100000"/>
          </a:blip>
          <a:srcRect/>
          <a:stretch>
            <a:fillRect/>
          </a:stretch>
        </p:blipFill>
        <p:spPr bwMode="auto">
          <a:xfrm>
            <a:off x="605902" y="379551"/>
            <a:ext cx="395900" cy="1088441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699" y="1573756"/>
            <a:ext cx="541895" cy="91864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8" name="Picture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1803" y="396437"/>
            <a:ext cx="561083" cy="95117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9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4470" y="499930"/>
            <a:ext cx="500035" cy="8476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0" name="Picture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1553087"/>
            <a:ext cx="555740" cy="95416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1" name="Picture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1566153"/>
            <a:ext cx="331705" cy="9280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2" name="Picture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206" y="1559735"/>
            <a:ext cx="547995" cy="94086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3" name="Picture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594" y="1524588"/>
            <a:ext cx="588937" cy="101115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4" name="Picture 4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8804" y="1577680"/>
            <a:ext cx="527092" cy="90497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6" name="Picture 10" descr="C:\Users\Justin\Desktop\_Work_in_Progress\_MS\1407\guy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460" y="485809"/>
            <a:ext cx="656374" cy="77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74"/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422704"/>
            <a:ext cx="853023" cy="852902"/>
          </a:xfrm>
          <a:prstGeom prst="rect">
            <a:avLst/>
          </a:prstGeom>
        </p:spPr>
      </p:pic>
      <p:pic>
        <p:nvPicPr>
          <p:cNvPr id="79" name="Picture 30" descr="service-based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168918" y="466285"/>
            <a:ext cx="936705" cy="91497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0" name="Group 75"/>
          <p:cNvGrpSpPr/>
          <p:nvPr/>
        </p:nvGrpSpPr>
        <p:grpSpPr bwMode="black">
          <a:xfrm flipH="1">
            <a:off x="5724128" y="483518"/>
            <a:ext cx="366096" cy="776569"/>
            <a:chOff x="8920162" y="3943878"/>
            <a:chExt cx="419101" cy="889001"/>
          </a:xfrm>
          <a:solidFill>
            <a:srgbClr val="FFFFFF"/>
          </a:solidFill>
        </p:grpSpPr>
        <p:sp>
          <p:nvSpPr>
            <p:cNvPr id="81" name="Oval 16"/>
            <p:cNvSpPr>
              <a:spLocks noChangeArrowheads="1"/>
            </p:cNvSpPr>
            <p:nvPr/>
          </p:nvSpPr>
          <p:spPr bwMode="black">
            <a:xfrm>
              <a:off x="9148762" y="3943878"/>
              <a:ext cx="149225" cy="146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endParaRPr lang="en-US" sz="2100"/>
            </a:p>
          </p:txBody>
        </p:sp>
        <p:sp>
          <p:nvSpPr>
            <p:cNvPr id="82" name="Freeform 17"/>
            <p:cNvSpPr/>
            <p:nvPr/>
          </p:nvSpPr>
          <p:spPr bwMode="black">
            <a:xfrm>
              <a:off x="9017000" y="4123266"/>
              <a:ext cx="322263" cy="709613"/>
            </a:xfrm>
            <a:custGeom>
              <a:avLst/>
              <a:gdLst>
                <a:gd name="T0" fmla="*/ 76 w 86"/>
                <a:gd name="T1" fmla="*/ 0 h 189"/>
                <a:gd name="T2" fmla="*/ 80 w 86"/>
                <a:gd name="T3" fmla="*/ 3 h 189"/>
                <a:gd name="T4" fmla="*/ 83 w 86"/>
                <a:gd name="T5" fmla="*/ 11 h 189"/>
                <a:gd name="T6" fmla="*/ 78 w 86"/>
                <a:gd name="T7" fmla="*/ 21 h 189"/>
                <a:gd name="T8" fmla="*/ 44 w 86"/>
                <a:gd name="T9" fmla="*/ 47 h 189"/>
                <a:gd name="T10" fmla="*/ 39 w 86"/>
                <a:gd name="T11" fmla="*/ 50 h 189"/>
                <a:gd name="T12" fmla="*/ 39 w 86"/>
                <a:gd name="T13" fmla="*/ 81 h 189"/>
                <a:gd name="T14" fmla="*/ 2 w 86"/>
                <a:gd name="T15" fmla="*/ 173 h 189"/>
                <a:gd name="T16" fmla="*/ 9 w 86"/>
                <a:gd name="T17" fmla="*/ 188 h 189"/>
                <a:gd name="T18" fmla="*/ 13 w 86"/>
                <a:gd name="T19" fmla="*/ 189 h 189"/>
                <a:gd name="T20" fmla="*/ 24 w 86"/>
                <a:gd name="T21" fmla="*/ 181 h 189"/>
                <a:gd name="T22" fmla="*/ 63 w 86"/>
                <a:gd name="T23" fmla="*/ 83 h 189"/>
                <a:gd name="T24" fmla="*/ 63 w 86"/>
                <a:gd name="T25" fmla="*/ 177 h 189"/>
                <a:gd name="T26" fmla="*/ 74 w 86"/>
                <a:gd name="T27" fmla="*/ 189 h 189"/>
                <a:gd name="T28" fmla="*/ 86 w 86"/>
                <a:gd name="T29" fmla="*/ 177 h 189"/>
                <a:gd name="T30" fmla="*/ 86 w 86"/>
                <a:gd name="T31" fmla="*/ 72 h 189"/>
                <a:gd name="T32" fmla="*/ 86 w 86"/>
                <a:gd name="T33" fmla="*/ 17 h 189"/>
                <a:gd name="T34" fmla="*/ 76 w 86"/>
                <a:gd name="T35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6" h="189">
                  <a:moveTo>
                    <a:pt x="76" y="0"/>
                  </a:moveTo>
                  <a:cubicBezTo>
                    <a:pt x="78" y="1"/>
                    <a:pt x="79" y="2"/>
                    <a:pt x="80" y="3"/>
                  </a:cubicBezTo>
                  <a:cubicBezTo>
                    <a:pt x="82" y="6"/>
                    <a:pt x="83" y="8"/>
                    <a:pt x="83" y="11"/>
                  </a:cubicBezTo>
                  <a:cubicBezTo>
                    <a:pt x="83" y="15"/>
                    <a:pt x="81" y="18"/>
                    <a:pt x="78" y="21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2" y="49"/>
                    <a:pt x="40" y="49"/>
                    <a:pt x="39" y="50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2" y="173"/>
                    <a:pt x="2" y="173"/>
                    <a:pt x="2" y="173"/>
                  </a:cubicBezTo>
                  <a:cubicBezTo>
                    <a:pt x="0" y="179"/>
                    <a:pt x="3" y="186"/>
                    <a:pt x="9" y="188"/>
                  </a:cubicBezTo>
                  <a:cubicBezTo>
                    <a:pt x="10" y="189"/>
                    <a:pt x="12" y="189"/>
                    <a:pt x="13" y="189"/>
                  </a:cubicBezTo>
                  <a:cubicBezTo>
                    <a:pt x="18" y="189"/>
                    <a:pt x="22" y="186"/>
                    <a:pt x="24" y="181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3" y="177"/>
                    <a:pt x="63" y="177"/>
                    <a:pt x="63" y="177"/>
                  </a:cubicBezTo>
                  <a:cubicBezTo>
                    <a:pt x="63" y="184"/>
                    <a:pt x="68" y="189"/>
                    <a:pt x="74" y="189"/>
                  </a:cubicBezTo>
                  <a:cubicBezTo>
                    <a:pt x="81" y="189"/>
                    <a:pt x="86" y="184"/>
                    <a:pt x="86" y="177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6" y="8"/>
                    <a:pt x="83" y="2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endParaRPr lang="en-US" sz="2100"/>
            </a:p>
          </p:txBody>
        </p:sp>
        <p:sp>
          <p:nvSpPr>
            <p:cNvPr id="83" name="Freeform 18"/>
            <p:cNvSpPr/>
            <p:nvPr/>
          </p:nvSpPr>
          <p:spPr bwMode="black">
            <a:xfrm>
              <a:off x="9051925" y="4089928"/>
              <a:ext cx="265113" cy="206375"/>
            </a:xfrm>
            <a:custGeom>
              <a:avLst/>
              <a:gdLst>
                <a:gd name="T0" fmla="*/ 30 w 71"/>
                <a:gd name="T1" fmla="*/ 33 h 55"/>
                <a:gd name="T2" fmla="*/ 18 w 71"/>
                <a:gd name="T3" fmla="*/ 6 h 55"/>
                <a:gd name="T4" fmla="*/ 6 w 71"/>
                <a:gd name="T5" fmla="*/ 2 h 55"/>
                <a:gd name="T6" fmla="*/ 2 w 71"/>
                <a:gd name="T7" fmla="*/ 14 h 55"/>
                <a:gd name="T8" fmla="*/ 20 w 71"/>
                <a:gd name="T9" fmla="*/ 50 h 55"/>
                <a:gd name="T10" fmla="*/ 25 w 71"/>
                <a:gd name="T11" fmla="*/ 55 h 55"/>
                <a:gd name="T12" fmla="*/ 27 w 71"/>
                <a:gd name="T13" fmla="*/ 55 h 55"/>
                <a:gd name="T14" fmla="*/ 33 w 71"/>
                <a:gd name="T15" fmla="*/ 53 h 55"/>
                <a:gd name="T16" fmla="*/ 67 w 71"/>
                <a:gd name="T17" fmla="*/ 27 h 55"/>
                <a:gd name="T18" fmla="*/ 69 w 71"/>
                <a:gd name="T19" fmla="*/ 15 h 55"/>
                <a:gd name="T20" fmla="*/ 56 w 71"/>
                <a:gd name="T21" fmla="*/ 13 h 55"/>
                <a:gd name="T22" fmla="*/ 30 w 71"/>
                <a:gd name="T23" fmla="*/ 3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55">
                  <a:moveTo>
                    <a:pt x="30" y="33"/>
                  </a:moveTo>
                  <a:cubicBezTo>
                    <a:pt x="18" y="6"/>
                    <a:pt x="18" y="6"/>
                    <a:pt x="18" y="6"/>
                  </a:cubicBezTo>
                  <a:cubicBezTo>
                    <a:pt x="16" y="2"/>
                    <a:pt x="10" y="0"/>
                    <a:pt x="6" y="2"/>
                  </a:cubicBezTo>
                  <a:cubicBezTo>
                    <a:pt x="2" y="4"/>
                    <a:pt x="0" y="10"/>
                    <a:pt x="2" y="14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1" y="53"/>
                    <a:pt x="23" y="54"/>
                    <a:pt x="25" y="55"/>
                  </a:cubicBezTo>
                  <a:cubicBezTo>
                    <a:pt x="26" y="55"/>
                    <a:pt x="27" y="55"/>
                    <a:pt x="27" y="55"/>
                  </a:cubicBezTo>
                  <a:cubicBezTo>
                    <a:pt x="29" y="55"/>
                    <a:pt x="31" y="55"/>
                    <a:pt x="33" y="53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71" y="24"/>
                    <a:pt x="71" y="18"/>
                    <a:pt x="69" y="15"/>
                  </a:cubicBezTo>
                  <a:cubicBezTo>
                    <a:pt x="66" y="11"/>
                    <a:pt x="60" y="10"/>
                    <a:pt x="56" y="1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endParaRPr lang="en-US" sz="2100"/>
            </a:p>
          </p:txBody>
        </p:sp>
        <p:sp>
          <p:nvSpPr>
            <p:cNvPr id="84" name="Freeform 19"/>
            <p:cNvSpPr/>
            <p:nvPr/>
          </p:nvSpPr>
          <p:spPr bwMode="black">
            <a:xfrm>
              <a:off x="8953500" y="3958166"/>
              <a:ext cx="90488" cy="165100"/>
            </a:xfrm>
            <a:custGeom>
              <a:avLst/>
              <a:gdLst>
                <a:gd name="T0" fmla="*/ 24 w 24"/>
                <a:gd name="T1" fmla="*/ 27 h 44"/>
                <a:gd name="T2" fmla="*/ 24 w 24"/>
                <a:gd name="T3" fmla="*/ 17 h 44"/>
                <a:gd name="T4" fmla="*/ 24 w 24"/>
                <a:gd name="T5" fmla="*/ 16 h 44"/>
                <a:gd name="T6" fmla="*/ 0 w 24"/>
                <a:gd name="T7" fmla="*/ 0 h 44"/>
                <a:gd name="T8" fmla="*/ 0 w 24"/>
                <a:gd name="T9" fmla="*/ 44 h 44"/>
                <a:gd name="T10" fmla="*/ 24 w 24"/>
                <a:gd name="T11" fmla="*/ 28 h 44"/>
                <a:gd name="T12" fmla="*/ 24 w 24"/>
                <a:gd name="T13" fmla="*/ 2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4">
                  <a:moveTo>
                    <a:pt x="24" y="27"/>
                  </a:moveTo>
                  <a:cubicBezTo>
                    <a:pt x="24" y="17"/>
                    <a:pt x="24" y="17"/>
                    <a:pt x="24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7"/>
                    <a:pt x="24" y="27"/>
                    <a:pt x="2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endParaRPr lang="en-US" sz="2100"/>
            </a:p>
          </p:txBody>
        </p:sp>
        <p:sp>
          <p:nvSpPr>
            <p:cNvPr id="85" name="Freeform 20"/>
            <p:cNvSpPr/>
            <p:nvPr/>
          </p:nvSpPr>
          <p:spPr bwMode="black">
            <a:xfrm>
              <a:off x="9055100" y="4010553"/>
              <a:ext cx="68263" cy="60325"/>
            </a:xfrm>
            <a:custGeom>
              <a:avLst/>
              <a:gdLst>
                <a:gd name="T0" fmla="*/ 3 w 18"/>
                <a:gd name="T1" fmla="*/ 16 h 16"/>
                <a:gd name="T2" fmla="*/ 15 w 18"/>
                <a:gd name="T3" fmla="*/ 16 h 16"/>
                <a:gd name="T4" fmla="*/ 18 w 18"/>
                <a:gd name="T5" fmla="*/ 13 h 16"/>
                <a:gd name="T6" fmla="*/ 18 w 18"/>
                <a:gd name="T7" fmla="*/ 3 h 16"/>
                <a:gd name="T8" fmla="*/ 15 w 18"/>
                <a:gd name="T9" fmla="*/ 0 h 16"/>
                <a:gd name="T10" fmla="*/ 3 w 18"/>
                <a:gd name="T11" fmla="*/ 0 h 16"/>
                <a:gd name="T12" fmla="*/ 0 w 18"/>
                <a:gd name="T13" fmla="*/ 3 h 16"/>
                <a:gd name="T14" fmla="*/ 0 w 18"/>
                <a:gd name="T15" fmla="*/ 13 h 16"/>
                <a:gd name="T16" fmla="*/ 3 w 18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6">
                  <a:moveTo>
                    <a:pt x="3" y="16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7" y="16"/>
                    <a:pt x="18" y="15"/>
                    <a:pt x="18" y="1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1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endParaRPr lang="en-US" sz="2100"/>
            </a:p>
          </p:txBody>
        </p:sp>
        <p:sp>
          <p:nvSpPr>
            <p:cNvPr id="86" name="Freeform 21"/>
            <p:cNvSpPr/>
            <p:nvPr/>
          </p:nvSpPr>
          <p:spPr bwMode="black">
            <a:xfrm>
              <a:off x="8920162" y="3943878"/>
              <a:ext cx="19050" cy="195263"/>
            </a:xfrm>
            <a:custGeom>
              <a:avLst/>
              <a:gdLst>
                <a:gd name="T0" fmla="*/ 3 w 5"/>
                <a:gd name="T1" fmla="*/ 0 h 52"/>
                <a:gd name="T2" fmla="*/ 2 w 5"/>
                <a:gd name="T3" fmla="*/ 0 h 52"/>
                <a:gd name="T4" fmla="*/ 0 w 5"/>
                <a:gd name="T5" fmla="*/ 2 h 52"/>
                <a:gd name="T6" fmla="*/ 0 w 5"/>
                <a:gd name="T7" fmla="*/ 50 h 52"/>
                <a:gd name="T8" fmla="*/ 2 w 5"/>
                <a:gd name="T9" fmla="*/ 52 h 52"/>
                <a:gd name="T10" fmla="*/ 3 w 5"/>
                <a:gd name="T11" fmla="*/ 52 h 52"/>
                <a:gd name="T12" fmla="*/ 5 w 5"/>
                <a:gd name="T13" fmla="*/ 50 h 52"/>
                <a:gd name="T14" fmla="*/ 5 w 5"/>
                <a:gd name="T15" fmla="*/ 2 h 52"/>
                <a:gd name="T16" fmla="*/ 3 w 5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52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1" y="52"/>
                    <a:pt x="2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4" y="52"/>
                    <a:pt x="5" y="51"/>
                    <a:pt x="5" y="5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endParaRPr lang="en-US" sz="2100"/>
            </a:p>
          </p:txBody>
        </p:sp>
      </p:grpSp>
      <p:sp>
        <p:nvSpPr>
          <p:cNvPr id="96" name="Freeform 9"/>
          <p:cNvSpPr>
            <a:spLocks noEditPoints="1"/>
          </p:cNvSpPr>
          <p:nvPr/>
        </p:nvSpPr>
        <p:spPr bwMode="auto">
          <a:xfrm>
            <a:off x="8084818" y="2859782"/>
            <a:ext cx="735654" cy="696243"/>
          </a:xfrm>
          <a:custGeom>
            <a:avLst/>
            <a:gdLst>
              <a:gd name="T0" fmla="*/ 176 w 242"/>
              <a:gd name="T1" fmla="*/ 20 h 229"/>
              <a:gd name="T2" fmla="*/ 195 w 242"/>
              <a:gd name="T3" fmla="*/ 0 h 229"/>
              <a:gd name="T4" fmla="*/ 215 w 242"/>
              <a:gd name="T5" fmla="*/ 19 h 229"/>
              <a:gd name="T6" fmla="*/ 196 w 242"/>
              <a:gd name="T7" fmla="*/ 39 h 229"/>
              <a:gd name="T8" fmla="*/ 176 w 242"/>
              <a:gd name="T9" fmla="*/ 20 h 229"/>
              <a:gd name="T10" fmla="*/ 218 w 242"/>
              <a:gd name="T11" fmla="*/ 46 h 229"/>
              <a:gd name="T12" fmla="*/ 196 w 242"/>
              <a:gd name="T13" fmla="*/ 46 h 229"/>
              <a:gd name="T14" fmla="*/ 175 w 242"/>
              <a:gd name="T15" fmla="*/ 47 h 229"/>
              <a:gd name="T16" fmla="*/ 152 w 242"/>
              <a:gd name="T17" fmla="*/ 70 h 229"/>
              <a:gd name="T18" fmla="*/ 153 w 242"/>
              <a:gd name="T19" fmla="*/ 98 h 229"/>
              <a:gd name="T20" fmla="*/ 154 w 242"/>
              <a:gd name="T21" fmla="*/ 98 h 229"/>
              <a:gd name="T22" fmla="*/ 180 w 242"/>
              <a:gd name="T23" fmla="*/ 128 h 229"/>
              <a:gd name="T24" fmla="*/ 181 w 242"/>
              <a:gd name="T25" fmla="*/ 190 h 229"/>
              <a:gd name="T26" fmla="*/ 180 w 242"/>
              <a:gd name="T27" fmla="*/ 199 h 229"/>
              <a:gd name="T28" fmla="*/ 176 w 242"/>
              <a:gd name="T29" fmla="*/ 206 h 229"/>
              <a:gd name="T30" fmla="*/ 178 w 242"/>
              <a:gd name="T31" fmla="*/ 226 h 229"/>
              <a:gd name="T32" fmla="*/ 222 w 242"/>
              <a:gd name="T33" fmla="*/ 225 h 229"/>
              <a:gd name="T34" fmla="*/ 227 w 242"/>
              <a:gd name="T35" fmla="*/ 141 h 229"/>
              <a:gd name="T36" fmla="*/ 242 w 242"/>
              <a:gd name="T37" fmla="*/ 123 h 229"/>
              <a:gd name="T38" fmla="*/ 241 w 242"/>
              <a:gd name="T39" fmla="*/ 68 h 229"/>
              <a:gd name="T40" fmla="*/ 218 w 242"/>
              <a:gd name="T41" fmla="*/ 46 h 229"/>
              <a:gd name="T42" fmla="*/ 49 w 242"/>
              <a:gd name="T43" fmla="*/ 65 h 229"/>
              <a:gd name="T44" fmla="*/ 70 w 242"/>
              <a:gd name="T45" fmla="*/ 42 h 229"/>
              <a:gd name="T46" fmla="*/ 48 w 242"/>
              <a:gd name="T47" fmla="*/ 20 h 229"/>
              <a:gd name="T48" fmla="*/ 26 w 242"/>
              <a:gd name="T49" fmla="*/ 43 h 229"/>
              <a:gd name="T50" fmla="*/ 49 w 242"/>
              <a:gd name="T51" fmla="*/ 65 h 229"/>
              <a:gd name="T52" fmla="*/ 71 w 242"/>
              <a:gd name="T53" fmla="*/ 192 h 229"/>
              <a:gd name="T54" fmla="*/ 70 w 242"/>
              <a:gd name="T55" fmla="*/ 130 h 229"/>
              <a:gd name="T56" fmla="*/ 99 w 242"/>
              <a:gd name="T57" fmla="*/ 99 h 229"/>
              <a:gd name="T58" fmla="*/ 99 w 242"/>
              <a:gd name="T59" fmla="*/ 99 h 229"/>
              <a:gd name="T60" fmla="*/ 99 w 242"/>
              <a:gd name="T61" fmla="*/ 97 h 229"/>
              <a:gd name="T62" fmla="*/ 73 w 242"/>
              <a:gd name="T63" fmla="*/ 71 h 229"/>
              <a:gd name="T64" fmla="*/ 49 w 242"/>
              <a:gd name="T65" fmla="*/ 72 h 229"/>
              <a:gd name="T66" fmla="*/ 25 w 242"/>
              <a:gd name="T67" fmla="*/ 72 h 229"/>
              <a:gd name="T68" fmla="*/ 0 w 242"/>
              <a:gd name="T69" fmla="*/ 99 h 229"/>
              <a:gd name="T70" fmla="*/ 1 w 242"/>
              <a:gd name="T71" fmla="*/ 160 h 229"/>
              <a:gd name="T72" fmla="*/ 18 w 242"/>
              <a:gd name="T73" fmla="*/ 179 h 229"/>
              <a:gd name="T74" fmla="*/ 24 w 242"/>
              <a:gd name="T75" fmla="*/ 229 h 229"/>
              <a:gd name="T76" fmla="*/ 80 w 242"/>
              <a:gd name="T77" fmla="*/ 228 h 229"/>
              <a:gd name="T78" fmla="*/ 81 w 242"/>
              <a:gd name="T79" fmla="*/ 212 h 229"/>
              <a:gd name="T80" fmla="*/ 78 w 242"/>
              <a:gd name="T81" fmla="*/ 209 h 229"/>
              <a:gd name="T82" fmla="*/ 71 w 242"/>
              <a:gd name="T83" fmla="*/ 192 h 229"/>
              <a:gd name="T84" fmla="*/ 124 w 242"/>
              <a:gd name="T85" fmla="*/ 96 h 229"/>
              <a:gd name="T86" fmla="*/ 146 w 242"/>
              <a:gd name="T87" fmla="*/ 74 h 229"/>
              <a:gd name="T88" fmla="*/ 123 w 242"/>
              <a:gd name="T89" fmla="*/ 52 h 229"/>
              <a:gd name="T90" fmla="*/ 102 w 242"/>
              <a:gd name="T91" fmla="*/ 74 h 229"/>
              <a:gd name="T92" fmla="*/ 124 w 242"/>
              <a:gd name="T93" fmla="*/ 96 h 229"/>
              <a:gd name="T94" fmla="*/ 174 w 242"/>
              <a:gd name="T95" fmla="*/ 128 h 229"/>
              <a:gd name="T96" fmla="*/ 153 w 242"/>
              <a:gd name="T97" fmla="*/ 103 h 229"/>
              <a:gd name="T98" fmla="*/ 148 w 242"/>
              <a:gd name="T99" fmla="*/ 103 h 229"/>
              <a:gd name="T100" fmla="*/ 124 w 242"/>
              <a:gd name="T101" fmla="*/ 103 h 229"/>
              <a:gd name="T102" fmla="*/ 100 w 242"/>
              <a:gd name="T103" fmla="*/ 104 h 229"/>
              <a:gd name="T104" fmla="*/ 99 w 242"/>
              <a:gd name="T105" fmla="*/ 104 h 229"/>
              <a:gd name="T106" fmla="*/ 75 w 242"/>
              <a:gd name="T107" fmla="*/ 130 h 229"/>
              <a:gd name="T108" fmla="*/ 77 w 242"/>
              <a:gd name="T109" fmla="*/ 192 h 229"/>
              <a:gd name="T110" fmla="*/ 82 w 242"/>
              <a:gd name="T111" fmla="*/ 205 h 229"/>
              <a:gd name="T112" fmla="*/ 94 w 242"/>
              <a:gd name="T113" fmla="*/ 210 h 229"/>
              <a:gd name="T114" fmla="*/ 96 w 242"/>
              <a:gd name="T115" fmla="*/ 228 h 229"/>
              <a:gd name="T116" fmla="*/ 158 w 242"/>
              <a:gd name="T117" fmla="*/ 226 h 229"/>
              <a:gd name="T118" fmla="*/ 159 w 242"/>
              <a:gd name="T119" fmla="*/ 209 h 229"/>
              <a:gd name="T120" fmla="*/ 175 w 242"/>
              <a:gd name="T121" fmla="*/ 197 h 229"/>
              <a:gd name="T122" fmla="*/ 176 w 242"/>
              <a:gd name="T123" fmla="*/ 190 h 229"/>
              <a:gd name="T124" fmla="*/ 174 w 242"/>
              <a:gd name="T125" fmla="*/ 128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2" h="229">
                <a:moveTo>
                  <a:pt x="176" y="20"/>
                </a:moveTo>
                <a:cubicBezTo>
                  <a:pt x="176" y="9"/>
                  <a:pt x="184" y="0"/>
                  <a:pt x="195" y="0"/>
                </a:cubicBezTo>
                <a:cubicBezTo>
                  <a:pt x="206" y="0"/>
                  <a:pt x="215" y="8"/>
                  <a:pt x="215" y="19"/>
                </a:cubicBezTo>
                <a:cubicBezTo>
                  <a:pt x="216" y="30"/>
                  <a:pt x="207" y="39"/>
                  <a:pt x="196" y="39"/>
                </a:cubicBezTo>
                <a:cubicBezTo>
                  <a:pt x="185" y="40"/>
                  <a:pt x="176" y="31"/>
                  <a:pt x="176" y="20"/>
                </a:cubicBezTo>
                <a:close/>
                <a:moveTo>
                  <a:pt x="218" y="46"/>
                </a:moveTo>
                <a:cubicBezTo>
                  <a:pt x="196" y="46"/>
                  <a:pt x="196" y="46"/>
                  <a:pt x="196" y="46"/>
                </a:cubicBezTo>
                <a:cubicBezTo>
                  <a:pt x="175" y="47"/>
                  <a:pt x="175" y="47"/>
                  <a:pt x="175" y="47"/>
                </a:cubicBezTo>
                <a:cubicBezTo>
                  <a:pt x="158" y="47"/>
                  <a:pt x="152" y="60"/>
                  <a:pt x="152" y="70"/>
                </a:cubicBezTo>
                <a:cubicBezTo>
                  <a:pt x="153" y="98"/>
                  <a:pt x="153" y="98"/>
                  <a:pt x="153" y="98"/>
                </a:cubicBezTo>
                <a:cubicBezTo>
                  <a:pt x="153" y="98"/>
                  <a:pt x="153" y="98"/>
                  <a:pt x="154" y="98"/>
                </a:cubicBezTo>
                <a:cubicBezTo>
                  <a:pt x="171" y="100"/>
                  <a:pt x="179" y="115"/>
                  <a:pt x="180" y="128"/>
                </a:cubicBezTo>
                <a:cubicBezTo>
                  <a:pt x="181" y="190"/>
                  <a:pt x="181" y="190"/>
                  <a:pt x="181" y="190"/>
                </a:cubicBezTo>
                <a:cubicBezTo>
                  <a:pt x="181" y="193"/>
                  <a:pt x="181" y="196"/>
                  <a:pt x="180" y="199"/>
                </a:cubicBezTo>
                <a:cubicBezTo>
                  <a:pt x="179" y="202"/>
                  <a:pt x="177" y="204"/>
                  <a:pt x="176" y="206"/>
                </a:cubicBezTo>
                <a:cubicBezTo>
                  <a:pt x="178" y="226"/>
                  <a:pt x="178" y="226"/>
                  <a:pt x="178" y="226"/>
                </a:cubicBezTo>
                <a:cubicBezTo>
                  <a:pt x="222" y="225"/>
                  <a:pt x="222" y="225"/>
                  <a:pt x="222" y="225"/>
                </a:cubicBezTo>
                <a:cubicBezTo>
                  <a:pt x="227" y="141"/>
                  <a:pt x="227" y="141"/>
                  <a:pt x="227" y="141"/>
                </a:cubicBezTo>
                <a:cubicBezTo>
                  <a:pt x="227" y="141"/>
                  <a:pt x="242" y="139"/>
                  <a:pt x="242" y="123"/>
                </a:cubicBezTo>
                <a:cubicBezTo>
                  <a:pt x="241" y="68"/>
                  <a:pt x="241" y="68"/>
                  <a:pt x="241" y="68"/>
                </a:cubicBezTo>
                <a:cubicBezTo>
                  <a:pt x="241" y="58"/>
                  <a:pt x="234" y="45"/>
                  <a:pt x="218" y="46"/>
                </a:cubicBezTo>
                <a:close/>
                <a:moveTo>
                  <a:pt x="49" y="65"/>
                </a:moveTo>
                <a:cubicBezTo>
                  <a:pt x="61" y="64"/>
                  <a:pt x="71" y="54"/>
                  <a:pt x="70" y="42"/>
                </a:cubicBezTo>
                <a:cubicBezTo>
                  <a:pt x="70" y="30"/>
                  <a:pt x="60" y="20"/>
                  <a:pt x="48" y="20"/>
                </a:cubicBezTo>
                <a:cubicBezTo>
                  <a:pt x="36" y="21"/>
                  <a:pt x="26" y="31"/>
                  <a:pt x="26" y="43"/>
                </a:cubicBezTo>
                <a:cubicBezTo>
                  <a:pt x="27" y="55"/>
                  <a:pt x="37" y="65"/>
                  <a:pt x="49" y="65"/>
                </a:cubicBezTo>
                <a:close/>
                <a:moveTo>
                  <a:pt x="71" y="192"/>
                </a:moveTo>
                <a:cubicBezTo>
                  <a:pt x="70" y="130"/>
                  <a:pt x="70" y="130"/>
                  <a:pt x="70" y="130"/>
                </a:cubicBezTo>
                <a:cubicBezTo>
                  <a:pt x="70" y="115"/>
                  <a:pt x="80" y="100"/>
                  <a:pt x="99" y="99"/>
                </a:cubicBezTo>
                <a:cubicBezTo>
                  <a:pt x="99" y="99"/>
                  <a:pt x="99" y="99"/>
                  <a:pt x="99" y="99"/>
                </a:cubicBezTo>
                <a:cubicBezTo>
                  <a:pt x="99" y="97"/>
                  <a:pt x="99" y="97"/>
                  <a:pt x="99" y="97"/>
                </a:cubicBezTo>
                <a:cubicBezTo>
                  <a:pt x="99" y="86"/>
                  <a:pt x="91" y="71"/>
                  <a:pt x="73" y="71"/>
                </a:cubicBezTo>
                <a:cubicBezTo>
                  <a:pt x="49" y="72"/>
                  <a:pt x="49" y="72"/>
                  <a:pt x="49" y="72"/>
                </a:cubicBezTo>
                <a:cubicBezTo>
                  <a:pt x="25" y="72"/>
                  <a:pt x="25" y="72"/>
                  <a:pt x="25" y="72"/>
                </a:cubicBezTo>
                <a:cubicBezTo>
                  <a:pt x="7" y="73"/>
                  <a:pt x="0" y="88"/>
                  <a:pt x="0" y="99"/>
                </a:cubicBezTo>
                <a:cubicBezTo>
                  <a:pt x="1" y="160"/>
                  <a:pt x="1" y="160"/>
                  <a:pt x="1" y="160"/>
                </a:cubicBezTo>
                <a:cubicBezTo>
                  <a:pt x="2" y="178"/>
                  <a:pt x="18" y="179"/>
                  <a:pt x="18" y="179"/>
                </a:cubicBezTo>
                <a:cubicBezTo>
                  <a:pt x="24" y="229"/>
                  <a:pt x="24" y="229"/>
                  <a:pt x="24" y="229"/>
                </a:cubicBezTo>
                <a:cubicBezTo>
                  <a:pt x="80" y="228"/>
                  <a:pt x="80" y="228"/>
                  <a:pt x="80" y="228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0" y="211"/>
                  <a:pt x="79" y="210"/>
                  <a:pt x="78" y="209"/>
                </a:cubicBezTo>
                <a:cubicBezTo>
                  <a:pt x="74" y="205"/>
                  <a:pt x="72" y="199"/>
                  <a:pt x="71" y="192"/>
                </a:cubicBezTo>
                <a:close/>
                <a:moveTo>
                  <a:pt x="124" y="96"/>
                </a:moveTo>
                <a:cubicBezTo>
                  <a:pt x="136" y="96"/>
                  <a:pt x="146" y="86"/>
                  <a:pt x="146" y="74"/>
                </a:cubicBezTo>
                <a:cubicBezTo>
                  <a:pt x="146" y="61"/>
                  <a:pt x="135" y="52"/>
                  <a:pt x="123" y="52"/>
                </a:cubicBezTo>
                <a:cubicBezTo>
                  <a:pt x="111" y="52"/>
                  <a:pt x="101" y="62"/>
                  <a:pt x="102" y="74"/>
                </a:cubicBezTo>
                <a:cubicBezTo>
                  <a:pt x="102" y="87"/>
                  <a:pt x="112" y="96"/>
                  <a:pt x="124" y="96"/>
                </a:cubicBezTo>
                <a:close/>
                <a:moveTo>
                  <a:pt x="174" y="128"/>
                </a:moveTo>
                <a:cubicBezTo>
                  <a:pt x="174" y="118"/>
                  <a:pt x="168" y="105"/>
                  <a:pt x="153" y="103"/>
                </a:cubicBezTo>
                <a:cubicBezTo>
                  <a:pt x="151" y="103"/>
                  <a:pt x="150" y="103"/>
                  <a:pt x="148" y="103"/>
                </a:cubicBezTo>
                <a:cubicBezTo>
                  <a:pt x="124" y="103"/>
                  <a:pt x="124" y="103"/>
                  <a:pt x="124" y="103"/>
                </a:cubicBezTo>
                <a:cubicBezTo>
                  <a:pt x="100" y="104"/>
                  <a:pt x="100" y="104"/>
                  <a:pt x="100" y="104"/>
                </a:cubicBezTo>
                <a:cubicBezTo>
                  <a:pt x="100" y="104"/>
                  <a:pt x="100" y="104"/>
                  <a:pt x="99" y="104"/>
                </a:cubicBezTo>
                <a:cubicBezTo>
                  <a:pt x="82" y="105"/>
                  <a:pt x="75" y="119"/>
                  <a:pt x="75" y="130"/>
                </a:cubicBezTo>
                <a:cubicBezTo>
                  <a:pt x="77" y="192"/>
                  <a:pt x="77" y="192"/>
                  <a:pt x="77" y="192"/>
                </a:cubicBezTo>
                <a:cubicBezTo>
                  <a:pt x="77" y="198"/>
                  <a:pt x="79" y="202"/>
                  <a:pt x="82" y="205"/>
                </a:cubicBezTo>
                <a:cubicBezTo>
                  <a:pt x="87" y="210"/>
                  <a:pt x="94" y="210"/>
                  <a:pt x="94" y="210"/>
                </a:cubicBezTo>
                <a:cubicBezTo>
                  <a:pt x="96" y="228"/>
                  <a:pt x="96" y="228"/>
                  <a:pt x="96" y="228"/>
                </a:cubicBezTo>
                <a:cubicBezTo>
                  <a:pt x="158" y="226"/>
                  <a:pt x="158" y="226"/>
                  <a:pt x="158" y="226"/>
                </a:cubicBezTo>
                <a:cubicBezTo>
                  <a:pt x="159" y="209"/>
                  <a:pt x="159" y="209"/>
                  <a:pt x="159" y="209"/>
                </a:cubicBezTo>
                <a:cubicBezTo>
                  <a:pt x="159" y="209"/>
                  <a:pt x="171" y="208"/>
                  <a:pt x="175" y="197"/>
                </a:cubicBezTo>
                <a:cubicBezTo>
                  <a:pt x="175" y="195"/>
                  <a:pt x="176" y="193"/>
                  <a:pt x="176" y="190"/>
                </a:cubicBezTo>
                <a:lnTo>
                  <a:pt x="174" y="1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27" tIns="45713" rIns="91427" bIns="45713" numCol="1" anchor="t" anchorCtr="0" compatLnSpc="1"/>
          <a:lstStyle/>
          <a:p>
            <a:pPr defTabSz="913130">
              <a:defRPr/>
            </a:pPr>
            <a:endParaRPr lang="en-US" kern="0">
              <a:solidFill>
                <a:srgbClr val="FFFFFF"/>
              </a:solidFill>
              <a:latin typeface="Segoe"/>
            </a:endParaRPr>
          </a:p>
        </p:txBody>
      </p:sp>
      <p:pic>
        <p:nvPicPr>
          <p:cNvPr id="97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91280" y="2772722"/>
            <a:ext cx="589687" cy="87036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8" name="Freeform 144"/>
          <p:cNvSpPr>
            <a:spLocks noEditPoints="1"/>
          </p:cNvSpPr>
          <p:nvPr/>
        </p:nvSpPr>
        <p:spPr bwMode="black">
          <a:xfrm>
            <a:off x="4447250" y="2859782"/>
            <a:ext cx="380040" cy="670938"/>
          </a:xfrm>
          <a:custGeom>
            <a:avLst/>
            <a:gdLst>
              <a:gd name="T0" fmla="*/ 35 w 46"/>
              <a:gd name="T1" fmla="*/ 7 h 84"/>
              <a:gd name="T2" fmla="*/ 29 w 46"/>
              <a:gd name="T3" fmla="*/ 14 h 84"/>
              <a:gd name="T4" fmla="*/ 22 w 46"/>
              <a:gd name="T5" fmla="*/ 7 h 84"/>
              <a:gd name="T6" fmla="*/ 29 w 46"/>
              <a:gd name="T7" fmla="*/ 0 h 84"/>
              <a:gd name="T8" fmla="*/ 35 w 46"/>
              <a:gd name="T9" fmla="*/ 7 h 84"/>
              <a:gd name="T10" fmla="*/ 20 w 46"/>
              <a:gd name="T11" fmla="*/ 12 h 84"/>
              <a:gd name="T12" fmla="*/ 2 w 46"/>
              <a:gd name="T13" fmla="*/ 22 h 84"/>
              <a:gd name="T14" fmla="*/ 0 w 46"/>
              <a:gd name="T15" fmla="*/ 41 h 84"/>
              <a:gd name="T16" fmla="*/ 6 w 46"/>
              <a:gd name="T17" fmla="*/ 41 h 84"/>
              <a:gd name="T18" fmla="*/ 7 w 46"/>
              <a:gd name="T19" fmla="*/ 26 h 84"/>
              <a:gd name="T20" fmla="*/ 15 w 46"/>
              <a:gd name="T21" fmla="*/ 22 h 84"/>
              <a:gd name="T22" fmla="*/ 10 w 46"/>
              <a:gd name="T23" fmla="*/ 37 h 84"/>
              <a:gd name="T24" fmla="*/ 12 w 46"/>
              <a:gd name="T25" fmla="*/ 45 h 84"/>
              <a:gd name="T26" fmla="*/ 0 w 46"/>
              <a:gd name="T27" fmla="*/ 82 h 84"/>
              <a:gd name="T28" fmla="*/ 8 w 46"/>
              <a:gd name="T29" fmla="*/ 84 h 84"/>
              <a:gd name="T30" fmla="*/ 18 w 46"/>
              <a:gd name="T31" fmla="*/ 57 h 84"/>
              <a:gd name="T32" fmla="*/ 21 w 46"/>
              <a:gd name="T33" fmla="*/ 62 h 84"/>
              <a:gd name="T34" fmla="*/ 27 w 46"/>
              <a:gd name="T35" fmla="*/ 84 h 84"/>
              <a:gd name="T36" fmla="*/ 36 w 46"/>
              <a:gd name="T37" fmla="*/ 81 h 84"/>
              <a:gd name="T38" fmla="*/ 29 w 46"/>
              <a:gd name="T39" fmla="*/ 56 h 84"/>
              <a:gd name="T40" fmla="*/ 22 w 46"/>
              <a:gd name="T41" fmla="*/ 45 h 84"/>
              <a:gd name="T42" fmla="*/ 27 w 46"/>
              <a:gd name="T43" fmla="*/ 29 h 84"/>
              <a:gd name="T44" fmla="*/ 29 w 46"/>
              <a:gd name="T45" fmla="*/ 35 h 84"/>
              <a:gd name="T46" fmla="*/ 44 w 46"/>
              <a:gd name="T47" fmla="*/ 41 h 84"/>
              <a:gd name="T48" fmla="*/ 46 w 46"/>
              <a:gd name="T49" fmla="*/ 35 h 84"/>
              <a:gd name="T50" fmla="*/ 35 w 46"/>
              <a:gd name="T51" fmla="*/ 30 h 84"/>
              <a:gd name="T52" fmla="*/ 31 w 46"/>
              <a:gd name="T53" fmla="*/ 17 h 84"/>
              <a:gd name="T54" fmla="*/ 20 w 46"/>
              <a:gd name="T55" fmla="*/ 1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6" h="84">
                <a:moveTo>
                  <a:pt x="35" y="7"/>
                </a:moveTo>
                <a:cubicBezTo>
                  <a:pt x="35" y="11"/>
                  <a:pt x="33" y="14"/>
                  <a:pt x="29" y="14"/>
                </a:cubicBezTo>
                <a:cubicBezTo>
                  <a:pt x="25" y="14"/>
                  <a:pt x="22" y="11"/>
                  <a:pt x="22" y="7"/>
                </a:cubicBezTo>
                <a:cubicBezTo>
                  <a:pt x="22" y="3"/>
                  <a:pt x="25" y="0"/>
                  <a:pt x="29" y="0"/>
                </a:cubicBezTo>
                <a:cubicBezTo>
                  <a:pt x="33" y="0"/>
                  <a:pt x="35" y="3"/>
                  <a:pt x="35" y="7"/>
                </a:cubicBezTo>
                <a:moveTo>
                  <a:pt x="20" y="12"/>
                </a:moveTo>
                <a:cubicBezTo>
                  <a:pt x="2" y="22"/>
                  <a:pt x="2" y="22"/>
                  <a:pt x="2" y="22"/>
                </a:cubicBezTo>
                <a:cubicBezTo>
                  <a:pt x="0" y="41"/>
                  <a:pt x="0" y="41"/>
                  <a:pt x="0" y="41"/>
                </a:cubicBezTo>
                <a:cubicBezTo>
                  <a:pt x="6" y="41"/>
                  <a:pt x="6" y="41"/>
                  <a:pt x="6" y="41"/>
                </a:cubicBezTo>
                <a:cubicBezTo>
                  <a:pt x="7" y="26"/>
                  <a:pt x="7" y="26"/>
                  <a:pt x="7" y="26"/>
                </a:cubicBezTo>
                <a:cubicBezTo>
                  <a:pt x="15" y="22"/>
                  <a:pt x="15" y="22"/>
                  <a:pt x="15" y="22"/>
                </a:cubicBezTo>
                <a:cubicBezTo>
                  <a:pt x="15" y="22"/>
                  <a:pt x="11" y="34"/>
                  <a:pt x="10" y="37"/>
                </a:cubicBezTo>
                <a:cubicBezTo>
                  <a:pt x="9" y="39"/>
                  <a:pt x="11" y="43"/>
                  <a:pt x="12" y="45"/>
                </a:cubicBezTo>
                <a:cubicBezTo>
                  <a:pt x="0" y="82"/>
                  <a:pt x="0" y="82"/>
                  <a:pt x="0" y="82"/>
                </a:cubicBezTo>
                <a:cubicBezTo>
                  <a:pt x="8" y="84"/>
                  <a:pt x="8" y="84"/>
                  <a:pt x="8" y="84"/>
                </a:cubicBezTo>
                <a:cubicBezTo>
                  <a:pt x="18" y="57"/>
                  <a:pt x="18" y="57"/>
                  <a:pt x="18" y="57"/>
                </a:cubicBezTo>
                <a:cubicBezTo>
                  <a:pt x="21" y="62"/>
                  <a:pt x="21" y="62"/>
                  <a:pt x="21" y="62"/>
                </a:cubicBezTo>
                <a:cubicBezTo>
                  <a:pt x="27" y="84"/>
                  <a:pt x="27" y="84"/>
                  <a:pt x="27" y="84"/>
                </a:cubicBezTo>
                <a:cubicBezTo>
                  <a:pt x="36" y="81"/>
                  <a:pt x="36" y="81"/>
                  <a:pt x="36" y="81"/>
                </a:cubicBezTo>
                <a:cubicBezTo>
                  <a:pt x="29" y="56"/>
                  <a:pt x="29" y="56"/>
                  <a:pt x="29" y="56"/>
                </a:cubicBezTo>
                <a:cubicBezTo>
                  <a:pt x="22" y="45"/>
                  <a:pt x="22" y="45"/>
                  <a:pt x="22" y="45"/>
                </a:cubicBezTo>
                <a:cubicBezTo>
                  <a:pt x="27" y="29"/>
                  <a:pt x="27" y="29"/>
                  <a:pt x="27" y="29"/>
                </a:cubicBezTo>
                <a:cubicBezTo>
                  <a:pt x="29" y="35"/>
                  <a:pt x="29" y="35"/>
                  <a:pt x="29" y="35"/>
                </a:cubicBezTo>
                <a:cubicBezTo>
                  <a:pt x="44" y="41"/>
                  <a:pt x="44" y="41"/>
                  <a:pt x="44" y="41"/>
                </a:cubicBezTo>
                <a:cubicBezTo>
                  <a:pt x="46" y="35"/>
                  <a:pt x="46" y="35"/>
                  <a:pt x="46" y="35"/>
                </a:cubicBezTo>
                <a:cubicBezTo>
                  <a:pt x="35" y="30"/>
                  <a:pt x="35" y="30"/>
                  <a:pt x="35" y="30"/>
                </a:cubicBezTo>
                <a:cubicBezTo>
                  <a:pt x="31" y="17"/>
                  <a:pt x="31" y="17"/>
                  <a:pt x="31" y="17"/>
                </a:cubicBezTo>
                <a:lnTo>
                  <a:pt x="20" y="1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2974" tIns="46489" rIns="92974" bIns="46489" numCol="1" anchor="t" anchorCtr="0" compatLnSpc="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0" name="Picture 7" descr="C:\Users\Jonahs\Dropbox\Projects SCOTT\MEET Windows Azure\source\Background\tile-icon-identity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838550"/>
            <a:ext cx="738705" cy="73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15816" y="2787774"/>
            <a:ext cx="875271" cy="871064"/>
          </a:xfrm>
          <a:prstGeom prst="rect">
            <a:avLst/>
          </a:prstGeom>
          <a:noFill/>
          <a:effectLst/>
        </p:spPr>
      </p:pic>
      <p:pic>
        <p:nvPicPr>
          <p:cNvPr id="117" name="Picture 2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036" y="2989796"/>
            <a:ext cx="818612" cy="566229"/>
          </a:xfrm>
          <a:prstGeom prst="rect">
            <a:avLst/>
          </a:prstGeom>
        </p:spPr>
      </p:pic>
      <p:sp>
        <p:nvSpPr>
          <p:cNvPr id="118" name="Freeform 33"/>
          <p:cNvSpPr>
            <a:spLocks noChangeAspect="1" noEditPoints="1"/>
          </p:cNvSpPr>
          <p:nvPr/>
        </p:nvSpPr>
        <p:spPr bwMode="auto">
          <a:xfrm>
            <a:off x="329849" y="2755174"/>
            <a:ext cx="893839" cy="919407"/>
          </a:xfrm>
          <a:custGeom>
            <a:avLst/>
            <a:gdLst>
              <a:gd name="T0" fmla="*/ 305377 w 731"/>
              <a:gd name="T1" fmla="*/ 208172 h 752"/>
              <a:gd name="T2" fmla="*/ 250915 w 731"/>
              <a:gd name="T3" fmla="*/ 419262 h 752"/>
              <a:gd name="T4" fmla="*/ 96281 w 731"/>
              <a:gd name="T5" fmla="*/ 404671 h 752"/>
              <a:gd name="T6" fmla="*/ 270365 w 731"/>
              <a:gd name="T7" fmla="*/ 427044 h 752"/>
              <a:gd name="T8" fmla="*/ 525170 w 731"/>
              <a:gd name="T9" fmla="*/ 401752 h 752"/>
              <a:gd name="T10" fmla="*/ 519335 w 731"/>
              <a:gd name="T11" fmla="*/ 221791 h 752"/>
              <a:gd name="T12" fmla="*/ 326773 w 731"/>
              <a:gd name="T13" fmla="*/ 121596 h 752"/>
              <a:gd name="T14" fmla="*/ 164359 w 731"/>
              <a:gd name="T15" fmla="*/ 501947 h 752"/>
              <a:gd name="T16" fmla="*/ 152688 w 731"/>
              <a:gd name="T17" fmla="*/ 476655 h 752"/>
              <a:gd name="T18" fmla="*/ 164359 w 731"/>
              <a:gd name="T19" fmla="*/ 501947 h 752"/>
              <a:gd name="T20" fmla="*/ 268420 w 731"/>
              <a:gd name="T21" fmla="*/ 519457 h 752"/>
              <a:gd name="T22" fmla="*/ 163386 w 731"/>
              <a:gd name="T23" fmla="*/ 528212 h 752"/>
              <a:gd name="T24" fmla="*/ 45709 w 731"/>
              <a:gd name="T25" fmla="*/ 508757 h 752"/>
              <a:gd name="T26" fmla="*/ 85583 w 731"/>
              <a:gd name="T27" fmla="*/ 517512 h 752"/>
              <a:gd name="T28" fmla="*/ 75858 w 731"/>
              <a:gd name="T29" fmla="*/ 563232 h 752"/>
              <a:gd name="T30" fmla="*/ 128375 w 731"/>
              <a:gd name="T31" fmla="*/ 558368 h 752"/>
              <a:gd name="T32" fmla="*/ 149771 w 731"/>
              <a:gd name="T33" fmla="*/ 606033 h 752"/>
              <a:gd name="T34" fmla="*/ 188672 w 731"/>
              <a:gd name="T35" fmla="*/ 562259 h 752"/>
              <a:gd name="T36" fmla="*/ 231464 w 731"/>
              <a:gd name="T37" fmla="*/ 581714 h 752"/>
              <a:gd name="T38" fmla="*/ 236327 w 731"/>
              <a:gd name="T39" fmla="*/ 528212 h 752"/>
              <a:gd name="T40" fmla="*/ 339416 w 731"/>
              <a:gd name="T41" fmla="*/ 642026 h 752"/>
              <a:gd name="T42" fmla="*/ 357894 w 731"/>
              <a:gd name="T43" fmla="*/ 676072 h 752"/>
              <a:gd name="T44" fmla="*/ 342333 w 731"/>
              <a:gd name="T45" fmla="*/ 697473 h 752"/>
              <a:gd name="T46" fmla="*/ 295651 w 731"/>
              <a:gd name="T47" fmla="*/ 701364 h 752"/>
              <a:gd name="T48" fmla="*/ 265503 w 731"/>
              <a:gd name="T49" fmla="*/ 730547 h 752"/>
              <a:gd name="T50" fmla="*/ 233409 w 731"/>
              <a:gd name="T51" fmla="*/ 688718 h 752"/>
              <a:gd name="T52" fmla="*/ 200343 w 731"/>
              <a:gd name="T53" fmla="*/ 691637 h 752"/>
              <a:gd name="T54" fmla="*/ 195480 w 731"/>
              <a:gd name="T55" fmla="*/ 667317 h 752"/>
              <a:gd name="T56" fmla="*/ 213958 w 731"/>
              <a:gd name="T57" fmla="*/ 627434 h 752"/>
              <a:gd name="T58" fmla="*/ 194508 w 731"/>
              <a:gd name="T59" fmla="*/ 601169 h 752"/>
              <a:gd name="T60" fmla="*/ 212986 w 731"/>
              <a:gd name="T61" fmla="*/ 583660 h 752"/>
              <a:gd name="T62" fmla="*/ 261613 w 731"/>
              <a:gd name="T63" fmla="*/ 556422 h 752"/>
              <a:gd name="T64" fmla="*/ 292734 w 731"/>
              <a:gd name="T65" fmla="*/ 557395 h 752"/>
              <a:gd name="T66" fmla="*/ 324828 w 731"/>
              <a:gd name="T67" fmla="*/ 591442 h 752"/>
              <a:gd name="T68" fmla="*/ 355949 w 731"/>
              <a:gd name="T69" fmla="*/ 599224 h 752"/>
              <a:gd name="T70" fmla="*/ 356921 w 731"/>
              <a:gd name="T71" fmla="*/ 613815 h 752"/>
              <a:gd name="T72" fmla="*/ 250915 w 731"/>
              <a:gd name="T73" fmla="*/ 640080 h 752"/>
              <a:gd name="T74" fmla="*/ 449312 w 731"/>
              <a:gd name="T75" fmla="*/ 527239 h 752"/>
              <a:gd name="T76" fmla="*/ 482379 w 731"/>
              <a:gd name="T77" fmla="*/ 497083 h 752"/>
              <a:gd name="T78" fmla="*/ 639930 w 731"/>
              <a:gd name="T79" fmla="*/ 535994 h 752"/>
              <a:gd name="T80" fmla="*/ 618534 w 731"/>
              <a:gd name="T81" fmla="*/ 482492 h 752"/>
              <a:gd name="T82" fmla="*/ 525170 w 731"/>
              <a:gd name="T83" fmla="*/ 480546 h 752"/>
              <a:gd name="T84" fmla="*/ 525170 w 731"/>
              <a:gd name="T85" fmla="*/ 574905 h 752"/>
              <a:gd name="T86" fmla="*/ 419164 w 731"/>
              <a:gd name="T87" fmla="*/ 551558 h 752"/>
              <a:gd name="T88" fmla="*/ 375400 w 731"/>
              <a:gd name="T89" fmla="*/ 599224 h 752"/>
              <a:gd name="T90" fmla="*/ 384152 w 731"/>
              <a:gd name="T91" fmla="*/ 661481 h 752"/>
              <a:gd name="T92" fmla="*/ 443477 w 731"/>
              <a:gd name="T93" fmla="*/ 638134 h 752"/>
              <a:gd name="T94" fmla="*/ 493077 w 731"/>
              <a:gd name="T95" fmla="*/ 699419 h 752"/>
              <a:gd name="T96" fmla="*/ 524198 w 731"/>
              <a:gd name="T97" fmla="*/ 635216 h 752"/>
              <a:gd name="T98" fmla="*/ 595193 w 731"/>
              <a:gd name="T99" fmla="*/ 645917 h 752"/>
              <a:gd name="T100" fmla="*/ 584495 w 731"/>
              <a:gd name="T101" fmla="*/ 582687 h 752"/>
              <a:gd name="T102" fmla="*/ 644792 w 731"/>
              <a:gd name="T103" fmla="*/ 544749 h 752"/>
              <a:gd name="T104" fmla="*/ 681749 w 731"/>
              <a:gd name="T105" fmla="*/ 495138 h 752"/>
              <a:gd name="T106" fmla="*/ 358866 w 731"/>
              <a:gd name="T107" fmla="*/ 534049 h 752"/>
              <a:gd name="T108" fmla="*/ 23341 w 731"/>
              <a:gd name="T109" fmla="*/ 500975 h 752"/>
              <a:gd name="T110" fmla="*/ 375400 w 731"/>
              <a:gd name="T111" fmla="*/ 579769 h 75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31"/>
              <a:gd name="T169" fmla="*/ 0 h 752"/>
              <a:gd name="T170" fmla="*/ 731 w 731"/>
              <a:gd name="T171" fmla="*/ 752 h 75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31" h="752">
                <a:moveTo>
                  <a:pt x="138" y="214"/>
                </a:moveTo>
                <a:cubicBezTo>
                  <a:pt x="138" y="164"/>
                  <a:pt x="178" y="123"/>
                  <a:pt x="226" y="123"/>
                </a:cubicBezTo>
                <a:cubicBezTo>
                  <a:pt x="274" y="123"/>
                  <a:pt x="314" y="164"/>
                  <a:pt x="314" y="214"/>
                </a:cubicBezTo>
                <a:cubicBezTo>
                  <a:pt x="314" y="245"/>
                  <a:pt x="299" y="273"/>
                  <a:pt x="276" y="289"/>
                </a:cubicBezTo>
                <a:cubicBezTo>
                  <a:pt x="282" y="292"/>
                  <a:pt x="287" y="296"/>
                  <a:pt x="293" y="300"/>
                </a:cubicBezTo>
                <a:cubicBezTo>
                  <a:pt x="272" y="338"/>
                  <a:pt x="259" y="383"/>
                  <a:pt x="258" y="431"/>
                </a:cubicBezTo>
                <a:cubicBezTo>
                  <a:pt x="236" y="421"/>
                  <a:pt x="212" y="415"/>
                  <a:pt x="185" y="411"/>
                </a:cubicBezTo>
                <a:cubicBezTo>
                  <a:pt x="176" y="410"/>
                  <a:pt x="166" y="410"/>
                  <a:pt x="157" y="410"/>
                </a:cubicBezTo>
                <a:cubicBezTo>
                  <a:pt x="136" y="410"/>
                  <a:pt x="117" y="412"/>
                  <a:pt x="99" y="416"/>
                </a:cubicBezTo>
                <a:cubicBezTo>
                  <a:pt x="106" y="359"/>
                  <a:pt x="136" y="311"/>
                  <a:pt x="176" y="289"/>
                </a:cubicBezTo>
                <a:cubicBezTo>
                  <a:pt x="153" y="273"/>
                  <a:pt x="138" y="245"/>
                  <a:pt x="138" y="214"/>
                </a:cubicBezTo>
                <a:close/>
                <a:moveTo>
                  <a:pt x="278" y="439"/>
                </a:moveTo>
                <a:cubicBezTo>
                  <a:pt x="278" y="439"/>
                  <a:pt x="278" y="440"/>
                  <a:pt x="278" y="440"/>
                </a:cubicBezTo>
                <a:cubicBezTo>
                  <a:pt x="319" y="462"/>
                  <a:pt x="349" y="491"/>
                  <a:pt x="369" y="516"/>
                </a:cubicBezTo>
                <a:cubicBezTo>
                  <a:pt x="403" y="475"/>
                  <a:pt x="460" y="424"/>
                  <a:pt x="540" y="413"/>
                </a:cubicBezTo>
                <a:cubicBezTo>
                  <a:pt x="555" y="411"/>
                  <a:pt x="570" y="410"/>
                  <a:pt x="585" y="410"/>
                </a:cubicBezTo>
                <a:cubicBezTo>
                  <a:pt x="607" y="410"/>
                  <a:pt x="627" y="412"/>
                  <a:pt x="645" y="416"/>
                </a:cubicBezTo>
                <a:cubicBezTo>
                  <a:pt x="638" y="331"/>
                  <a:pt x="594" y="260"/>
                  <a:pt x="534" y="228"/>
                </a:cubicBezTo>
                <a:cubicBezTo>
                  <a:pt x="566" y="205"/>
                  <a:pt x="588" y="168"/>
                  <a:pt x="588" y="125"/>
                </a:cubicBezTo>
                <a:cubicBezTo>
                  <a:pt x="588" y="56"/>
                  <a:pt x="531" y="0"/>
                  <a:pt x="462" y="0"/>
                </a:cubicBezTo>
                <a:cubicBezTo>
                  <a:pt x="393" y="0"/>
                  <a:pt x="336" y="56"/>
                  <a:pt x="336" y="125"/>
                </a:cubicBezTo>
                <a:cubicBezTo>
                  <a:pt x="336" y="168"/>
                  <a:pt x="358" y="205"/>
                  <a:pt x="390" y="228"/>
                </a:cubicBezTo>
                <a:cubicBezTo>
                  <a:pt x="324" y="263"/>
                  <a:pt x="278" y="344"/>
                  <a:pt x="278" y="439"/>
                </a:cubicBezTo>
                <a:close/>
                <a:moveTo>
                  <a:pt x="169" y="516"/>
                </a:moveTo>
                <a:cubicBezTo>
                  <a:pt x="181" y="516"/>
                  <a:pt x="192" y="506"/>
                  <a:pt x="192" y="494"/>
                </a:cubicBezTo>
                <a:cubicBezTo>
                  <a:pt x="187" y="492"/>
                  <a:pt x="181" y="491"/>
                  <a:pt x="175" y="491"/>
                </a:cubicBezTo>
                <a:cubicBezTo>
                  <a:pt x="169" y="490"/>
                  <a:pt x="163" y="490"/>
                  <a:pt x="157" y="490"/>
                </a:cubicBezTo>
                <a:cubicBezTo>
                  <a:pt x="153" y="490"/>
                  <a:pt x="150" y="490"/>
                  <a:pt x="146" y="490"/>
                </a:cubicBezTo>
                <a:cubicBezTo>
                  <a:pt x="146" y="491"/>
                  <a:pt x="146" y="491"/>
                  <a:pt x="146" y="492"/>
                </a:cubicBezTo>
                <a:cubicBezTo>
                  <a:pt x="146" y="505"/>
                  <a:pt x="156" y="516"/>
                  <a:pt x="169" y="516"/>
                </a:cubicBezTo>
                <a:close/>
                <a:moveTo>
                  <a:pt x="243" y="543"/>
                </a:moveTo>
                <a:cubicBezTo>
                  <a:pt x="245" y="541"/>
                  <a:pt x="246" y="537"/>
                  <a:pt x="248" y="535"/>
                </a:cubicBezTo>
                <a:cubicBezTo>
                  <a:pt x="262" y="534"/>
                  <a:pt x="271" y="534"/>
                  <a:pt x="276" y="534"/>
                </a:cubicBezTo>
                <a:cubicBezTo>
                  <a:pt x="260" y="521"/>
                  <a:pt x="241" y="509"/>
                  <a:pt x="218" y="501"/>
                </a:cubicBezTo>
                <a:cubicBezTo>
                  <a:pt x="216" y="512"/>
                  <a:pt x="211" y="522"/>
                  <a:pt x="204" y="529"/>
                </a:cubicBezTo>
                <a:cubicBezTo>
                  <a:pt x="194" y="538"/>
                  <a:pt x="182" y="543"/>
                  <a:pt x="168" y="543"/>
                </a:cubicBezTo>
                <a:cubicBezTo>
                  <a:pt x="154" y="542"/>
                  <a:pt x="142" y="537"/>
                  <a:pt x="133" y="527"/>
                </a:cubicBezTo>
                <a:cubicBezTo>
                  <a:pt x="125" y="519"/>
                  <a:pt x="120" y="507"/>
                  <a:pt x="119" y="494"/>
                </a:cubicBezTo>
                <a:cubicBezTo>
                  <a:pt x="87" y="501"/>
                  <a:pt x="61" y="515"/>
                  <a:pt x="47" y="523"/>
                </a:cubicBezTo>
                <a:cubicBezTo>
                  <a:pt x="47" y="524"/>
                  <a:pt x="47" y="524"/>
                  <a:pt x="47" y="524"/>
                </a:cubicBezTo>
                <a:cubicBezTo>
                  <a:pt x="48" y="527"/>
                  <a:pt x="50" y="528"/>
                  <a:pt x="53" y="529"/>
                </a:cubicBezTo>
                <a:cubicBezTo>
                  <a:pt x="88" y="532"/>
                  <a:pt x="88" y="532"/>
                  <a:pt x="88" y="532"/>
                </a:cubicBezTo>
                <a:cubicBezTo>
                  <a:pt x="90" y="534"/>
                  <a:pt x="92" y="538"/>
                  <a:pt x="93" y="540"/>
                </a:cubicBezTo>
                <a:cubicBezTo>
                  <a:pt x="76" y="572"/>
                  <a:pt x="76" y="572"/>
                  <a:pt x="76" y="572"/>
                </a:cubicBezTo>
                <a:cubicBezTo>
                  <a:pt x="75" y="574"/>
                  <a:pt x="76" y="578"/>
                  <a:pt x="78" y="579"/>
                </a:cubicBezTo>
                <a:cubicBezTo>
                  <a:pt x="96" y="594"/>
                  <a:pt x="96" y="594"/>
                  <a:pt x="96" y="594"/>
                </a:cubicBezTo>
                <a:cubicBezTo>
                  <a:pt x="97" y="597"/>
                  <a:pt x="101" y="597"/>
                  <a:pt x="104" y="595"/>
                </a:cubicBezTo>
                <a:cubicBezTo>
                  <a:pt x="132" y="574"/>
                  <a:pt x="132" y="574"/>
                  <a:pt x="132" y="574"/>
                </a:cubicBezTo>
                <a:cubicBezTo>
                  <a:pt x="135" y="575"/>
                  <a:pt x="137" y="576"/>
                  <a:pt x="141" y="577"/>
                </a:cubicBezTo>
                <a:cubicBezTo>
                  <a:pt x="149" y="617"/>
                  <a:pt x="149" y="617"/>
                  <a:pt x="149" y="617"/>
                </a:cubicBezTo>
                <a:cubicBezTo>
                  <a:pt x="149" y="620"/>
                  <a:pt x="152" y="623"/>
                  <a:pt x="154" y="623"/>
                </a:cubicBezTo>
                <a:cubicBezTo>
                  <a:pt x="179" y="623"/>
                  <a:pt x="179" y="623"/>
                  <a:pt x="179" y="623"/>
                </a:cubicBezTo>
                <a:cubicBezTo>
                  <a:pt x="181" y="623"/>
                  <a:pt x="184" y="621"/>
                  <a:pt x="185" y="618"/>
                </a:cubicBezTo>
                <a:cubicBezTo>
                  <a:pt x="194" y="578"/>
                  <a:pt x="194" y="578"/>
                  <a:pt x="194" y="578"/>
                </a:cubicBezTo>
                <a:cubicBezTo>
                  <a:pt x="197" y="577"/>
                  <a:pt x="200" y="577"/>
                  <a:pt x="203" y="575"/>
                </a:cubicBezTo>
                <a:cubicBezTo>
                  <a:pt x="231" y="598"/>
                  <a:pt x="231" y="598"/>
                  <a:pt x="231" y="598"/>
                </a:cubicBezTo>
                <a:cubicBezTo>
                  <a:pt x="233" y="599"/>
                  <a:pt x="237" y="600"/>
                  <a:pt x="238" y="598"/>
                </a:cubicBezTo>
                <a:cubicBezTo>
                  <a:pt x="257" y="583"/>
                  <a:pt x="257" y="583"/>
                  <a:pt x="257" y="583"/>
                </a:cubicBezTo>
                <a:cubicBezTo>
                  <a:pt x="259" y="581"/>
                  <a:pt x="259" y="578"/>
                  <a:pt x="258" y="575"/>
                </a:cubicBezTo>
                <a:cubicBezTo>
                  <a:pt x="243" y="543"/>
                  <a:pt x="243" y="543"/>
                  <a:pt x="243" y="543"/>
                </a:cubicBezTo>
                <a:close/>
                <a:moveTo>
                  <a:pt x="367" y="631"/>
                </a:moveTo>
                <a:cubicBezTo>
                  <a:pt x="367" y="631"/>
                  <a:pt x="367" y="631"/>
                  <a:pt x="347" y="648"/>
                </a:cubicBezTo>
                <a:cubicBezTo>
                  <a:pt x="348" y="652"/>
                  <a:pt x="349" y="656"/>
                  <a:pt x="349" y="660"/>
                </a:cubicBezTo>
                <a:cubicBezTo>
                  <a:pt x="349" y="664"/>
                  <a:pt x="348" y="668"/>
                  <a:pt x="347" y="672"/>
                </a:cubicBezTo>
                <a:cubicBezTo>
                  <a:pt x="347" y="672"/>
                  <a:pt x="347" y="672"/>
                  <a:pt x="366" y="690"/>
                </a:cubicBezTo>
                <a:cubicBezTo>
                  <a:pt x="367" y="691"/>
                  <a:pt x="368" y="693"/>
                  <a:pt x="368" y="695"/>
                </a:cubicBezTo>
                <a:cubicBezTo>
                  <a:pt x="368" y="697"/>
                  <a:pt x="368" y="699"/>
                  <a:pt x="367" y="700"/>
                </a:cubicBezTo>
                <a:cubicBezTo>
                  <a:pt x="367" y="700"/>
                  <a:pt x="367" y="700"/>
                  <a:pt x="359" y="714"/>
                </a:cubicBezTo>
                <a:cubicBezTo>
                  <a:pt x="358" y="716"/>
                  <a:pt x="354" y="717"/>
                  <a:pt x="352" y="717"/>
                </a:cubicBezTo>
                <a:cubicBezTo>
                  <a:pt x="351" y="717"/>
                  <a:pt x="351" y="717"/>
                  <a:pt x="349" y="717"/>
                </a:cubicBezTo>
                <a:cubicBezTo>
                  <a:pt x="349" y="717"/>
                  <a:pt x="349" y="717"/>
                  <a:pt x="325" y="708"/>
                </a:cubicBezTo>
                <a:cubicBezTo>
                  <a:pt x="319" y="714"/>
                  <a:pt x="312" y="719"/>
                  <a:pt x="304" y="721"/>
                </a:cubicBezTo>
                <a:cubicBezTo>
                  <a:pt x="304" y="721"/>
                  <a:pt x="304" y="721"/>
                  <a:pt x="298" y="745"/>
                </a:cubicBezTo>
                <a:cubicBezTo>
                  <a:pt x="297" y="748"/>
                  <a:pt x="294" y="752"/>
                  <a:pt x="290" y="752"/>
                </a:cubicBezTo>
                <a:cubicBezTo>
                  <a:pt x="290" y="752"/>
                  <a:pt x="290" y="752"/>
                  <a:pt x="273" y="751"/>
                </a:cubicBezTo>
                <a:cubicBezTo>
                  <a:pt x="270" y="751"/>
                  <a:pt x="267" y="748"/>
                  <a:pt x="265" y="744"/>
                </a:cubicBezTo>
                <a:cubicBezTo>
                  <a:pt x="265" y="744"/>
                  <a:pt x="265" y="744"/>
                  <a:pt x="261" y="720"/>
                </a:cubicBezTo>
                <a:cubicBezTo>
                  <a:pt x="253" y="717"/>
                  <a:pt x="246" y="713"/>
                  <a:pt x="240" y="708"/>
                </a:cubicBezTo>
                <a:cubicBezTo>
                  <a:pt x="240" y="708"/>
                  <a:pt x="240" y="708"/>
                  <a:pt x="216" y="714"/>
                </a:cubicBezTo>
                <a:cubicBezTo>
                  <a:pt x="215" y="714"/>
                  <a:pt x="214" y="714"/>
                  <a:pt x="214" y="714"/>
                </a:cubicBezTo>
                <a:cubicBezTo>
                  <a:pt x="210" y="714"/>
                  <a:pt x="208" y="713"/>
                  <a:pt x="206" y="711"/>
                </a:cubicBezTo>
                <a:cubicBezTo>
                  <a:pt x="206" y="711"/>
                  <a:pt x="206" y="711"/>
                  <a:pt x="198" y="697"/>
                </a:cubicBezTo>
                <a:cubicBezTo>
                  <a:pt x="198" y="695"/>
                  <a:pt x="198" y="693"/>
                  <a:pt x="198" y="692"/>
                </a:cubicBezTo>
                <a:cubicBezTo>
                  <a:pt x="198" y="690"/>
                  <a:pt x="198" y="687"/>
                  <a:pt x="201" y="686"/>
                </a:cubicBezTo>
                <a:cubicBezTo>
                  <a:pt x="201" y="686"/>
                  <a:pt x="201" y="686"/>
                  <a:pt x="219" y="669"/>
                </a:cubicBezTo>
                <a:cubicBezTo>
                  <a:pt x="218" y="666"/>
                  <a:pt x="217" y="661"/>
                  <a:pt x="217" y="658"/>
                </a:cubicBezTo>
                <a:cubicBezTo>
                  <a:pt x="217" y="653"/>
                  <a:pt x="219" y="648"/>
                  <a:pt x="220" y="645"/>
                </a:cubicBezTo>
                <a:cubicBezTo>
                  <a:pt x="202" y="627"/>
                  <a:pt x="202" y="627"/>
                  <a:pt x="202" y="627"/>
                </a:cubicBezTo>
                <a:cubicBezTo>
                  <a:pt x="199" y="626"/>
                  <a:pt x="198" y="624"/>
                  <a:pt x="200" y="621"/>
                </a:cubicBezTo>
                <a:cubicBezTo>
                  <a:pt x="198" y="620"/>
                  <a:pt x="200" y="619"/>
                  <a:pt x="200" y="618"/>
                </a:cubicBezTo>
                <a:cubicBezTo>
                  <a:pt x="200" y="618"/>
                  <a:pt x="200" y="618"/>
                  <a:pt x="208" y="604"/>
                </a:cubicBezTo>
                <a:cubicBezTo>
                  <a:pt x="210" y="601"/>
                  <a:pt x="213" y="600"/>
                  <a:pt x="216" y="600"/>
                </a:cubicBezTo>
                <a:cubicBezTo>
                  <a:pt x="216" y="600"/>
                  <a:pt x="217" y="600"/>
                  <a:pt x="219" y="600"/>
                </a:cubicBezTo>
                <a:cubicBezTo>
                  <a:pt x="219" y="600"/>
                  <a:pt x="219" y="600"/>
                  <a:pt x="242" y="608"/>
                </a:cubicBezTo>
                <a:cubicBezTo>
                  <a:pt x="249" y="603"/>
                  <a:pt x="256" y="599"/>
                  <a:pt x="264" y="596"/>
                </a:cubicBezTo>
                <a:cubicBezTo>
                  <a:pt x="264" y="596"/>
                  <a:pt x="264" y="596"/>
                  <a:pt x="269" y="572"/>
                </a:cubicBezTo>
                <a:cubicBezTo>
                  <a:pt x="270" y="568"/>
                  <a:pt x="274" y="566"/>
                  <a:pt x="277" y="566"/>
                </a:cubicBezTo>
                <a:cubicBezTo>
                  <a:pt x="277" y="566"/>
                  <a:pt x="277" y="566"/>
                  <a:pt x="293" y="567"/>
                </a:cubicBezTo>
                <a:cubicBezTo>
                  <a:pt x="298" y="567"/>
                  <a:pt x="300" y="569"/>
                  <a:pt x="301" y="573"/>
                </a:cubicBezTo>
                <a:cubicBezTo>
                  <a:pt x="301" y="573"/>
                  <a:pt x="301" y="573"/>
                  <a:pt x="307" y="598"/>
                </a:cubicBezTo>
                <a:cubicBezTo>
                  <a:pt x="315" y="601"/>
                  <a:pt x="321" y="605"/>
                  <a:pt x="327" y="610"/>
                </a:cubicBezTo>
                <a:cubicBezTo>
                  <a:pt x="327" y="610"/>
                  <a:pt x="327" y="610"/>
                  <a:pt x="334" y="608"/>
                </a:cubicBezTo>
                <a:cubicBezTo>
                  <a:pt x="337" y="615"/>
                  <a:pt x="337" y="615"/>
                  <a:pt x="337" y="615"/>
                </a:cubicBezTo>
                <a:cubicBezTo>
                  <a:pt x="349" y="615"/>
                  <a:pt x="349" y="615"/>
                  <a:pt x="349" y="615"/>
                </a:cubicBezTo>
                <a:cubicBezTo>
                  <a:pt x="366" y="616"/>
                  <a:pt x="366" y="616"/>
                  <a:pt x="366" y="616"/>
                </a:cubicBezTo>
                <a:cubicBezTo>
                  <a:pt x="366" y="617"/>
                  <a:pt x="367" y="619"/>
                  <a:pt x="369" y="621"/>
                </a:cubicBezTo>
                <a:cubicBezTo>
                  <a:pt x="370" y="623"/>
                  <a:pt x="370" y="624"/>
                  <a:pt x="370" y="625"/>
                </a:cubicBezTo>
                <a:cubicBezTo>
                  <a:pt x="370" y="627"/>
                  <a:pt x="368" y="629"/>
                  <a:pt x="367" y="631"/>
                </a:cubicBezTo>
                <a:close/>
                <a:moveTo>
                  <a:pt x="309" y="659"/>
                </a:moveTo>
                <a:cubicBezTo>
                  <a:pt x="309" y="646"/>
                  <a:pt x="298" y="634"/>
                  <a:pt x="284" y="634"/>
                </a:cubicBezTo>
                <a:cubicBezTo>
                  <a:pt x="270" y="633"/>
                  <a:pt x="258" y="645"/>
                  <a:pt x="258" y="658"/>
                </a:cubicBezTo>
                <a:cubicBezTo>
                  <a:pt x="258" y="672"/>
                  <a:pt x="269" y="684"/>
                  <a:pt x="283" y="684"/>
                </a:cubicBezTo>
                <a:cubicBezTo>
                  <a:pt x="297" y="685"/>
                  <a:pt x="309" y="673"/>
                  <a:pt x="309" y="659"/>
                </a:cubicBezTo>
                <a:close/>
                <a:moveTo>
                  <a:pt x="462" y="542"/>
                </a:moveTo>
                <a:cubicBezTo>
                  <a:pt x="462" y="559"/>
                  <a:pt x="476" y="573"/>
                  <a:pt x="493" y="573"/>
                </a:cubicBezTo>
                <a:cubicBezTo>
                  <a:pt x="510" y="574"/>
                  <a:pt x="525" y="560"/>
                  <a:pt x="525" y="543"/>
                </a:cubicBezTo>
                <a:cubicBezTo>
                  <a:pt x="525" y="526"/>
                  <a:pt x="513" y="512"/>
                  <a:pt x="496" y="511"/>
                </a:cubicBezTo>
                <a:cubicBezTo>
                  <a:pt x="484" y="518"/>
                  <a:pt x="473" y="525"/>
                  <a:pt x="464" y="534"/>
                </a:cubicBezTo>
                <a:cubicBezTo>
                  <a:pt x="463" y="536"/>
                  <a:pt x="462" y="539"/>
                  <a:pt x="462" y="542"/>
                </a:cubicBezTo>
                <a:close/>
                <a:moveTo>
                  <a:pt x="658" y="551"/>
                </a:moveTo>
                <a:cubicBezTo>
                  <a:pt x="613" y="531"/>
                  <a:pt x="613" y="531"/>
                  <a:pt x="613" y="531"/>
                </a:cubicBezTo>
                <a:cubicBezTo>
                  <a:pt x="612" y="527"/>
                  <a:pt x="613" y="522"/>
                  <a:pt x="611" y="517"/>
                </a:cubicBezTo>
                <a:cubicBezTo>
                  <a:pt x="623" y="508"/>
                  <a:pt x="631" y="501"/>
                  <a:pt x="636" y="496"/>
                </a:cubicBezTo>
                <a:cubicBezTo>
                  <a:pt x="622" y="492"/>
                  <a:pt x="605" y="490"/>
                  <a:pt x="585" y="490"/>
                </a:cubicBezTo>
                <a:cubicBezTo>
                  <a:pt x="574" y="490"/>
                  <a:pt x="562" y="490"/>
                  <a:pt x="551" y="492"/>
                </a:cubicBezTo>
                <a:cubicBezTo>
                  <a:pt x="547" y="492"/>
                  <a:pt x="543" y="493"/>
                  <a:pt x="540" y="494"/>
                </a:cubicBezTo>
                <a:cubicBezTo>
                  <a:pt x="540" y="495"/>
                  <a:pt x="541" y="496"/>
                  <a:pt x="542" y="496"/>
                </a:cubicBezTo>
                <a:cubicBezTo>
                  <a:pt x="554" y="509"/>
                  <a:pt x="561" y="526"/>
                  <a:pt x="561" y="544"/>
                </a:cubicBezTo>
                <a:cubicBezTo>
                  <a:pt x="561" y="563"/>
                  <a:pt x="552" y="580"/>
                  <a:pt x="540" y="591"/>
                </a:cubicBezTo>
                <a:cubicBezTo>
                  <a:pt x="527" y="604"/>
                  <a:pt x="511" y="610"/>
                  <a:pt x="492" y="610"/>
                </a:cubicBezTo>
                <a:cubicBezTo>
                  <a:pt x="474" y="609"/>
                  <a:pt x="458" y="602"/>
                  <a:pt x="445" y="589"/>
                </a:cubicBezTo>
                <a:cubicBezTo>
                  <a:pt x="439" y="583"/>
                  <a:pt x="434" y="575"/>
                  <a:pt x="431" y="567"/>
                </a:cubicBezTo>
                <a:cubicBezTo>
                  <a:pt x="413" y="588"/>
                  <a:pt x="404" y="605"/>
                  <a:pt x="403" y="606"/>
                </a:cubicBezTo>
                <a:cubicBezTo>
                  <a:pt x="397" y="617"/>
                  <a:pt x="397" y="617"/>
                  <a:pt x="397" y="617"/>
                </a:cubicBezTo>
                <a:cubicBezTo>
                  <a:pt x="386" y="616"/>
                  <a:pt x="386" y="616"/>
                  <a:pt x="386" y="616"/>
                </a:cubicBezTo>
                <a:cubicBezTo>
                  <a:pt x="369" y="649"/>
                  <a:pt x="369" y="649"/>
                  <a:pt x="369" y="649"/>
                </a:cubicBezTo>
                <a:cubicBezTo>
                  <a:pt x="366" y="652"/>
                  <a:pt x="367" y="657"/>
                  <a:pt x="371" y="659"/>
                </a:cubicBezTo>
                <a:cubicBezTo>
                  <a:pt x="395" y="680"/>
                  <a:pt x="395" y="680"/>
                  <a:pt x="395" y="680"/>
                </a:cubicBezTo>
                <a:cubicBezTo>
                  <a:pt x="397" y="683"/>
                  <a:pt x="402" y="683"/>
                  <a:pt x="405" y="681"/>
                </a:cubicBezTo>
                <a:cubicBezTo>
                  <a:pt x="444" y="652"/>
                  <a:pt x="444" y="652"/>
                  <a:pt x="444" y="652"/>
                </a:cubicBezTo>
                <a:cubicBezTo>
                  <a:pt x="447" y="654"/>
                  <a:pt x="451" y="655"/>
                  <a:pt x="456" y="656"/>
                </a:cubicBezTo>
                <a:cubicBezTo>
                  <a:pt x="466" y="711"/>
                  <a:pt x="466" y="711"/>
                  <a:pt x="466" y="711"/>
                </a:cubicBezTo>
                <a:cubicBezTo>
                  <a:pt x="467" y="714"/>
                  <a:pt x="471" y="718"/>
                  <a:pt x="474" y="718"/>
                </a:cubicBezTo>
                <a:cubicBezTo>
                  <a:pt x="507" y="719"/>
                  <a:pt x="507" y="719"/>
                  <a:pt x="507" y="719"/>
                </a:cubicBezTo>
                <a:cubicBezTo>
                  <a:pt x="510" y="719"/>
                  <a:pt x="514" y="715"/>
                  <a:pt x="515" y="712"/>
                </a:cubicBezTo>
                <a:cubicBezTo>
                  <a:pt x="527" y="658"/>
                  <a:pt x="527" y="658"/>
                  <a:pt x="527" y="658"/>
                </a:cubicBezTo>
                <a:cubicBezTo>
                  <a:pt x="532" y="657"/>
                  <a:pt x="536" y="656"/>
                  <a:pt x="539" y="653"/>
                </a:cubicBezTo>
                <a:cubicBezTo>
                  <a:pt x="577" y="684"/>
                  <a:pt x="577" y="684"/>
                  <a:pt x="577" y="684"/>
                </a:cubicBezTo>
                <a:cubicBezTo>
                  <a:pt x="580" y="687"/>
                  <a:pt x="585" y="687"/>
                  <a:pt x="587" y="684"/>
                </a:cubicBezTo>
                <a:cubicBezTo>
                  <a:pt x="612" y="664"/>
                  <a:pt x="612" y="664"/>
                  <a:pt x="612" y="664"/>
                </a:cubicBezTo>
                <a:cubicBezTo>
                  <a:pt x="616" y="662"/>
                  <a:pt x="616" y="657"/>
                  <a:pt x="615" y="654"/>
                </a:cubicBezTo>
                <a:cubicBezTo>
                  <a:pt x="593" y="611"/>
                  <a:pt x="593" y="611"/>
                  <a:pt x="593" y="611"/>
                </a:cubicBezTo>
                <a:cubicBezTo>
                  <a:pt x="596" y="607"/>
                  <a:pt x="598" y="603"/>
                  <a:pt x="601" y="599"/>
                </a:cubicBezTo>
                <a:cubicBezTo>
                  <a:pt x="648" y="598"/>
                  <a:pt x="648" y="598"/>
                  <a:pt x="648" y="598"/>
                </a:cubicBezTo>
                <a:cubicBezTo>
                  <a:pt x="653" y="598"/>
                  <a:pt x="655" y="594"/>
                  <a:pt x="656" y="591"/>
                </a:cubicBezTo>
                <a:cubicBezTo>
                  <a:pt x="663" y="560"/>
                  <a:pt x="663" y="560"/>
                  <a:pt x="663" y="560"/>
                </a:cubicBezTo>
                <a:cubicBezTo>
                  <a:pt x="663" y="556"/>
                  <a:pt x="662" y="552"/>
                  <a:pt x="658" y="551"/>
                </a:cubicBezTo>
                <a:close/>
                <a:moveTo>
                  <a:pt x="548" y="472"/>
                </a:moveTo>
                <a:cubicBezTo>
                  <a:pt x="651" y="458"/>
                  <a:pt x="699" y="507"/>
                  <a:pt x="701" y="509"/>
                </a:cubicBezTo>
                <a:cubicBezTo>
                  <a:pt x="731" y="481"/>
                  <a:pt x="731" y="481"/>
                  <a:pt x="731" y="481"/>
                </a:cubicBezTo>
                <a:cubicBezTo>
                  <a:pt x="728" y="479"/>
                  <a:pt x="667" y="415"/>
                  <a:pt x="543" y="433"/>
                </a:cubicBezTo>
                <a:cubicBezTo>
                  <a:pt x="456" y="445"/>
                  <a:pt x="397" y="510"/>
                  <a:pt x="369" y="549"/>
                </a:cubicBezTo>
                <a:cubicBezTo>
                  <a:pt x="342" y="509"/>
                  <a:pt x="283" y="443"/>
                  <a:pt x="182" y="431"/>
                </a:cubicBezTo>
                <a:cubicBezTo>
                  <a:pt x="83" y="419"/>
                  <a:pt x="3" y="481"/>
                  <a:pt x="0" y="483"/>
                </a:cubicBezTo>
                <a:cubicBezTo>
                  <a:pt x="24" y="515"/>
                  <a:pt x="24" y="515"/>
                  <a:pt x="24" y="515"/>
                </a:cubicBezTo>
                <a:cubicBezTo>
                  <a:pt x="25" y="514"/>
                  <a:pt x="95" y="461"/>
                  <a:pt x="178" y="471"/>
                </a:cubicBezTo>
                <a:cubicBezTo>
                  <a:pt x="298" y="485"/>
                  <a:pt x="348" y="591"/>
                  <a:pt x="350" y="595"/>
                </a:cubicBezTo>
                <a:cubicBezTo>
                  <a:pt x="386" y="596"/>
                  <a:pt x="386" y="596"/>
                  <a:pt x="386" y="596"/>
                </a:cubicBezTo>
                <a:cubicBezTo>
                  <a:pt x="386" y="595"/>
                  <a:pt x="446" y="486"/>
                  <a:pt x="548" y="47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lIns="93243" tIns="46620" rIns="93243" bIns="46620"/>
          <a:lstStyle/>
          <a:p>
            <a:endParaRPr lang="en-US" sz="11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</a:endParaRPr>
          </a:p>
        </p:txBody>
      </p:sp>
      <p:pic>
        <p:nvPicPr>
          <p:cNvPr id="119" name="Picture 169"/>
          <p:cNvPicPr>
            <a:picLocks noChangeAspect="1"/>
          </p:cNvPicPr>
          <p:nvPr/>
        </p:nvPicPr>
        <p:blipFill>
          <a:blip r:embed="rId2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00392" y="4011910"/>
            <a:ext cx="694665" cy="720080"/>
          </a:xfrm>
          <a:prstGeom prst="rect">
            <a:avLst/>
          </a:prstGeom>
        </p:spPr>
      </p:pic>
      <p:sp>
        <p:nvSpPr>
          <p:cNvPr id="121" name="Freeform 159"/>
          <p:cNvSpPr>
            <a:spLocks noEditPoints="1"/>
          </p:cNvSpPr>
          <p:nvPr/>
        </p:nvSpPr>
        <p:spPr bwMode="black">
          <a:xfrm>
            <a:off x="494086" y="3905385"/>
            <a:ext cx="549522" cy="826605"/>
          </a:xfrm>
          <a:custGeom>
            <a:avLst/>
            <a:gdLst>
              <a:gd name="T0" fmla="*/ 101 w 283"/>
              <a:gd name="T1" fmla="*/ 50 h 426"/>
              <a:gd name="T2" fmla="*/ 202 w 283"/>
              <a:gd name="T3" fmla="*/ 50 h 426"/>
              <a:gd name="T4" fmla="*/ 271 w 283"/>
              <a:gd name="T5" fmla="*/ 254 h 426"/>
              <a:gd name="T6" fmla="*/ 274 w 283"/>
              <a:gd name="T7" fmla="*/ 266 h 426"/>
              <a:gd name="T8" fmla="*/ 204 w 283"/>
              <a:gd name="T9" fmla="*/ 298 h 426"/>
              <a:gd name="T10" fmla="*/ 210 w 283"/>
              <a:gd name="T11" fmla="*/ 426 h 426"/>
              <a:gd name="T12" fmla="*/ 179 w 283"/>
              <a:gd name="T13" fmla="*/ 407 h 426"/>
              <a:gd name="T14" fmla="*/ 141 w 283"/>
              <a:gd name="T15" fmla="*/ 315 h 426"/>
              <a:gd name="T16" fmla="*/ 94 w 283"/>
              <a:gd name="T17" fmla="*/ 426 h 426"/>
              <a:gd name="T18" fmla="*/ 70 w 283"/>
              <a:gd name="T19" fmla="*/ 395 h 426"/>
              <a:gd name="T20" fmla="*/ 54 w 283"/>
              <a:gd name="T21" fmla="*/ 338 h 426"/>
              <a:gd name="T22" fmla="*/ 34 w 283"/>
              <a:gd name="T23" fmla="*/ 326 h 426"/>
              <a:gd name="T24" fmla="*/ 0 w 283"/>
              <a:gd name="T25" fmla="*/ 198 h 426"/>
              <a:gd name="T26" fmla="*/ 49 w 283"/>
              <a:gd name="T27" fmla="*/ 172 h 426"/>
              <a:gd name="T28" fmla="*/ 110 w 283"/>
              <a:gd name="T29" fmla="*/ 125 h 426"/>
              <a:gd name="T30" fmla="*/ 195 w 283"/>
              <a:gd name="T31" fmla="*/ 133 h 426"/>
              <a:gd name="T32" fmla="*/ 224 w 283"/>
              <a:gd name="T33" fmla="*/ 126 h 426"/>
              <a:gd name="T34" fmla="*/ 261 w 283"/>
              <a:gd name="T35" fmla="*/ 215 h 426"/>
              <a:gd name="T36" fmla="*/ 283 w 283"/>
              <a:gd name="T37" fmla="*/ 235 h 426"/>
              <a:gd name="T38" fmla="*/ 86 w 283"/>
              <a:gd name="T39" fmla="*/ 208 h 426"/>
              <a:gd name="T40" fmla="*/ 230 w 283"/>
              <a:gd name="T41" fmla="*/ 141 h 426"/>
              <a:gd name="T42" fmla="*/ 222 w 283"/>
              <a:gd name="T43" fmla="*/ 136 h 426"/>
              <a:gd name="T44" fmla="*/ 86 w 283"/>
              <a:gd name="T45" fmla="*/ 194 h 426"/>
              <a:gd name="T46" fmla="*/ 17 w 283"/>
              <a:gd name="T47" fmla="*/ 226 h 426"/>
              <a:gd name="T48" fmla="*/ 46 w 283"/>
              <a:gd name="T49" fmla="*/ 183 h 426"/>
              <a:gd name="T50" fmla="*/ 10 w 283"/>
              <a:gd name="T51" fmla="*/ 198 h 426"/>
              <a:gd name="T52" fmla="*/ 17 w 283"/>
              <a:gd name="T53" fmla="*/ 226 h 426"/>
              <a:gd name="T54" fmla="*/ 263 w 283"/>
              <a:gd name="T55" fmla="*/ 264 h 426"/>
              <a:gd name="T56" fmla="*/ 86 w 283"/>
              <a:gd name="T57" fmla="*/ 244 h 426"/>
              <a:gd name="T58" fmla="*/ 86 w 283"/>
              <a:gd name="T59" fmla="*/ 246 h 426"/>
              <a:gd name="T60" fmla="*/ 48 w 283"/>
              <a:gd name="T61" fmla="*/ 255 h 426"/>
              <a:gd name="T62" fmla="*/ 43 w 283"/>
              <a:gd name="T63" fmla="*/ 323 h 426"/>
              <a:gd name="T64" fmla="*/ 52 w 283"/>
              <a:gd name="T65" fmla="*/ 328 h 426"/>
              <a:gd name="T66" fmla="*/ 264 w 283"/>
              <a:gd name="T67" fmla="*/ 266 h 426"/>
              <a:gd name="T68" fmla="*/ 245 w 283"/>
              <a:gd name="T69" fmla="*/ 259 h 426"/>
              <a:gd name="T70" fmla="*/ 222 w 283"/>
              <a:gd name="T71" fmla="*/ 246 h 426"/>
              <a:gd name="T72" fmla="*/ 215 w 283"/>
              <a:gd name="T73" fmla="*/ 248 h 426"/>
              <a:gd name="T74" fmla="*/ 202 w 283"/>
              <a:gd name="T75" fmla="*/ 270 h 426"/>
              <a:gd name="T76" fmla="*/ 215 w 283"/>
              <a:gd name="T77" fmla="*/ 248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3" h="426">
                <a:moveTo>
                  <a:pt x="151" y="100"/>
                </a:moveTo>
                <a:cubicBezTo>
                  <a:pt x="124" y="100"/>
                  <a:pt x="101" y="77"/>
                  <a:pt x="101" y="50"/>
                </a:cubicBezTo>
                <a:cubicBezTo>
                  <a:pt x="101" y="22"/>
                  <a:pt x="124" y="0"/>
                  <a:pt x="151" y="0"/>
                </a:cubicBezTo>
                <a:cubicBezTo>
                  <a:pt x="179" y="0"/>
                  <a:pt x="202" y="22"/>
                  <a:pt x="202" y="50"/>
                </a:cubicBezTo>
                <a:cubicBezTo>
                  <a:pt x="202" y="77"/>
                  <a:pt x="179" y="100"/>
                  <a:pt x="151" y="100"/>
                </a:cubicBezTo>
                <a:close/>
                <a:moveTo>
                  <a:pt x="271" y="254"/>
                </a:moveTo>
                <a:cubicBezTo>
                  <a:pt x="273" y="262"/>
                  <a:pt x="273" y="262"/>
                  <a:pt x="273" y="262"/>
                </a:cubicBezTo>
                <a:cubicBezTo>
                  <a:pt x="273" y="263"/>
                  <a:pt x="274" y="265"/>
                  <a:pt x="274" y="266"/>
                </a:cubicBezTo>
                <a:cubicBezTo>
                  <a:pt x="274" y="274"/>
                  <a:pt x="269" y="280"/>
                  <a:pt x="261" y="282"/>
                </a:cubicBezTo>
                <a:cubicBezTo>
                  <a:pt x="204" y="298"/>
                  <a:pt x="204" y="298"/>
                  <a:pt x="204" y="298"/>
                </a:cubicBezTo>
                <a:cubicBezTo>
                  <a:pt x="228" y="395"/>
                  <a:pt x="228" y="395"/>
                  <a:pt x="228" y="395"/>
                </a:cubicBezTo>
                <a:cubicBezTo>
                  <a:pt x="231" y="409"/>
                  <a:pt x="223" y="422"/>
                  <a:pt x="210" y="426"/>
                </a:cubicBezTo>
                <a:cubicBezTo>
                  <a:pt x="208" y="426"/>
                  <a:pt x="206" y="426"/>
                  <a:pt x="204" y="426"/>
                </a:cubicBezTo>
                <a:cubicBezTo>
                  <a:pt x="192" y="426"/>
                  <a:pt x="182" y="419"/>
                  <a:pt x="179" y="407"/>
                </a:cubicBezTo>
                <a:cubicBezTo>
                  <a:pt x="155" y="311"/>
                  <a:pt x="155" y="311"/>
                  <a:pt x="155" y="311"/>
                </a:cubicBezTo>
                <a:cubicBezTo>
                  <a:pt x="141" y="315"/>
                  <a:pt x="141" y="315"/>
                  <a:pt x="141" y="315"/>
                </a:cubicBezTo>
                <a:cubicBezTo>
                  <a:pt x="118" y="407"/>
                  <a:pt x="118" y="407"/>
                  <a:pt x="118" y="407"/>
                </a:cubicBezTo>
                <a:cubicBezTo>
                  <a:pt x="116" y="419"/>
                  <a:pt x="105" y="426"/>
                  <a:pt x="94" y="426"/>
                </a:cubicBezTo>
                <a:cubicBezTo>
                  <a:pt x="92" y="426"/>
                  <a:pt x="90" y="426"/>
                  <a:pt x="88" y="426"/>
                </a:cubicBezTo>
                <a:cubicBezTo>
                  <a:pt x="75" y="422"/>
                  <a:pt x="67" y="409"/>
                  <a:pt x="70" y="395"/>
                </a:cubicBezTo>
                <a:cubicBezTo>
                  <a:pt x="86" y="329"/>
                  <a:pt x="86" y="329"/>
                  <a:pt x="86" y="329"/>
                </a:cubicBezTo>
                <a:cubicBezTo>
                  <a:pt x="54" y="338"/>
                  <a:pt x="54" y="338"/>
                  <a:pt x="54" y="338"/>
                </a:cubicBezTo>
                <a:cubicBezTo>
                  <a:pt x="53" y="338"/>
                  <a:pt x="51" y="338"/>
                  <a:pt x="50" y="338"/>
                </a:cubicBezTo>
                <a:cubicBezTo>
                  <a:pt x="42" y="338"/>
                  <a:pt x="36" y="334"/>
                  <a:pt x="34" y="326"/>
                </a:cubicBezTo>
                <a:cubicBezTo>
                  <a:pt x="0" y="202"/>
                  <a:pt x="0" y="202"/>
                  <a:pt x="0" y="202"/>
                </a:cubicBezTo>
                <a:cubicBezTo>
                  <a:pt x="0" y="201"/>
                  <a:pt x="0" y="200"/>
                  <a:pt x="0" y="198"/>
                </a:cubicBezTo>
                <a:cubicBezTo>
                  <a:pt x="0" y="191"/>
                  <a:pt x="5" y="184"/>
                  <a:pt x="12" y="182"/>
                </a:cubicBezTo>
                <a:cubicBezTo>
                  <a:pt x="49" y="172"/>
                  <a:pt x="49" y="172"/>
                  <a:pt x="49" y="172"/>
                </a:cubicBezTo>
                <a:cubicBezTo>
                  <a:pt x="106" y="127"/>
                  <a:pt x="106" y="127"/>
                  <a:pt x="106" y="127"/>
                </a:cubicBezTo>
                <a:cubicBezTo>
                  <a:pt x="107" y="126"/>
                  <a:pt x="109" y="125"/>
                  <a:pt x="110" y="125"/>
                </a:cubicBezTo>
                <a:cubicBezTo>
                  <a:pt x="117" y="119"/>
                  <a:pt x="130" y="116"/>
                  <a:pt x="149" y="116"/>
                </a:cubicBezTo>
                <a:cubicBezTo>
                  <a:pt x="175" y="116"/>
                  <a:pt x="189" y="123"/>
                  <a:pt x="195" y="133"/>
                </a:cubicBezTo>
                <a:cubicBezTo>
                  <a:pt x="219" y="126"/>
                  <a:pt x="219" y="126"/>
                  <a:pt x="219" y="126"/>
                </a:cubicBezTo>
                <a:cubicBezTo>
                  <a:pt x="221" y="126"/>
                  <a:pt x="222" y="126"/>
                  <a:pt x="224" y="126"/>
                </a:cubicBezTo>
                <a:cubicBezTo>
                  <a:pt x="231" y="126"/>
                  <a:pt x="238" y="131"/>
                  <a:pt x="240" y="138"/>
                </a:cubicBezTo>
                <a:cubicBezTo>
                  <a:pt x="261" y="215"/>
                  <a:pt x="261" y="215"/>
                  <a:pt x="261" y="215"/>
                </a:cubicBezTo>
                <a:cubicBezTo>
                  <a:pt x="263" y="215"/>
                  <a:pt x="263" y="215"/>
                  <a:pt x="263" y="215"/>
                </a:cubicBezTo>
                <a:cubicBezTo>
                  <a:pt x="275" y="215"/>
                  <a:pt x="283" y="224"/>
                  <a:pt x="283" y="235"/>
                </a:cubicBezTo>
                <a:cubicBezTo>
                  <a:pt x="283" y="244"/>
                  <a:pt x="278" y="251"/>
                  <a:pt x="271" y="254"/>
                </a:cubicBezTo>
                <a:close/>
                <a:moveTo>
                  <a:pt x="86" y="208"/>
                </a:moveTo>
                <a:cubicBezTo>
                  <a:pt x="237" y="167"/>
                  <a:pt x="237" y="167"/>
                  <a:pt x="237" y="167"/>
                </a:cubicBezTo>
                <a:cubicBezTo>
                  <a:pt x="230" y="141"/>
                  <a:pt x="230" y="141"/>
                  <a:pt x="230" y="141"/>
                </a:cubicBezTo>
                <a:cubicBezTo>
                  <a:pt x="230" y="138"/>
                  <a:pt x="227" y="136"/>
                  <a:pt x="224" y="136"/>
                </a:cubicBezTo>
                <a:cubicBezTo>
                  <a:pt x="223" y="136"/>
                  <a:pt x="223" y="136"/>
                  <a:pt x="222" y="136"/>
                </a:cubicBezTo>
                <a:cubicBezTo>
                  <a:pt x="127" y="161"/>
                  <a:pt x="127" y="161"/>
                  <a:pt x="127" y="161"/>
                </a:cubicBezTo>
                <a:cubicBezTo>
                  <a:pt x="86" y="194"/>
                  <a:pt x="86" y="194"/>
                  <a:pt x="86" y="194"/>
                </a:cubicBezTo>
                <a:lnTo>
                  <a:pt x="86" y="208"/>
                </a:lnTo>
                <a:close/>
                <a:moveTo>
                  <a:pt x="17" y="226"/>
                </a:moveTo>
                <a:cubicBezTo>
                  <a:pt x="46" y="219"/>
                  <a:pt x="46" y="219"/>
                  <a:pt x="46" y="219"/>
                </a:cubicBezTo>
                <a:cubicBezTo>
                  <a:pt x="46" y="183"/>
                  <a:pt x="46" y="183"/>
                  <a:pt x="46" y="183"/>
                </a:cubicBezTo>
                <a:cubicBezTo>
                  <a:pt x="15" y="191"/>
                  <a:pt x="15" y="191"/>
                  <a:pt x="15" y="191"/>
                </a:cubicBezTo>
                <a:cubicBezTo>
                  <a:pt x="12" y="192"/>
                  <a:pt x="10" y="195"/>
                  <a:pt x="10" y="198"/>
                </a:cubicBezTo>
                <a:cubicBezTo>
                  <a:pt x="10" y="199"/>
                  <a:pt x="10" y="199"/>
                  <a:pt x="10" y="200"/>
                </a:cubicBezTo>
                <a:lnTo>
                  <a:pt x="17" y="226"/>
                </a:lnTo>
                <a:close/>
                <a:moveTo>
                  <a:pt x="264" y="266"/>
                </a:moveTo>
                <a:cubicBezTo>
                  <a:pt x="264" y="266"/>
                  <a:pt x="264" y="265"/>
                  <a:pt x="263" y="264"/>
                </a:cubicBezTo>
                <a:cubicBezTo>
                  <a:pt x="247" y="201"/>
                  <a:pt x="247" y="201"/>
                  <a:pt x="247" y="201"/>
                </a:cubicBezTo>
                <a:cubicBezTo>
                  <a:pt x="86" y="244"/>
                  <a:pt x="86" y="244"/>
                  <a:pt x="86" y="244"/>
                </a:cubicBezTo>
                <a:cubicBezTo>
                  <a:pt x="86" y="246"/>
                  <a:pt x="86" y="246"/>
                  <a:pt x="86" y="246"/>
                </a:cubicBezTo>
                <a:cubicBezTo>
                  <a:pt x="86" y="246"/>
                  <a:pt x="86" y="246"/>
                  <a:pt x="86" y="246"/>
                </a:cubicBezTo>
                <a:cubicBezTo>
                  <a:pt x="86" y="257"/>
                  <a:pt x="77" y="266"/>
                  <a:pt x="66" y="266"/>
                </a:cubicBezTo>
                <a:cubicBezTo>
                  <a:pt x="58" y="266"/>
                  <a:pt x="51" y="262"/>
                  <a:pt x="48" y="255"/>
                </a:cubicBezTo>
                <a:cubicBezTo>
                  <a:pt x="26" y="260"/>
                  <a:pt x="26" y="260"/>
                  <a:pt x="26" y="260"/>
                </a:cubicBezTo>
                <a:cubicBezTo>
                  <a:pt x="43" y="323"/>
                  <a:pt x="43" y="323"/>
                  <a:pt x="43" y="323"/>
                </a:cubicBezTo>
                <a:cubicBezTo>
                  <a:pt x="44" y="326"/>
                  <a:pt x="47" y="328"/>
                  <a:pt x="50" y="328"/>
                </a:cubicBezTo>
                <a:cubicBezTo>
                  <a:pt x="50" y="328"/>
                  <a:pt x="51" y="328"/>
                  <a:pt x="52" y="328"/>
                </a:cubicBezTo>
                <a:cubicBezTo>
                  <a:pt x="259" y="273"/>
                  <a:pt x="259" y="273"/>
                  <a:pt x="259" y="273"/>
                </a:cubicBezTo>
                <a:cubicBezTo>
                  <a:pt x="262" y="272"/>
                  <a:pt x="264" y="269"/>
                  <a:pt x="264" y="266"/>
                </a:cubicBezTo>
                <a:close/>
                <a:moveTo>
                  <a:pt x="240" y="241"/>
                </a:moveTo>
                <a:cubicBezTo>
                  <a:pt x="245" y="259"/>
                  <a:pt x="245" y="259"/>
                  <a:pt x="245" y="259"/>
                </a:cubicBezTo>
                <a:cubicBezTo>
                  <a:pt x="227" y="264"/>
                  <a:pt x="227" y="264"/>
                  <a:pt x="227" y="264"/>
                </a:cubicBezTo>
                <a:cubicBezTo>
                  <a:pt x="222" y="246"/>
                  <a:pt x="222" y="246"/>
                  <a:pt x="222" y="246"/>
                </a:cubicBezTo>
                <a:lnTo>
                  <a:pt x="240" y="241"/>
                </a:lnTo>
                <a:close/>
                <a:moveTo>
                  <a:pt x="215" y="248"/>
                </a:moveTo>
                <a:cubicBezTo>
                  <a:pt x="220" y="265"/>
                  <a:pt x="220" y="265"/>
                  <a:pt x="220" y="265"/>
                </a:cubicBezTo>
                <a:cubicBezTo>
                  <a:pt x="202" y="270"/>
                  <a:pt x="202" y="270"/>
                  <a:pt x="202" y="270"/>
                </a:cubicBezTo>
                <a:cubicBezTo>
                  <a:pt x="197" y="253"/>
                  <a:pt x="197" y="253"/>
                  <a:pt x="197" y="253"/>
                </a:cubicBezTo>
                <a:lnTo>
                  <a:pt x="215" y="248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83891" tIns="41948" rIns="83891" bIns="41948" numCol="1" anchor="t" anchorCtr="0" compatLnSpc="1"/>
          <a:lstStyle/>
          <a:p>
            <a:pPr defTabSz="930275"/>
            <a:endParaRPr lang="en-US" sz="1300">
              <a:solidFill>
                <a:srgbClr val="FFFFFF"/>
              </a:solidFill>
            </a:endParaRPr>
          </a:p>
        </p:txBody>
      </p:sp>
      <p:pic>
        <p:nvPicPr>
          <p:cNvPr id="122" name="Picture 21"/>
          <p:cNvPicPr>
            <a:picLocks noChangeAspect="1"/>
          </p:cNvPicPr>
          <p:nvPr/>
        </p:nvPicPr>
        <p:blipFill>
          <a:blip r:embed="rId2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00642" y="3986655"/>
            <a:ext cx="676868" cy="698702"/>
          </a:xfrm>
          <a:prstGeom prst="rect">
            <a:avLst/>
          </a:prstGeom>
        </p:spPr>
      </p:pic>
      <p:pic>
        <p:nvPicPr>
          <p:cNvPr id="123" name="Picture 20"/>
          <p:cNvPicPr>
            <a:picLocks noChangeAspect="1"/>
          </p:cNvPicPr>
          <p:nvPr/>
        </p:nvPicPr>
        <p:blipFill>
          <a:blip r:embed="rId2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5816" y="3917232"/>
            <a:ext cx="804488" cy="886766"/>
          </a:xfrm>
          <a:prstGeom prst="rect">
            <a:avLst/>
          </a:prstGeom>
        </p:spPr>
      </p:pic>
      <p:sp>
        <p:nvSpPr>
          <p:cNvPr id="125" name="Freeform 32"/>
          <p:cNvSpPr>
            <a:spLocks noChangeAspect="1" noEditPoints="1"/>
          </p:cNvSpPr>
          <p:nvPr/>
        </p:nvSpPr>
        <p:spPr bwMode="auto">
          <a:xfrm>
            <a:off x="4267007" y="3939902"/>
            <a:ext cx="737041" cy="790369"/>
          </a:xfrm>
          <a:custGeom>
            <a:avLst/>
            <a:gdLst>
              <a:gd name="T0" fmla="*/ 88 w 228"/>
              <a:gd name="T1" fmla="*/ 150 h 245"/>
              <a:gd name="T2" fmla="*/ 24 w 228"/>
              <a:gd name="T3" fmla="*/ 150 h 245"/>
              <a:gd name="T4" fmla="*/ 66 w 228"/>
              <a:gd name="T5" fmla="*/ 69 h 245"/>
              <a:gd name="T6" fmla="*/ 80 w 228"/>
              <a:gd name="T7" fmla="*/ 109 h 245"/>
              <a:gd name="T8" fmla="*/ 88 w 228"/>
              <a:gd name="T9" fmla="*/ 115 h 245"/>
              <a:gd name="T10" fmla="*/ 151 w 228"/>
              <a:gd name="T11" fmla="*/ 115 h 245"/>
              <a:gd name="T12" fmla="*/ 160 w 228"/>
              <a:gd name="T13" fmla="*/ 106 h 245"/>
              <a:gd name="T14" fmla="*/ 151 w 228"/>
              <a:gd name="T15" fmla="*/ 98 h 245"/>
              <a:gd name="T16" fmla="*/ 94 w 228"/>
              <a:gd name="T17" fmla="*/ 98 h 245"/>
              <a:gd name="T18" fmla="*/ 77 w 228"/>
              <a:gd name="T19" fmla="*/ 50 h 245"/>
              <a:gd name="T20" fmla="*/ 76 w 228"/>
              <a:gd name="T21" fmla="*/ 49 h 245"/>
              <a:gd name="T22" fmla="*/ 75 w 228"/>
              <a:gd name="T23" fmla="*/ 47 h 245"/>
              <a:gd name="T24" fmla="*/ 59 w 228"/>
              <a:gd name="T25" fmla="*/ 45 h 245"/>
              <a:gd name="T26" fmla="*/ 0 w 228"/>
              <a:gd name="T27" fmla="*/ 161 h 245"/>
              <a:gd name="T28" fmla="*/ 4 w 228"/>
              <a:gd name="T29" fmla="*/ 169 h 245"/>
              <a:gd name="T30" fmla="*/ 12 w 228"/>
              <a:gd name="T31" fmla="*/ 173 h 245"/>
              <a:gd name="T32" fmla="*/ 77 w 228"/>
              <a:gd name="T33" fmla="*/ 173 h 245"/>
              <a:gd name="T34" fmla="*/ 77 w 228"/>
              <a:gd name="T35" fmla="*/ 234 h 245"/>
              <a:gd name="T36" fmla="*/ 88 w 228"/>
              <a:gd name="T37" fmla="*/ 245 h 245"/>
              <a:gd name="T38" fmla="*/ 99 w 228"/>
              <a:gd name="T39" fmla="*/ 234 h 245"/>
              <a:gd name="T40" fmla="*/ 99 w 228"/>
              <a:gd name="T41" fmla="*/ 161 h 245"/>
              <a:gd name="T42" fmla="*/ 88 w 228"/>
              <a:gd name="T43" fmla="*/ 150 h 245"/>
              <a:gd name="T44" fmla="*/ 99 w 228"/>
              <a:gd name="T45" fmla="*/ 0 h 245"/>
              <a:gd name="T46" fmla="*/ 124 w 228"/>
              <a:gd name="T47" fmla="*/ 25 h 245"/>
              <a:gd name="T48" fmla="*/ 99 w 228"/>
              <a:gd name="T49" fmla="*/ 50 h 245"/>
              <a:gd name="T50" fmla="*/ 75 w 228"/>
              <a:gd name="T51" fmla="*/ 25 h 245"/>
              <a:gd name="T52" fmla="*/ 99 w 228"/>
              <a:gd name="T53" fmla="*/ 0 h 245"/>
              <a:gd name="T54" fmla="*/ 169 w 228"/>
              <a:gd name="T55" fmla="*/ 126 h 245"/>
              <a:gd name="T56" fmla="*/ 137 w 228"/>
              <a:gd name="T57" fmla="*/ 126 h 245"/>
              <a:gd name="T58" fmla="*/ 131 w 228"/>
              <a:gd name="T59" fmla="*/ 131 h 245"/>
              <a:gd name="T60" fmla="*/ 137 w 228"/>
              <a:gd name="T61" fmla="*/ 137 h 245"/>
              <a:gd name="T62" fmla="*/ 169 w 228"/>
              <a:gd name="T63" fmla="*/ 137 h 245"/>
              <a:gd name="T64" fmla="*/ 175 w 228"/>
              <a:gd name="T65" fmla="*/ 131 h 245"/>
              <a:gd name="T66" fmla="*/ 169 w 228"/>
              <a:gd name="T67" fmla="*/ 126 h 245"/>
              <a:gd name="T68" fmla="*/ 205 w 228"/>
              <a:gd name="T69" fmla="*/ 91 h 245"/>
              <a:gd name="T70" fmla="*/ 203 w 228"/>
              <a:gd name="T71" fmla="*/ 88 h 245"/>
              <a:gd name="T72" fmla="*/ 228 w 228"/>
              <a:gd name="T73" fmla="*/ 29 h 245"/>
              <a:gd name="T74" fmla="*/ 213 w 228"/>
              <a:gd name="T75" fmla="*/ 22 h 245"/>
              <a:gd name="T76" fmla="*/ 175 w 228"/>
              <a:gd name="T77" fmla="*/ 109 h 245"/>
              <a:gd name="T78" fmla="*/ 191 w 228"/>
              <a:gd name="T79" fmla="*/ 115 h 245"/>
              <a:gd name="T80" fmla="*/ 197 w 228"/>
              <a:gd name="T81" fmla="*/ 101 h 245"/>
              <a:gd name="T82" fmla="*/ 209 w 228"/>
              <a:gd name="T83" fmla="*/ 126 h 245"/>
              <a:gd name="T84" fmla="*/ 192 w 228"/>
              <a:gd name="T85" fmla="*/ 126 h 245"/>
              <a:gd name="T86" fmla="*/ 186 w 228"/>
              <a:gd name="T87" fmla="*/ 131 h 245"/>
              <a:gd name="T88" fmla="*/ 192 w 228"/>
              <a:gd name="T89" fmla="*/ 137 h 245"/>
              <a:gd name="T90" fmla="*/ 218 w 228"/>
              <a:gd name="T91" fmla="*/ 137 h 245"/>
              <a:gd name="T92" fmla="*/ 223 w 228"/>
              <a:gd name="T93" fmla="*/ 135 h 245"/>
              <a:gd name="T94" fmla="*/ 223 w 228"/>
              <a:gd name="T95" fmla="*/ 129 h 245"/>
              <a:gd name="T96" fmla="*/ 205 w 228"/>
              <a:gd name="T97" fmla="*/ 91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28" h="245">
                <a:moveTo>
                  <a:pt x="88" y="150"/>
                </a:moveTo>
                <a:cubicBezTo>
                  <a:pt x="24" y="150"/>
                  <a:pt x="24" y="150"/>
                  <a:pt x="24" y="150"/>
                </a:cubicBezTo>
                <a:cubicBezTo>
                  <a:pt x="27" y="133"/>
                  <a:pt x="36" y="98"/>
                  <a:pt x="66" y="69"/>
                </a:cubicBezTo>
                <a:cubicBezTo>
                  <a:pt x="80" y="109"/>
                  <a:pt x="80" y="109"/>
                  <a:pt x="80" y="109"/>
                </a:cubicBezTo>
                <a:cubicBezTo>
                  <a:pt x="81" y="112"/>
                  <a:pt x="84" y="115"/>
                  <a:pt x="88" y="115"/>
                </a:cubicBezTo>
                <a:cubicBezTo>
                  <a:pt x="151" y="115"/>
                  <a:pt x="151" y="115"/>
                  <a:pt x="151" y="115"/>
                </a:cubicBezTo>
                <a:cubicBezTo>
                  <a:pt x="156" y="115"/>
                  <a:pt x="160" y="111"/>
                  <a:pt x="160" y="106"/>
                </a:cubicBezTo>
                <a:cubicBezTo>
                  <a:pt x="160" y="101"/>
                  <a:pt x="156" y="98"/>
                  <a:pt x="151" y="98"/>
                </a:cubicBezTo>
                <a:cubicBezTo>
                  <a:pt x="94" y="98"/>
                  <a:pt x="94" y="98"/>
                  <a:pt x="94" y="98"/>
                </a:cubicBezTo>
                <a:cubicBezTo>
                  <a:pt x="77" y="50"/>
                  <a:pt x="77" y="50"/>
                  <a:pt x="77" y="50"/>
                </a:cubicBezTo>
                <a:cubicBezTo>
                  <a:pt x="77" y="50"/>
                  <a:pt x="77" y="49"/>
                  <a:pt x="76" y="49"/>
                </a:cubicBezTo>
                <a:cubicBezTo>
                  <a:pt x="76" y="48"/>
                  <a:pt x="76" y="47"/>
                  <a:pt x="75" y="47"/>
                </a:cubicBezTo>
                <a:cubicBezTo>
                  <a:pt x="71" y="42"/>
                  <a:pt x="64" y="41"/>
                  <a:pt x="59" y="45"/>
                </a:cubicBezTo>
                <a:cubicBezTo>
                  <a:pt x="2" y="93"/>
                  <a:pt x="0" y="159"/>
                  <a:pt x="0" y="161"/>
                </a:cubicBezTo>
                <a:cubicBezTo>
                  <a:pt x="0" y="164"/>
                  <a:pt x="1" y="167"/>
                  <a:pt x="4" y="169"/>
                </a:cubicBezTo>
                <a:cubicBezTo>
                  <a:pt x="6" y="172"/>
                  <a:pt x="9" y="173"/>
                  <a:pt x="12" y="173"/>
                </a:cubicBezTo>
                <a:cubicBezTo>
                  <a:pt x="77" y="173"/>
                  <a:pt x="77" y="173"/>
                  <a:pt x="77" y="173"/>
                </a:cubicBezTo>
                <a:cubicBezTo>
                  <a:pt x="77" y="234"/>
                  <a:pt x="77" y="234"/>
                  <a:pt x="77" y="234"/>
                </a:cubicBezTo>
                <a:cubicBezTo>
                  <a:pt x="77" y="240"/>
                  <a:pt x="82" y="245"/>
                  <a:pt x="88" y="245"/>
                </a:cubicBezTo>
                <a:cubicBezTo>
                  <a:pt x="94" y="245"/>
                  <a:pt x="99" y="240"/>
                  <a:pt x="99" y="234"/>
                </a:cubicBezTo>
                <a:cubicBezTo>
                  <a:pt x="99" y="161"/>
                  <a:pt x="99" y="161"/>
                  <a:pt x="99" y="161"/>
                </a:cubicBezTo>
                <a:cubicBezTo>
                  <a:pt x="99" y="155"/>
                  <a:pt x="94" y="150"/>
                  <a:pt x="88" y="150"/>
                </a:cubicBezTo>
                <a:close/>
                <a:moveTo>
                  <a:pt x="99" y="0"/>
                </a:moveTo>
                <a:cubicBezTo>
                  <a:pt x="113" y="0"/>
                  <a:pt x="124" y="12"/>
                  <a:pt x="124" y="25"/>
                </a:cubicBezTo>
                <a:cubicBezTo>
                  <a:pt x="124" y="39"/>
                  <a:pt x="113" y="50"/>
                  <a:pt x="99" y="50"/>
                </a:cubicBezTo>
                <a:cubicBezTo>
                  <a:pt x="86" y="50"/>
                  <a:pt x="75" y="39"/>
                  <a:pt x="75" y="25"/>
                </a:cubicBezTo>
                <a:cubicBezTo>
                  <a:pt x="75" y="12"/>
                  <a:pt x="86" y="0"/>
                  <a:pt x="99" y="0"/>
                </a:cubicBezTo>
                <a:close/>
                <a:moveTo>
                  <a:pt x="169" y="126"/>
                </a:moveTo>
                <a:cubicBezTo>
                  <a:pt x="137" y="126"/>
                  <a:pt x="137" y="126"/>
                  <a:pt x="137" y="126"/>
                </a:cubicBezTo>
                <a:cubicBezTo>
                  <a:pt x="134" y="126"/>
                  <a:pt x="131" y="128"/>
                  <a:pt x="131" y="131"/>
                </a:cubicBezTo>
                <a:cubicBezTo>
                  <a:pt x="131" y="135"/>
                  <a:pt x="134" y="137"/>
                  <a:pt x="137" y="137"/>
                </a:cubicBezTo>
                <a:cubicBezTo>
                  <a:pt x="169" y="137"/>
                  <a:pt x="169" y="137"/>
                  <a:pt x="169" y="137"/>
                </a:cubicBezTo>
                <a:cubicBezTo>
                  <a:pt x="172" y="137"/>
                  <a:pt x="175" y="135"/>
                  <a:pt x="175" y="131"/>
                </a:cubicBezTo>
                <a:cubicBezTo>
                  <a:pt x="175" y="128"/>
                  <a:pt x="172" y="126"/>
                  <a:pt x="169" y="126"/>
                </a:cubicBezTo>
                <a:close/>
                <a:moveTo>
                  <a:pt x="205" y="91"/>
                </a:moveTo>
                <a:cubicBezTo>
                  <a:pt x="204" y="90"/>
                  <a:pt x="204" y="89"/>
                  <a:pt x="203" y="88"/>
                </a:cubicBezTo>
                <a:cubicBezTo>
                  <a:pt x="228" y="29"/>
                  <a:pt x="228" y="29"/>
                  <a:pt x="228" y="29"/>
                </a:cubicBezTo>
                <a:cubicBezTo>
                  <a:pt x="213" y="22"/>
                  <a:pt x="213" y="22"/>
                  <a:pt x="213" y="22"/>
                </a:cubicBezTo>
                <a:cubicBezTo>
                  <a:pt x="175" y="109"/>
                  <a:pt x="175" y="109"/>
                  <a:pt x="175" y="109"/>
                </a:cubicBezTo>
                <a:cubicBezTo>
                  <a:pt x="191" y="115"/>
                  <a:pt x="191" y="115"/>
                  <a:pt x="191" y="115"/>
                </a:cubicBezTo>
                <a:cubicBezTo>
                  <a:pt x="197" y="101"/>
                  <a:pt x="197" y="101"/>
                  <a:pt x="197" y="101"/>
                </a:cubicBezTo>
                <a:cubicBezTo>
                  <a:pt x="209" y="126"/>
                  <a:pt x="209" y="126"/>
                  <a:pt x="209" y="126"/>
                </a:cubicBezTo>
                <a:cubicBezTo>
                  <a:pt x="192" y="126"/>
                  <a:pt x="192" y="126"/>
                  <a:pt x="192" y="126"/>
                </a:cubicBezTo>
                <a:cubicBezTo>
                  <a:pt x="189" y="126"/>
                  <a:pt x="186" y="128"/>
                  <a:pt x="186" y="131"/>
                </a:cubicBezTo>
                <a:cubicBezTo>
                  <a:pt x="186" y="135"/>
                  <a:pt x="189" y="137"/>
                  <a:pt x="192" y="137"/>
                </a:cubicBezTo>
                <a:cubicBezTo>
                  <a:pt x="218" y="137"/>
                  <a:pt x="218" y="137"/>
                  <a:pt x="218" y="137"/>
                </a:cubicBezTo>
                <a:cubicBezTo>
                  <a:pt x="220" y="137"/>
                  <a:pt x="222" y="136"/>
                  <a:pt x="223" y="135"/>
                </a:cubicBezTo>
                <a:cubicBezTo>
                  <a:pt x="224" y="133"/>
                  <a:pt x="224" y="131"/>
                  <a:pt x="223" y="129"/>
                </a:cubicBezTo>
                <a:lnTo>
                  <a:pt x="205" y="9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06" tIns="45702" rIns="91406" bIns="45702" numCol="1" anchor="t" anchorCtr="0" compatLnSpc="1"/>
          <a:lstStyle/>
          <a:p>
            <a:pPr defTabSz="913765"/>
            <a:endParaRPr lang="en-US">
              <a:solidFill>
                <a:prstClr val="black"/>
              </a:solidFill>
            </a:endParaRPr>
          </a:p>
        </p:txBody>
      </p:sp>
      <p:sp>
        <p:nvSpPr>
          <p:cNvPr id="126" name="Freeform 5"/>
          <p:cNvSpPr>
            <a:spLocks noEditPoints="1"/>
          </p:cNvSpPr>
          <p:nvPr/>
        </p:nvSpPr>
        <p:spPr bwMode="auto">
          <a:xfrm>
            <a:off x="5667255" y="3983516"/>
            <a:ext cx="486946" cy="730963"/>
          </a:xfrm>
          <a:custGeom>
            <a:avLst/>
            <a:gdLst>
              <a:gd name="T0" fmla="*/ 1021 w 1295"/>
              <a:gd name="T1" fmla="*/ 376 h 1946"/>
              <a:gd name="T2" fmla="*/ 645 w 1295"/>
              <a:gd name="T3" fmla="*/ 751 h 1946"/>
              <a:gd name="T4" fmla="*/ 270 w 1295"/>
              <a:gd name="T5" fmla="*/ 376 h 1946"/>
              <a:gd name="T6" fmla="*/ 645 w 1295"/>
              <a:gd name="T7" fmla="*/ 0 h 1946"/>
              <a:gd name="T8" fmla="*/ 1021 w 1295"/>
              <a:gd name="T9" fmla="*/ 376 h 1946"/>
              <a:gd name="T10" fmla="*/ 645 w 1295"/>
              <a:gd name="T11" fmla="*/ 922 h 1946"/>
              <a:gd name="T12" fmla="*/ 589 w 1295"/>
              <a:gd name="T13" fmla="*/ 815 h 1946"/>
              <a:gd name="T14" fmla="*/ 327 w 1295"/>
              <a:gd name="T15" fmla="*/ 668 h 1946"/>
              <a:gd name="T16" fmla="*/ 4 w 1295"/>
              <a:gd name="T17" fmla="*/ 1504 h 1946"/>
              <a:gd name="T18" fmla="*/ 34 w 1295"/>
              <a:gd name="T19" fmla="*/ 1717 h 1946"/>
              <a:gd name="T20" fmla="*/ 209 w 1295"/>
              <a:gd name="T21" fmla="*/ 1857 h 1946"/>
              <a:gd name="T22" fmla="*/ 645 w 1295"/>
              <a:gd name="T23" fmla="*/ 1946 h 1946"/>
              <a:gd name="T24" fmla="*/ 650 w 1295"/>
              <a:gd name="T25" fmla="*/ 1946 h 1946"/>
              <a:gd name="T26" fmla="*/ 1086 w 1295"/>
              <a:gd name="T27" fmla="*/ 1857 h 1946"/>
              <a:gd name="T28" fmla="*/ 1261 w 1295"/>
              <a:gd name="T29" fmla="*/ 1717 h 1946"/>
              <a:gd name="T30" fmla="*/ 1291 w 1295"/>
              <a:gd name="T31" fmla="*/ 1504 h 1946"/>
              <a:gd name="T32" fmla="*/ 969 w 1295"/>
              <a:gd name="T33" fmla="*/ 668 h 1946"/>
              <a:gd name="T34" fmla="*/ 695 w 1295"/>
              <a:gd name="T35" fmla="*/ 811 h 1946"/>
              <a:gd name="T36" fmla="*/ 645 w 1295"/>
              <a:gd name="T37" fmla="*/ 922 h 1946"/>
              <a:gd name="T38" fmla="*/ 644 w 1295"/>
              <a:gd name="T39" fmla="*/ 1592 h 1946"/>
              <a:gd name="T40" fmla="*/ 571 w 1295"/>
              <a:gd name="T41" fmla="*/ 1492 h 1946"/>
              <a:gd name="T42" fmla="*/ 601 w 1295"/>
              <a:gd name="T43" fmla="*/ 1038 h 1946"/>
              <a:gd name="T44" fmla="*/ 644 w 1295"/>
              <a:gd name="T45" fmla="*/ 983 h 1946"/>
              <a:gd name="T46" fmla="*/ 689 w 1295"/>
              <a:gd name="T47" fmla="*/ 1038 h 1946"/>
              <a:gd name="T48" fmla="*/ 720 w 1295"/>
              <a:gd name="T49" fmla="*/ 1492 h 1946"/>
              <a:gd name="T50" fmla="*/ 644 w 1295"/>
              <a:gd name="T51" fmla="*/ 1592 h 19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95" h="1946">
                <a:moveTo>
                  <a:pt x="1021" y="376"/>
                </a:moveTo>
                <a:cubicBezTo>
                  <a:pt x="1021" y="583"/>
                  <a:pt x="853" y="751"/>
                  <a:pt x="645" y="751"/>
                </a:cubicBezTo>
                <a:cubicBezTo>
                  <a:pt x="438" y="751"/>
                  <a:pt x="270" y="583"/>
                  <a:pt x="270" y="376"/>
                </a:cubicBezTo>
                <a:cubicBezTo>
                  <a:pt x="270" y="168"/>
                  <a:pt x="438" y="0"/>
                  <a:pt x="645" y="0"/>
                </a:cubicBezTo>
                <a:cubicBezTo>
                  <a:pt x="853" y="0"/>
                  <a:pt x="1021" y="168"/>
                  <a:pt x="1021" y="376"/>
                </a:cubicBezTo>
                <a:close/>
                <a:moveTo>
                  <a:pt x="645" y="922"/>
                </a:moveTo>
                <a:cubicBezTo>
                  <a:pt x="589" y="815"/>
                  <a:pt x="589" y="815"/>
                  <a:pt x="589" y="815"/>
                </a:cubicBezTo>
                <a:cubicBezTo>
                  <a:pt x="589" y="815"/>
                  <a:pt x="424" y="757"/>
                  <a:pt x="327" y="668"/>
                </a:cubicBezTo>
                <a:cubicBezTo>
                  <a:pt x="174" y="922"/>
                  <a:pt x="4" y="1196"/>
                  <a:pt x="4" y="1504"/>
                </a:cubicBezTo>
                <a:cubicBezTo>
                  <a:pt x="4" y="1574"/>
                  <a:pt x="0" y="1652"/>
                  <a:pt x="34" y="1717"/>
                </a:cubicBezTo>
                <a:cubicBezTo>
                  <a:pt x="73" y="1791"/>
                  <a:pt x="139" y="1821"/>
                  <a:pt x="209" y="1857"/>
                </a:cubicBezTo>
                <a:cubicBezTo>
                  <a:pt x="342" y="1926"/>
                  <a:pt x="498" y="1933"/>
                  <a:pt x="645" y="1946"/>
                </a:cubicBezTo>
                <a:cubicBezTo>
                  <a:pt x="650" y="1946"/>
                  <a:pt x="650" y="1946"/>
                  <a:pt x="650" y="1946"/>
                </a:cubicBezTo>
                <a:cubicBezTo>
                  <a:pt x="797" y="1933"/>
                  <a:pt x="953" y="1926"/>
                  <a:pt x="1086" y="1857"/>
                </a:cubicBezTo>
                <a:cubicBezTo>
                  <a:pt x="1156" y="1821"/>
                  <a:pt x="1223" y="1791"/>
                  <a:pt x="1261" y="1717"/>
                </a:cubicBezTo>
                <a:cubicBezTo>
                  <a:pt x="1295" y="1652"/>
                  <a:pt x="1291" y="1574"/>
                  <a:pt x="1291" y="1504"/>
                </a:cubicBezTo>
                <a:cubicBezTo>
                  <a:pt x="1291" y="1196"/>
                  <a:pt x="1122" y="922"/>
                  <a:pt x="969" y="668"/>
                </a:cubicBezTo>
                <a:cubicBezTo>
                  <a:pt x="872" y="757"/>
                  <a:pt x="821" y="775"/>
                  <a:pt x="695" y="811"/>
                </a:cubicBezTo>
                <a:lnTo>
                  <a:pt x="645" y="922"/>
                </a:lnTo>
                <a:close/>
                <a:moveTo>
                  <a:pt x="644" y="1592"/>
                </a:moveTo>
                <a:cubicBezTo>
                  <a:pt x="571" y="1492"/>
                  <a:pt x="571" y="1492"/>
                  <a:pt x="571" y="1492"/>
                </a:cubicBezTo>
                <a:cubicBezTo>
                  <a:pt x="601" y="1038"/>
                  <a:pt x="601" y="1038"/>
                  <a:pt x="601" y="1038"/>
                </a:cubicBezTo>
                <a:cubicBezTo>
                  <a:pt x="644" y="983"/>
                  <a:pt x="644" y="983"/>
                  <a:pt x="644" y="983"/>
                </a:cubicBezTo>
                <a:cubicBezTo>
                  <a:pt x="689" y="1038"/>
                  <a:pt x="689" y="1038"/>
                  <a:pt x="689" y="1038"/>
                </a:cubicBezTo>
                <a:cubicBezTo>
                  <a:pt x="720" y="1492"/>
                  <a:pt x="720" y="1492"/>
                  <a:pt x="720" y="1492"/>
                </a:cubicBezTo>
                <a:lnTo>
                  <a:pt x="644" y="159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27" tIns="45713" rIns="91427" bIns="45713" numCol="1" anchor="t" anchorCtr="0" compatLnSpc="1"/>
          <a:lstStyle/>
          <a:p>
            <a:pPr defTabSz="932180"/>
            <a:endParaRPr lang="en-GB">
              <a:solidFill>
                <a:srgbClr val="FFFFFF"/>
              </a:solidFill>
            </a:endParaRPr>
          </a:p>
        </p:txBody>
      </p:sp>
      <p:pic>
        <p:nvPicPr>
          <p:cNvPr id="128" name="Picture 6" descr="\\192.168.10.9\Shared\Design\Microsoft Events Presentation Resource DVD\DVD_ART36\Artwork_Imagery\Icons - Illustrations\People\White silhouettes\woman person 3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6985568" y="3888516"/>
            <a:ext cx="401111" cy="950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5401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0167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354E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67" name="Freeform 22"/>
          <p:cNvSpPr/>
          <p:nvPr/>
        </p:nvSpPr>
        <p:spPr bwMode="auto">
          <a:xfrm>
            <a:off x="464674" y="699542"/>
            <a:ext cx="653932" cy="561431"/>
          </a:xfrm>
          <a:custGeom>
            <a:avLst/>
            <a:gdLst>
              <a:gd name="connsiteX0" fmla="*/ 1548506 w 1705463"/>
              <a:gd name="connsiteY0" fmla="*/ 1282629 h 1464219"/>
              <a:gd name="connsiteX1" fmla="*/ 1550718 w 1705463"/>
              <a:gd name="connsiteY1" fmla="*/ 1282629 h 1464219"/>
              <a:gd name="connsiteX2" fmla="*/ 1551455 w 1705463"/>
              <a:gd name="connsiteY2" fmla="*/ 1285947 h 1464219"/>
              <a:gd name="connsiteX3" fmla="*/ 601312 w 1705463"/>
              <a:gd name="connsiteY3" fmla="*/ 753261 h 1464219"/>
              <a:gd name="connsiteX4" fmla="*/ 573223 w 1705463"/>
              <a:gd name="connsiteY4" fmla="*/ 815921 h 1464219"/>
              <a:gd name="connsiteX5" fmla="*/ 486796 w 1705463"/>
              <a:gd name="connsiteY5" fmla="*/ 919634 h 1464219"/>
              <a:gd name="connsiteX6" fmla="*/ 448263 w 1705463"/>
              <a:gd name="connsiteY6" fmla="*/ 981034 h 1464219"/>
              <a:gd name="connsiteX7" fmla="*/ 389565 w 1705463"/>
              <a:gd name="connsiteY7" fmla="*/ 1049275 h 1464219"/>
              <a:gd name="connsiteX8" fmla="*/ 227513 w 1705463"/>
              <a:gd name="connsiteY8" fmla="*/ 1176756 h 1464219"/>
              <a:gd name="connsiteX9" fmla="*/ 398027 w 1705463"/>
              <a:gd name="connsiteY9" fmla="*/ 1181437 h 1464219"/>
              <a:gd name="connsiteX10" fmla="*/ 629401 w 1705463"/>
              <a:gd name="connsiteY10" fmla="*/ 1187559 h 1464219"/>
              <a:gd name="connsiteX11" fmla="*/ 653168 w 1705463"/>
              <a:gd name="connsiteY11" fmla="*/ 986615 h 1464219"/>
              <a:gd name="connsiteX12" fmla="*/ 619082 w 1705463"/>
              <a:gd name="connsiteY12" fmla="*/ 832470 h 1464219"/>
              <a:gd name="connsiteX13" fmla="*/ 601312 w 1705463"/>
              <a:gd name="connsiteY13" fmla="*/ 753261 h 1464219"/>
              <a:gd name="connsiteX14" fmla="*/ 1104152 w 1705463"/>
              <a:gd name="connsiteY14" fmla="*/ 753021 h 1464219"/>
              <a:gd name="connsiteX15" fmla="*/ 1086930 w 1705463"/>
              <a:gd name="connsiteY15" fmla="*/ 832020 h 1464219"/>
              <a:gd name="connsiteX16" fmla="*/ 1052295 w 1705463"/>
              <a:gd name="connsiteY16" fmla="*/ 986375 h 1464219"/>
              <a:gd name="connsiteX17" fmla="*/ 1076063 w 1705463"/>
              <a:gd name="connsiteY17" fmla="*/ 1187319 h 1464219"/>
              <a:gd name="connsiteX18" fmla="*/ 1307436 w 1705463"/>
              <a:gd name="connsiteY18" fmla="*/ 1181197 h 1464219"/>
              <a:gd name="connsiteX19" fmla="*/ 1518617 w 1705463"/>
              <a:gd name="connsiteY19" fmla="*/ 1224995 h 1464219"/>
              <a:gd name="connsiteX20" fmla="*/ 1477950 w 1705463"/>
              <a:gd name="connsiteY20" fmla="*/ 1176516 h 1464219"/>
              <a:gd name="connsiteX21" fmla="*/ 1315899 w 1705463"/>
              <a:gd name="connsiteY21" fmla="*/ 1049035 h 1464219"/>
              <a:gd name="connsiteX22" fmla="*/ 1257200 w 1705463"/>
              <a:gd name="connsiteY22" fmla="*/ 980794 h 1464219"/>
              <a:gd name="connsiteX23" fmla="*/ 1218668 w 1705463"/>
              <a:gd name="connsiteY23" fmla="*/ 919394 h 1464219"/>
              <a:gd name="connsiteX24" fmla="*/ 1132240 w 1705463"/>
              <a:gd name="connsiteY24" fmla="*/ 815681 h 1464219"/>
              <a:gd name="connsiteX25" fmla="*/ 1032817 w 1705463"/>
              <a:gd name="connsiteY25" fmla="*/ 443009 h 1464219"/>
              <a:gd name="connsiteX26" fmla="*/ 1009473 w 1705463"/>
              <a:gd name="connsiteY26" fmla="*/ 446277 h 1464219"/>
              <a:gd name="connsiteX27" fmla="*/ 1011486 w 1705463"/>
              <a:gd name="connsiteY27" fmla="*/ 451404 h 1464219"/>
              <a:gd name="connsiteX28" fmla="*/ 1024241 w 1705463"/>
              <a:gd name="connsiteY28" fmla="*/ 457924 h 1464219"/>
              <a:gd name="connsiteX29" fmla="*/ 1036338 w 1705463"/>
              <a:gd name="connsiteY29" fmla="*/ 467363 h 1464219"/>
              <a:gd name="connsiteX30" fmla="*/ 1042063 w 1705463"/>
              <a:gd name="connsiteY30" fmla="*/ 466561 h 1464219"/>
              <a:gd name="connsiteX31" fmla="*/ 1050341 w 1705463"/>
              <a:gd name="connsiteY31" fmla="*/ 408847 h 1464219"/>
              <a:gd name="connsiteX32" fmla="*/ 1026998 w 1705463"/>
              <a:gd name="connsiteY32" fmla="*/ 412115 h 1464219"/>
              <a:gd name="connsiteX33" fmla="*/ 1036244 w 1705463"/>
              <a:gd name="connsiteY33" fmla="*/ 435667 h 1464219"/>
              <a:gd name="connsiteX34" fmla="*/ 1059588 w 1705463"/>
              <a:gd name="connsiteY34" fmla="*/ 432399 h 1464219"/>
              <a:gd name="connsiteX35" fmla="*/ 1067273 w 1705463"/>
              <a:gd name="connsiteY35" fmla="*/ 374421 h 1464219"/>
              <a:gd name="connsiteX36" fmla="*/ 1043930 w 1705463"/>
              <a:gd name="connsiteY36" fmla="*/ 377690 h 1464219"/>
              <a:gd name="connsiteX37" fmla="*/ 1053176 w 1705463"/>
              <a:gd name="connsiteY37" fmla="*/ 401242 h 1464219"/>
              <a:gd name="connsiteX38" fmla="*/ 1076519 w 1705463"/>
              <a:gd name="connsiteY38" fmla="*/ 397973 h 1464219"/>
              <a:gd name="connsiteX39" fmla="*/ 1085402 w 1705463"/>
              <a:gd name="connsiteY39" fmla="*/ 340528 h 1464219"/>
              <a:gd name="connsiteX40" fmla="*/ 1062059 w 1705463"/>
              <a:gd name="connsiteY40" fmla="*/ 343797 h 1464219"/>
              <a:gd name="connsiteX41" fmla="*/ 1071305 w 1705463"/>
              <a:gd name="connsiteY41" fmla="*/ 367349 h 1464219"/>
              <a:gd name="connsiteX42" fmla="*/ 1094648 w 1705463"/>
              <a:gd name="connsiteY42" fmla="*/ 364080 h 1464219"/>
              <a:gd name="connsiteX43" fmla="*/ 1103522 w 1705463"/>
              <a:gd name="connsiteY43" fmla="*/ 306632 h 1464219"/>
              <a:gd name="connsiteX44" fmla="*/ 1080179 w 1705463"/>
              <a:gd name="connsiteY44" fmla="*/ 309900 h 1464219"/>
              <a:gd name="connsiteX45" fmla="*/ 1089425 w 1705463"/>
              <a:gd name="connsiteY45" fmla="*/ 333452 h 1464219"/>
              <a:gd name="connsiteX46" fmla="*/ 1112769 w 1705463"/>
              <a:gd name="connsiteY46" fmla="*/ 330184 h 1464219"/>
              <a:gd name="connsiteX47" fmla="*/ 1121173 w 1705463"/>
              <a:gd name="connsiteY47" fmla="*/ 272526 h 1464219"/>
              <a:gd name="connsiteX48" fmla="*/ 1097829 w 1705463"/>
              <a:gd name="connsiteY48" fmla="*/ 275795 h 1464219"/>
              <a:gd name="connsiteX49" fmla="*/ 1107076 w 1705463"/>
              <a:gd name="connsiteY49" fmla="*/ 299347 h 1464219"/>
              <a:gd name="connsiteX50" fmla="*/ 1130419 w 1705463"/>
              <a:gd name="connsiteY50" fmla="*/ 296078 h 1464219"/>
              <a:gd name="connsiteX51" fmla="*/ 1139444 w 1705463"/>
              <a:gd name="connsiteY51" fmla="*/ 238697 h 1464219"/>
              <a:gd name="connsiteX52" fmla="*/ 1116101 w 1705463"/>
              <a:gd name="connsiteY52" fmla="*/ 241965 h 1464219"/>
              <a:gd name="connsiteX53" fmla="*/ 1125347 w 1705463"/>
              <a:gd name="connsiteY53" fmla="*/ 265517 h 1464219"/>
              <a:gd name="connsiteX54" fmla="*/ 1148691 w 1705463"/>
              <a:gd name="connsiteY54" fmla="*/ 262249 h 1464219"/>
              <a:gd name="connsiteX55" fmla="*/ 1157605 w 1705463"/>
              <a:gd name="connsiteY55" fmla="*/ 204818 h 1464219"/>
              <a:gd name="connsiteX56" fmla="*/ 1134262 w 1705463"/>
              <a:gd name="connsiteY56" fmla="*/ 208087 h 1464219"/>
              <a:gd name="connsiteX57" fmla="*/ 1143508 w 1705463"/>
              <a:gd name="connsiteY57" fmla="*/ 231639 h 1464219"/>
              <a:gd name="connsiteX58" fmla="*/ 1166852 w 1705463"/>
              <a:gd name="connsiteY58" fmla="*/ 228370 h 1464219"/>
              <a:gd name="connsiteX59" fmla="*/ 1177166 w 1705463"/>
              <a:gd name="connsiteY59" fmla="*/ 171562 h 1464219"/>
              <a:gd name="connsiteX60" fmla="*/ 1153823 w 1705463"/>
              <a:gd name="connsiteY60" fmla="*/ 174831 h 1464219"/>
              <a:gd name="connsiteX61" fmla="*/ 1163069 w 1705463"/>
              <a:gd name="connsiteY61" fmla="*/ 198383 h 1464219"/>
              <a:gd name="connsiteX62" fmla="*/ 1186412 w 1705463"/>
              <a:gd name="connsiteY62" fmla="*/ 195115 h 1464219"/>
              <a:gd name="connsiteX63" fmla="*/ 852718 w 1705463"/>
              <a:gd name="connsiteY63" fmla="*/ 0 h 1464219"/>
              <a:gd name="connsiteX64" fmla="*/ 867621 w 1705463"/>
              <a:gd name="connsiteY64" fmla="*/ 2099 h 1464219"/>
              <a:gd name="connsiteX65" fmla="*/ 867621 w 1705463"/>
              <a:gd name="connsiteY65" fmla="*/ 3488 h 1464219"/>
              <a:gd name="connsiteX66" fmla="*/ 868174 w 1705463"/>
              <a:gd name="connsiteY66" fmla="*/ 3537 h 1464219"/>
              <a:gd name="connsiteX67" fmla="*/ 874526 w 1705463"/>
              <a:gd name="connsiteY67" fmla="*/ 4039 h 1464219"/>
              <a:gd name="connsiteX68" fmla="*/ 958862 w 1705463"/>
              <a:gd name="connsiteY68" fmla="*/ 57505 h 1464219"/>
              <a:gd name="connsiteX69" fmla="*/ 982362 w 1705463"/>
              <a:gd name="connsiteY69" fmla="*/ 181758 h 1464219"/>
              <a:gd name="connsiteX70" fmla="*/ 947273 w 1705463"/>
              <a:gd name="connsiteY70" fmla="*/ 313212 h 1464219"/>
              <a:gd name="connsiteX71" fmla="*/ 943090 w 1705463"/>
              <a:gd name="connsiteY71" fmla="*/ 319847 h 1464219"/>
              <a:gd name="connsiteX72" fmla="*/ 942704 w 1705463"/>
              <a:gd name="connsiteY72" fmla="*/ 319847 h 1464219"/>
              <a:gd name="connsiteX73" fmla="*/ 941084 w 1705463"/>
              <a:gd name="connsiteY73" fmla="*/ 337763 h 1464219"/>
              <a:gd name="connsiteX74" fmla="*/ 945007 w 1705463"/>
              <a:gd name="connsiteY74" fmla="*/ 410990 h 1464219"/>
              <a:gd name="connsiteX75" fmla="*/ 982260 w 1705463"/>
              <a:gd name="connsiteY75" fmla="*/ 436466 h 1464219"/>
              <a:gd name="connsiteX76" fmla="*/ 994095 w 1705463"/>
              <a:gd name="connsiteY76" fmla="*/ 442515 h 1464219"/>
              <a:gd name="connsiteX77" fmla="*/ 1053480 w 1705463"/>
              <a:gd name="connsiteY77" fmla="*/ 330091 h 1464219"/>
              <a:gd name="connsiteX78" fmla="*/ 1163312 w 1705463"/>
              <a:gd name="connsiteY78" fmla="*/ 132181 h 1464219"/>
              <a:gd name="connsiteX79" fmla="*/ 1163883 w 1705463"/>
              <a:gd name="connsiteY79" fmla="*/ 132562 h 1464219"/>
              <a:gd name="connsiteX80" fmla="*/ 1164138 w 1705463"/>
              <a:gd name="connsiteY80" fmla="*/ 131980 h 1464219"/>
              <a:gd name="connsiteX81" fmla="*/ 1204777 w 1705463"/>
              <a:gd name="connsiteY81" fmla="*/ 124282 h 1464219"/>
              <a:gd name="connsiteX82" fmla="*/ 1216244 w 1705463"/>
              <a:gd name="connsiteY82" fmla="*/ 167539 h 1464219"/>
              <a:gd name="connsiteX83" fmla="*/ 1217585 w 1705463"/>
              <a:gd name="connsiteY83" fmla="*/ 168434 h 1464219"/>
              <a:gd name="connsiteX84" fmla="*/ 1112404 w 1705463"/>
              <a:gd name="connsiteY84" fmla="*/ 370792 h 1464219"/>
              <a:gd name="connsiteX85" fmla="*/ 1057495 w 1705463"/>
              <a:gd name="connsiteY85" fmla="*/ 482464 h 1464219"/>
              <a:gd name="connsiteX86" fmla="*/ 1074097 w 1705463"/>
              <a:gd name="connsiteY86" fmla="*/ 492971 h 1464219"/>
              <a:gd name="connsiteX87" fmla="*/ 1172733 w 1705463"/>
              <a:gd name="connsiteY87" fmla="*/ 524214 h 1464219"/>
              <a:gd name="connsiteX88" fmla="*/ 1223122 w 1705463"/>
              <a:gd name="connsiteY88" fmla="*/ 617339 h 1464219"/>
              <a:gd name="connsiteX89" fmla="*/ 1237342 w 1705463"/>
              <a:gd name="connsiteY89" fmla="*/ 720109 h 1464219"/>
              <a:gd name="connsiteX90" fmla="*/ 1281328 w 1705463"/>
              <a:gd name="connsiteY90" fmla="*/ 789753 h 1464219"/>
              <a:gd name="connsiteX91" fmla="*/ 1318285 w 1705463"/>
              <a:gd name="connsiteY91" fmla="*/ 866158 h 1464219"/>
              <a:gd name="connsiteX92" fmla="*/ 1382665 w 1705463"/>
              <a:gd name="connsiteY92" fmla="*/ 930537 h 1464219"/>
              <a:gd name="connsiteX93" fmla="*/ 1540426 w 1705463"/>
              <a:gd name="connsiteY93" fmla="*/ 1136988 h 1464219"/>
              <a:gd name="connsiteX94" fmla="*/ 1630776 w 1705463"/>
              <a:gd name="connsiteY94" fmla="*/ 1171860 h 1464219"/>
              <a:gd name="connsiteX95" fmla="*/ 1694945 w 1705463"/>
              <a:gd name="connsiteY95" fmla="*/ 1221449 h 1464219"/>
              <a:gd name="connsiteX96" fmla="*/ 1694945 w 1705463"/>
              <a:gd name="connsiteY96" fmla="*/ 1254521 h 1464219"/>
              <a:gd name="connsiteX97" fmla="*/ 1694641 w 1705463"/>
              <a:gd name="connsiteY97" fmla="*/ 1254488 h 1464219"/>
              <a:gd name="connsiteX98" fmla="*/ 1694258 w 1705463"/>
              <a:gd name="connsiteY98" fmla="*/ 1253811 h 1464219"/>
              <a:gd name="connsiteX99" fmla="*/ 1689365 w 1705463"/>
              <a:gd name="connsiteY99" fmla="*/ 1252169 h 1464219"/>
              <a:gd name="connsiteX100" fmla="*/ 1688322 w 1705463"/>
              <a:gd name="connsiteY100" fmla="*/ 1252498 h 1464219"/>
              <a:gd name="connsiteX101" fmla="*/ 1684334 w 1705463"/>
              <a:gd name="connsiteY101" fmla="*/ 1249762 h 1464219"/>
              <a:gd name="connsiteX102" fmla="*/ 1670692 w 1705463"/>
              <a:gd name="connsiteY102" fmla="*/ 1239492 h 1464219"/>
              <a:gd name="connsiteX103" fmla="*/ 1646439 w 1705463"/>
              <a:gd name="connsiteY103" fmla="*/ 1228468 h 1464219"/>
              <a:gd name="connsiteX104" fmla="*/ 1639825 w 1705463"/>
              <a:gd name="connsiteY104" fmla="*/ 1258930 h 1464219"/>
              <a:gd name="connsiteX105" fmla="*/ 1672897 w 1705463"/>
              <a:gd name="connsiteY105" fmla="*/ 1292002 h 1464219"/>
              <a:gd name="connsiteX106" fmla="*/ 1679107 w 1705463"/>
              <a:gd name="connsiteY106" fmla="*/ 1258930 h 1464219"/>
              <a:gd name="connsiteX107" fmla="*/ 1683853 w 1705463"/>
              <a:gd name="connsiteY107" fmla="*/ 1253907 h 1464219"/>
              <a:gd name="connsiteX108" fmla="*/ 1688322 w 1705463"/>
              <a:gd name="connsiteY108" fmla="*/ 1252498 h 1464219"/>
              <a:gd name="connsiteX109" fmla="*/ 1690587 w 1705463"/>
              <a:gd name="connsiteY109" fmla="*/ 1254052 h 1464219"/>
              <a:gd name="connsiteX110" fmla="*/ 1694641 w 1705463"/>
              <a:gd name="connsiteY110" fmla="*/ 1254488 h 1464219"/>
              <a:gd name="connsiteX111" fmla="*/ 1697149 w 1705463"/>
              <a:gd name="connsiteY111" fmla="*/ 1258930 h 1464219"/>
              <a:gd name="connsiteX112" fmla="*/ 1690535 w 1705463"/>
              <a:gd name="connsiteY112" fmla="*/ 1314050 h 1464219"/>
              <a:gd name="connsiteX113" fmla="*/ 1668487 w 1705463"/>
              <a:gd name="connsiteY113" fmla="*/ 1322869 h 1464219"/>
              <a:gd name="connsiteX114" fmla="*/ 1642030 w 1705463"/>
              <a:gd name="connsiteY114" fmla="*/ 1309640 h 1464219"/>
              <a:gd name="connsiteX115" fmla="*/ 1703764 w 1705463"/>
              <a:gd name="connsiteY115" fmla="*/ 1397832 h 1464219"/>
              <a:gd name="connsiteX116" fmla="*/ 1690535 w 1705463"/>
              <a:gd name="connsiteY116" fmla="*/ 1408856 h 1464219"/>
              <a:gd name="connsiteX117" fmla="*/ 1677306 w 1705463"/>
              <a:gd name="connsiteY117" fmla="*/ 1389012 h 1464219"/>
              <a:gd name="connsiteX118" fmla="*/ 1661873 w 1705463"/>
              <a:gd name="connsiteY118" fmla="*/ 1395627 h 1464219"/>
              <a:gd name="connsiteX119" fmla="*/ 1639017 w 1705463"/>
              <a:gd name="connsiteY119" fmla="*/ 1372725 h 1464219"/>
              <a:gd name="connsiteX120" fmla="*/ 1574674 w 1705463"/>
              <a:gd name="connsiteY120" fmla="*/ 1300775 h 1464219"/>
              <a:gd name="connsiteX121" fmla="*/ 1543807 w 1705463"/>
              <a:gd name="connsiteY121" fmla="*/ 1271985 h 1464219"/>
              <a:gd name="connsiteX122" fmla="*/ 1547503 w 1705463"/>
              <a:gd name="connsiteY122" fmla="*/ 1282629 h 1464219"/>
              <a:gd name="connsiteX123" fmla="*/ 1549107 w 1705463"/>
              <a:gd name="connsiteY123" fmla="*/ 1291620 h 1464219"/>
              <a:gd name="connsiteX124" fmla="*/ 1528345 w 1705463"/>
              <a:gd name="connsiteY124" fmla="*/ 1379000 h 1464219"/>
              <a:gd name="connsiteX125" fmla="*/ 1409250 w 1705463"/>
              <a:gd name="connsiteY125" fmla="*/ 1422912 h 1464219"/>
              <a:gd name="connsiteX126" fmla="*/ 1271654 w 1705463"/>
              <a:gd name="connsiteY126" fmla="*/ 1453191 h 1464219"/>
              <a:gd name="connsiteX127" fmla="*/ 976213 w 1705463"/>
              <a:gd name="connsiteY127" fmla="*/ 1442167 h 1464219"/>
              <a:gd name="connsiteX128" fmla="*/ 863769 w 1705463"/>
              <a:gd name="connsiteY128" fmla="*/ 1459806 h 1464219"/>
              <a:gd name="connsiteX129" fmla="*/ 603605 w 1705463"/>
              <a:gd name="connsiteY129" fmla="*/ 1457601 h 1464219"/>
              <a:gd name="connsiteX130" fmla="*/ 528642 w 1705463"/>
              <a:gd name="connsiteY130" fmla="*/ 1464215 h 1464219"/>
              <a:gd name="connsiteX131" fmla="*/ 508799 w 1705463"/>
              <a:gd name="connsiteY131" fmla="*/ 1448782 h 1464219"/>
              <a:gd name="connsiteX132" fmla="*/ 331069 w 1705463"/>
              <a:gd name="connsiteY132" fmla="*/ 1438174 h 1464219"/>
              <a:gd name="connsiteX133" fmla="*/ 183934 w 1705463"/>
              <a:gd name="connsiteY133" fmla="*/ 1339397 h 1464219"/>
              <a:gd name="connsiteX134" fmla="*/ 161657 w 1705463"/>
              <a:gd name="connsiteY134" fmla="*/ 1272225 h 1464219"/>
              <a:gd name="connsiteX135" fmla="*/ 130790 w 1705463"/>
              <a:gd name="connsiteY135" fmla="*/ 1301016 h 1464219"/>
              <a:gd name="connsiteX136" fmla="*/ 66447 w 1705463"/>
              <a:gd name="connsiteY136" fmla="*/ 1372965 h 1464219"/>
              <a:gd name="connsiteX137" fmla="*/ 43590 w 1705463"/>
              <a:gd name="connsiteY137" fmla="*/ 1395867 h 1464219"/>
              <a:gd name="connsiteX138" fmla="*/ 28157 w 1705463"/>
              <a:gd name="connsiteY138" fmla="*/ 1389253 h 1464219"/>
              <a:gd name="connsiteX139" fmla="*/ 14928 w 1705463"/>
              <a:gd name="connsiteY139" fmla="*/ 1409096 h 1464219"/>
              <a:gd name="connsiteX140" fmla="*/ 1700 w 1705463"/>
              <a:gd name="connsiteY140" fmla="*/ 1398072 h 1464219"/>
              <a:gd name="connsiteX141" fmla="*/ 63434 w 1705463"/>
              <a:gd name="connsiteY141" fmla="*/ 1309880 h 1464219"/>
              <a:gd name="connsiteX142" fmla="*/ 36976 w 1705463"/>
              <a:gd name="connsiteY142" fmla="*/ 1323109 h 1464219"/>
              <a:gd name="connsiteX143" fmla="*/ 14928 w 1705463"/>
              <a:gd name="connsiteY143" fmla="*/ 1314290 h 1464219"/>
              <a:gd name="connsiteX144" fmla="*/ 8314 w 1705463"/>
              <a:gd name="connsiteY144" fmla="*/ 1259170 h 1464219"/>
              <a:gd name="connsiteX145" fmla="*/ 10823 w 1705463"/>
              <a:gd name="connsiteY145" fmla="*/ 1254728 h 1464219"/>
              <a:gd name="connsiteX146" fmla="*/ 14877 w 1705463"/>
              <a:gd name="connsiteY146" fmla="*/ 1254292 h 1464219"/>
              <a:gd name="connsiteX147" fmla="*/ 17142 w 1705463"/>
              <a:gd name="connsiteY147" fmla="*/ 1252738 h 1464219"/>
              <a:gd name="connsiteX148" fmla="*/ 21610 w 1705463"/>
              <a:gd name="connsiteY148" fmla="*/ 1254148 h 1464219"/>
              <a:gd name="connsiteX149" fmla="*/ 26356 w 1705463"/>
              <a:gd name="connsiteY149" fmla="*/ 1259170 h 1464219"/>
              <a:gd name="connsiteX150" fmla="*/ 32567 w 1705463"/>
              <a:gd name="connsiteY150" fmla="*/ 1292242 h 1464219"/>
              <a:gd name="connsiteX151" fmla="*/ 65638 w 1705463"/>
              <a:gd name="connsiteY151" fmla="*/ 1259170 h 1464219"/>
              <a:gd name="connsiteX152" fmla="*/ 59024 w 1705463"/>
              <a:gd name="connsiteY152" fmla="*/ 1228708 h 1464219"/>
              <a:gd name="connsiteX153" fmla="*/ 34771 w 1705463"/>
              <a:gd name="connsiteY153" fmla="*/ 1239732 h 1464219"/>
              <a:gd name="connsiteX154" fmla="*/ 21129 w 1705463"/>
              <a:gd name="connsiteY154" fmla="*/ 1250002 h 1464219"/>
              <a:gd name="connsiteX155" fmla="*/ 17142 w 1705463"/>
              <a:gd name="connsiteY155" fmla="*/ 1252738 h 1464219"/>
              <a:gd name="connsiteX156" fmla="*/ 16098 w 1705463"/>
              <a:gd name="connsiteY156" fmla="*/ 1252409 h 1464219"/>
              <a:gd name="connsiteX157" fmla="*/ 11205 w 1705463"/>
              <a:gd name="connsiteY157" fmla="*/ 1254051 h 1464219"/>
              <a:gd name="connsiteX158" fmla="*/ 10823 w 1705463"/>
              <a:gd name="connsiteY158" fmla="*/ 1254728 h 1464219"/>
              <a:gd name="connsiteX159" fmla="*/ 10519 w 1705463"/>
              <a:gd name="connsiteY159" fmla="*/ 1254761 h 1464219"/>
              <a:gd name="connsiteX160" fmla="*/ 10519 w 1705463"/>
              <a:gd name="connsiteY160" fmla="*/ 1221689 h 1464219"/>
              <a:gd name="connsiteX161" fmla="*/ 74687 w 1705463"/>
              <a:gd name="connsiteY161" fmla="*/ 1172100 h 1464219"/>
              <a:gd name="connsiteX162" fmla="*/ 165037 w 1705463"/>
              <a:gd name="connsiteY162" fmla="*/ 1137228 h 1464219"/>
              <a:gd name="connsiteX163" fmla="*/ 322799 w 1705463"/>
              <a:gd name="connsiteY163" fmla="*/ 930777 h 1464219"/>
              <a:gd name="connsiteX164" fmla="*/ 387178 w 1705463"/>
              <a:gd name="connsiteY164" fmla="*/ 866398 h 1464219"/>
              <a:gd name="connsiteX165" fmla="*/ 424136 w 1705463"/>
              <a:gd name="connsiteY165" fmla="*/ 789993 h 1464219"/>
              <a:gd name="connsiteX166" fmla="*/ 468121 w 1705463"/>
              <a:gd name="connsiteY166" fmla="*/ 720349 h 1464219"/>
              <a:gd name="connsiteX167" fmla="*/ 482342 w 1705463"/>
              <a:gd name="connsiteY167" fmla="*/ 617579 h 1464219"/>
              <a:gd name="connsiteX168" fmla="*/ 532731 w 1705463"/>
              <a:gd name="connsiteY168" fmla="*/ 524454 h 1464219"/>
              <a:gd name="connsiteX169" fmla="*/ 631367 w 1705463"/>
              <a:gd name="connsiteY169" fmla="*/ 493211 h 1464219"/>
              <a:gd name="connsiteX170" fmla="*/ 681222 w 1705463"/>
              <a:gd name="connsiteY170" fmla="*/ 458164 h 1464219"/>
              <a:gd name="connsiteX171" fmla="*/ 760457 w 1705463"/>
              <a:gd name="connsiteY171" fmla="*/ 411230 h 1464219"/>
              <a:gd name="connsiteX172" fmla="*/ 764530 w 1705463"/>
              <a:gd name="connsiteY172" fmla="*/ 339894 h 1464219"/>
              <a:gd name="connsiteX173" fmla="*/ 763822 w 1705463"/>
              <a:gd name="connsiteY173" fmla="*/ 320560 h 1464219"/>
              <a:gd name="connsiteX174" fmla="*/ 723192 w 1705463"/>
              <a:gd name="connsiteY174" fmla="*/ 180318 h 1464219"/>
              <a:gd name="connsiteX175" fmla="*/ 746693 w 1705463"/>
              <a:gd name="connsiteY175" fmla="*/ 56064 h 1464219"/>
              <a:gd name="connsiteX176" fmla="*/ 831028 w 1705463"/>
              <a:gd name="connsiteY176" fmla="*/ 2598 h 1464219"/>
              <a:gd name="connsiteX177" fmla="*/ 852715 w 1705463"/>
              <a:gd name="connsiteY177" fmla="*/ 244 h 1464219"/>
              <a:gd name="connsiteX178" fmla="*/ 852718 w 1705463"/>
              <a:gd name="connsiteY178" fmla="*/ 0 h 146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1705463" h="1464219">
                <a:moveTo>
                  <a:pt x="1548506" y="1282629"/>
                </a:moveTo>
                <a:lnTo>
                  <a:pt x="1550718" y="1282629"/>
                </a:lnTo>
                <a:lnTo>
                  <a:pt x="1551455" y="1285947"/>
                </a:lnTo>
                <a:close/>
                <a:moveTo>
                  <a:pt x="601312" y="753261"/>
                </a:moveTo>
                <a:lnTo>
                  <a:pt x="573223" y="815921"/>
                </a:lnTo>
                <a:cubicBezTo>
                  <a:pt x="559453" y="846638"/>
                  <a:pt x="507622" y="892115"/>
                  <a:pt x="486796" y="919634"/>
                </a:cubicBezTo>
                <a:cubicBezTo>
                  <a:pt x="465969" y="947153"/>
                  <a:pt x="461107" y="966869"/>
                  <a:pt x="448263" y="981034"/>
                </a:cubicBezTo>
                <a:cubicBezTo>
                  <a:pt x="430121" y="1001041"/>
                  <a:pt x="426356" y="1016655"/>
                  <a:pt x="389565" y="1049275"/>
                </a:cubicBezTo>
                <a:cubicBezTo>
                  <a:pt x="352773" y="1081896"/>
                  <a:pt x="282821" y="1137623"/>
                  <a:pt x="227513" y="1176756"/>
                </a:cubicBezTo>
                <a:lnTo>
                  <a:pt x="398027" y="1181437"/>
                </a:lnTo>
                <a:cubicBezTo>
                  <a:pt x="473651" y="1182878"/>
                  <a:pt x="598791" y="1197822"/>
                  <a:pt x="629401" y="1187559"/>
                </a:cubicBezTo>
                <a:cubicBezTo>
                  <a:pt x="650468" y="1136783"/>
                  <a:pt x="653349" y="1039192"/>
                  <a:pt x="653168" y="986615"/>
                </a:cubicBezTo>
                <a:cubicBezTo>
                  <a:pt x="652649" y="927434"/>
                  <a:pt x="627724" y="871362"/>
                  <a:pt x="619082" y="832470"/>
                </a:cubicBezTo>
                <a:cubicBezTo>
                  <a:pt x="610439" y="793578"/>
                  <a:pt x="611463" y="813981"/>
                  <a:pt x="601312" y="753261"/>
                </a:cubicBezTo>
                <a:close/>
                <a:moveTo>
                  <a:pt x="1104152" y="753021"/>
                </a:moveTo>
                <a:cubicBezTo>
                  <a:pt x="1097222" y="799712"/>
                  <a:pt x="1095573" y="793127"/>
                  <a:pt x="1086930" y="832020"/>
                </a:cubicBezTo>
                <a:cubicBezTo>
                  <a:pt x="1078287" y="870912"/>
                  <a:pt x="1052681" y="927009"/>
                  <a:pt x="1052295" y="986375"/>
                </a:cubicBezTo>
                <a:cubicBezTo>
                  <a:pt x="1052115" y="1038952"/>
                  <a:pt x="1054996" y="1136543"/>
                  <a:pt x="1076063" y="1187319"/>
                </a:cubicBezTo>
                <a:cubicBezTo>
                  <a:pt x="1106672" y="1197582"/>
                  <a:pt x="1231812" y="1182638"/>
                  <a:pt x="1307436" y="1181197"/>
                </a:cubicBezTo>
                <a:cubicBezTo>
                  <a:pt x="1359374" y="1180041"/>
                  <a:pt x="1511243" y="1213997"/>
                  <a:pt x="1518617" y="1224995"/>
                </a:cubicBezTo>
                <a:lnTo>
                  <a:pt x="1477950" y="1176516"/>
                </a:lnTo>
                <a:cubicBezTo>
                  <a:pt x="1422643" y="1137383"/>
                  <a:pt x="1352690" y="1081656"/>
                  <a:pt x="1315899" y="1049035"/>
                </a:cubicBezTo>
                <a:cubicBezTo>
                  <a:pt x="1279107" y="1016415"/>
                  <a:pt x="1275343" y="1000801"/>
                  <a:pt x="1257200" y="980794"/>
                </a:cubicBezTo>
                <a:cubicBezTo>
                  <a:pt x="1244356" y="966629"/>
                  <a:pt x="1239495" y="946913"/>
                  <a:pt x="1218668" y="919394"/>
                </a:cubicBezTo>
                <a:cubicBezTo>
                  <a:pt x="1197841" y="891875"/>
                  <a:pt x="1146010" y="846398"/>
                  <a:pt x="1132240" y="815681"/>
                </a:cubicBezTo>
                <a:close/>
                <a:moveTo>
                  <a:pt x="1032817" y="443009"/>
                </a:moveTo>
                <a:lnTo>
                  <a:pt x="1009473" y="446277"/>
                </a:lnTo>
                <a:lnTo>
                  <a:pt x="1011486" y="451404"/>
                </a:lnTo>
                <a:lnTo>
                  <a:pt x="1024241" y="457924"/>
                </a:lnTo>
                <a:lnTo>
                  <a:pt x="1036338" y="467363"/>
                </a:lnTo>
                <a:lnTo>
                  <a:pt x="1042063" y="466561"/>
                </a:lnTo>
                <a:close/>
                <a:moveTo>
                  <a:pt x="1050341" y="408847"/>
                </a:moveTo>
                <a:lnTo>
                  <a:pt x="1026998" y="412115"/>
                </a:lnTo>
                <a:lnTo>
                  <a:pt x="1036244" y="435667"/>
                </a:lnTo>
                <a:lnTo>
                  <a:pt x="1059588" y="432399"/>
                </a:lnTo>
                <a:close/>
                <a:moveTo>
                  <a:pt x="1067273" y="374421"/>
                </a:moveTo>
                <a:lnTo>
                  <a:pt x="1043930" y="377690"/>
                </a:lnTo>
                <a:lnTo>
                  <a:pt x="1053176" y="401242"/>
                </a:lnTo>
                <a:lnTo>
                  <a:pt x="1076519" y="397973"/>
                </a:lnTo>
                <a:close/>
                <a:moveTo>
                  <a:pt x="1085402" y="340528"/>
                </a:moveTo>
                <a:lnTo>
                  <a:pt x="1062059" y="343797"/>
                </a:lnTo>
                <a:lnTo>
                  <a:pt x="1071305" y="367349"/>
                </a:lnTo>
                <a:lnTo>
                  <a:pt x="1094648" y="364080"/>
                </a:lnTo>
                <a:close/>
                <a:moveTo>
                  <a:pt x="1103522" y="306632"/>
                </a:moveTo>
                <a:lnTo>
                  <a:pt x="1080179" y="309900"/>
                </a:lnTo>
                <a:lnTo>
                  <a:pt x="1089425" y="333452"/>
                </a:lnTo>
                <a:lnTo>
                  <a:pt x="1112769" y="330184"/>
                </a:lnTo>
                <a:close/>
                <a:moveTo>
                  <a:pt x="1121173" y="272526"/>
                </a:moveTo>
                <a:lnTo>
                  <a:pt x="1097829" y="275795"/>
                </a:lnTo>
                <a:lnTo>
                  <a:pt x="1107076" y="299347"/>
                </a:lnTo>
                <a:lnTo>
                  <a:pt x="1130419" y="296078"/>
                </a:lnTo>
                <a:close/>
                <a:moveTo>
                  <a:pt x="1139444" y="238697"/>
                </a:moveTo>
                <a:lnTo>
                  <a:pt x="1116101" y="241965"/>
                </a:lnTo>
                <a:lnTo>
                  <a:pt x="1125347" y="265517"/>
                </a:lnTo>
                <a:lnTo>
                  <a:pt x="1148691" y="262249"/>
                </a:lnTo>
                <a:close/>
                <a:moveTo>
                  <a:pt x="1157605" y="204818"/>
                </a:moveTo>
                <a:lnTo>
                  <a:pt x="1134262" y="208087"/>
                </a:lnTo>
                <a:lnTo>
                  <a:pt x="1143508" y="231639"/>
                </a:lnTo>
                <a:lnTo>
                  <a:pt x="1166852" y="228370"/>
                </a:lnTo>
                <a:close/>
                <a:moveTo>
                  <a:pt x="1177166" y="171562"/>
                </a:moveTo>
                <a:lnTo>
                  <a:pt x="1153823" y="174831"/>
                </a:lnTo>
                <a:lnTo>
                  <a:pt x="1163069" y="198383"/>
                </a:lnTo>
                <a:lnTo>
                  <a:pt x="1186412" y="195115"/>
                </a:lnTo>
                <a:close/>
                <a:moveTo>
                  <a:pt x="852718" y="0"/>
                </a:moveTo>
                <a:lnTo>
                  <a:pt x="867621" y="2099"/>
                </a:lnTo>
                <a:lnTo>
                  <a:pt x="867621" y="3488"/>
                </a:lnTo>
                <a:lnTo>
                  <a:pt x="868174" y="3537"/>
                </a:lnTo>
                <a:lnTo>
                  <a:pt x="874526" y="4039"/>
                </a:lnTo>
                <a:cubicBezTo>
                  <a:pt x="890396" y="5240"/>
                  <a:pt x="943590" y="21583"/>
                  <a:pt x="958862" y="57505"/>
                </a:cubicBezTo>
                <a:cubicBezTo>
                  <a:pt x="972417" y="89389"/>
                  <a:pt x="982195" y="137693"/>
                  <a:pt x="982362" y="181758"/>
                </a:cubicBezTo>
                <a:cubicBezTo>
                  <a:pt x="982526" y="225075"/>
                  <a:pt x="961396" y="287180"/>
                  <a:pt x="947273" y="313212"/>
                </a:cubicBezTo>
                <a:lnTo>
                  <a:pt x="943090" y="319847"/>
                </a:lnTo>
                <a:lnTo>
                  <a:pt x="942704" y="319847"/>
                </a:lnTo>
                <a:cubicBezTo>
                  <a:pt x="942914" y="325669"/>
                  <a:pt x="940874" y="331941"/>
                  <a:pt x="941084" y="337763"/>
                </a:cubicBezTo>
                <a:cubicBezTo>
                  <a:pt x="942391" y="362172"/>
                  <a:pt x="940150" y="404918"/>
                  <a:pt x="945007" y="410990"/>
                </a:cubicBezTo>
                <a:cubicBezTo>
                  <a:pt x="952613" y="420500"/>
                  <a:pt x="967043" y="428817"/>
                  <a:pt x="982260" y="436466"/>
                </a:cubicBezTo>
                <a:lnTo>
                  <a:pt x="994095" y="442515"/>
                </a:lnTo>
                <a:lnTo>
                  <a:pt x="1053480" y="330091"/>
                </a:lnTo>
                <a:cubicBezTo>
                  <a:pt x="1089623" y="264420"/>
                  <a:pt x="1126383" y="199252"/>
                  <a:pt x="1163312" y="132181"/>
                </a:cubicBezTo>
                <a:lnTo>
                  <a:pt x="1163883" y="132562"/>
                </a:lnTo>
                <a:cubicBezTo>
                  <a:pt x="1163933" y="132345"/>
                  <a:pt x="1164035" y="132162"/>
                  <a:pt x="1164138" y="131980"/>
                </a:cubicBezTo>
                <a:cubicBezTo>
                  <a:pt x="1172383" y="117476"/>
                  <a:pt x="1190578" y="114029"/>
                  <a:pt x="1204777" y="124282"/>
                </a:cubicBezTo>
                <a:cubicBezTo>
                  <a:pt x="1218490" y="134184"/>
                  <a:pt x="1223460" y="153243"/>
                  <a:pt x="1216244" y="167539"/>
                </a:cubicBezTo>
                <a:lnTo>
                  <a:pt x="1217585" y="168434"/>
                </a:lnTo>
                <a:cubicBezTo>
                  <a:pt x="1181460" y="237561"/>
                  <a:pt x="1146387" y="304321"/>
                  <a:pt x="1112404" y="370792"/>
                </a:cubicBezTo>
                <a:lnTo>
                  <a:pt x="1057495" y="482464"/>
                </a:lnTo>
                <a:lnTo>
                  <a:pt x="1074097" y="492971"/>
                </a:lnTo>
                <a:cubicBezTo>
                  <a:pt x="1098845" y="504019"/>
                  <a:pt x="1147896" y="503486"/>
                  <a:pt x="1172733" y="524214"/>
                </a:cubicBezTo>
                <a:cubicBezTo>
                  <a:pt x="1197570" y="544942"/>
                  <a:pt x="1212353" y="584690"/>
                  <a:pt x="1223122" y="617339"/>
                </a:cubicBezTo>
                <a:cubicBezTo>
                  <a:pt x="1233890" y="649988"/>
                  <a:pt x="1227641" y="691374"/>
                  <a:pt x="1237342" y="720109"/>
                </a:cubicBezTo>
                <a:cubicBezTo>
                  <a:pt x="1247043" y="748845"/>
                  <a:pt x="1267837" y="765411"/>
                  <a:pt x="1281328" y="789753"/>
                </a:cubicBezTo>
                <a:cubicBezTo>
                  <a:pt x="1294818" y="814094"/>
                  <a:pt x="1301396" y="842694"/>
                  <a:pt x="1318285" y="866158"/>
                </a:cubicBezTo>
                <a:cubicBezTo>
                  <a:pt x="1335175" y="889622"/>
                  <a:pt x="1352652" y="896623"/>
                  <a:pt x="1382665" y="930537"/>
                </a:cubicBezTo>
                <a:cubicBezTo>
                  <a:pt x="1436903" y="1005956"/>
                  <a:pt x="1503887" y="1105550"/>
                  <a:pt x="1540426" y="1136988"/>
                </a:cubicBezTo>
                <a:cubicBezTo>
                  <a:pt x="1559710" y="1153579"/>
                  <a:pt x="1597890" y="1153280"/>
                  <a:pt x="1630776" y="1171860"/>
                </a:cubicBezTo>
                <a:cubicBezTo>
                  <a:pt x="1654312" y="1185157"/>
                  <a:pt x="1688189" y="1204598"/>
                  <a:pt x="1694945" y="1221449"/>
                </a:cubicBezTo>
                <a:cubicBezTo>
                  <a:pt x="1699379" y="1232511"/>
                  <a:pt x="1698987" y="1251514"/>
                  <a:pt x="1694945" y="1254521"/>
                </a:cubicBezTo>
                <a:lnTo>
                  <a:pt x="1694641" y="1254488"/>
                </a:lnTo>
                <a:lnTo>
                  <a:pt x="1694258" y="1253811"/>
                </a:lnTo>
                <a:cubicBezTo>
                  <a:pt x="1692884" y="1252690"/>
                  <a:pt x="1691176" y="1252148"/>
                  <a:pt x="1689365" y="1252169"/>
                </a:cubicBezTo>
                <a:lnTo>
                  <a:pt x="1688322" y="1252498"/>
                </a:lnTo>
                <a:lnTo>
                  <a:pt x="1684334" y="1249762"/>
                </a:lnTo>
                <a:cubicBezTo>
                  <a:pt x="1679787" y="1246172"/>
                  <a:pt x="1674734" y="1241663"/>
                  <a:pt x="1670692" y="1239492"/>
                </a:cubicBezTo>
                <a:cubicBezTo>
                  <a:pt x="1662608" y="1235149"/>
                  <a:pt x="1653884" y="1224064"/>
                  <a:pt x="1646439" y="1228468"/>
                </a:cubicBezTo>
                <a:cubicBezTo>
                  <a:pt x="1637156" y="1233959"/>
                  <a:pt x="1637235" y="1248040"/>
                  <a:pt x="1639825" y="1258930"/>
                </a:cubicBezTo>
                <a:cubicBezTo>
                  <a:pt x="1643197" y="1273105"/>
                  <a:pt x="1666350" y="1292002"/>
                  <a:pt x="1672897" y="1292002"/>
                </a:cubicBezTo>
                <a:cubicBezTo>
                  <a:pt x="1679444" y="1292002"/>
                  <a:pt x="1675753" y="1264631"/>
                  <a:pt x="1679107" y="1258930"/>
                </a:cubicBezTo>
                <a:cubicBezTo>
                  <a:pt x="1680408" y="1256719"/>
                  <a:pt x="1682067" y="1255040"/>
                  <a:pt x="1683853" y="1253907"/>
                </a:cubicBezTo>
                <a:lnTo>
                  <a:pt x="1688322" y="1252498"/>
                </a:lnTo>
                <a:lnTo>
                  <a:pt x="1690587" y="1254052"/>
                </a:lnTo>
                <a:lnTo>
                  <a:pt x="1694641" y="1254488"/>
                </a:lnTo>
                <a:lnTo>
                  <a:pt x="1697149" y="1258930"/>
                </a:lnTo>
                <a:cubicBezTo>
                  <a:pt x="1699054" y="1268117"/>
                  <a:pt x="1698755" y="1305755"/>
                  <a:pt x="1690535" y="1314050"/>
                </a:cubicBezTo>
                <a:cubicBezTo>
                  <a:pt x="1680485" y="1324192"/>
                  <a:pt x="1676234" y="1324496"/>
                  <a:pt x="1668487" y="1322869"/>
                </a:cubicBezTo>
                <a:cubicBezTo>
                  <a:pt x="1656067" y="1320260"/>
                  <a:pt x="1650849" y="1314050"/>
                  <a:pt x="1642030" y="1309640"/>
                </a:cubicBezTo>
                <a:cubicBezTo>
                  <a:pt x="1662608" y="1339037"/>
                  <a:pt x="1688587" y="1362133"/>
                  <a:pt x="1703764" y="1397832"/>
                </a:cubicBezTo>
                <a:cubicBezTo>
                  <a:pt x="1710965" y="1414771"/>
                  <a:pt x="1693113" y="1412723"/>
                  <a:pt x="1690535" y="1408856"/>
                </a:cubicBezTo>
                <a:lnTo>
                  <a:pt x="1677306" y="1389012"/>
                </a:lnTo>
                <a:cubicBezTo>
                  <a:pt x="1678381" y="1396711"/>
                  <a:pt x="1668255" y="1398341"/>
                  <a:pt x="1661873" y="1395627"/>
                </a:cubicBezTo>
                <a:cubicBezTo>
                  <a:pt x="1655491" y="1392912"/>
                  <a:pt x="1647836" y="1380809"/>
                  <a:pt x="1639017" y="1372725"/>
                </a:cubicBezTo>
                <a:lnTo>
                  <a:pt x="1574674" y="1300775"/>
                </a:lnTo>
                <a:cubicBezTo>
                  <a:pt x="1559274" y="1283555"/>
                  <a:pt x="1550789" y="1278867"/>
                  <a:pt x="1543807" y="1271985"/>
                </a:cubicBezTo>
                <a:lnTo>
                  <a:pt x="1547503" y="1282629"/>
                </a:lnTo>
                <a:lnTo>
                  <a:pt x="1549107" y="1291620"/>
                </a:lnTo>
                <a:cubicBezTo>
                  <a:pt x="1552451" y="1318087"/>
                  <a:pt x="1548470" y="1358337"/>
                  <a:pt x="1528345" y="1379000"/>
                </a:cubicBezTo>
                <a:cubicBezTo>
                  <a:pt x="1505345" y="1402616"/>
                  <a:pt x="1452032" y="1410547"/>
                  <a:pt x="1409250" y="1422912"/>
                </a:cubicBezTo>
                <a:cubicBezTo>
                  <a:pt x="1366468" y="1435277"/>
                  <a:pt x="1343826" y="1449982"/>
                  <a:pt x="1271654" y="1453191"/>
                </a:cubicBezTo>
                <a:lnTo>
                  <a:pt x="976213" y="1442167"/>
                </a:lnTo>
                <a:cubicBezTo>
                  <a:pt x="908232" y="1443270"/>
                  <a:pt x="925921" y="1460332"/>
                  <a:pt x="863769" y="1459806"/>
                </a:cubicBezTo>
                <a:lnTo>
                  <a:pt x="603605" y="1457601"/>
                </a:lnTo>
                <a:cubicBezTo>
                  <a:pt x="547748" y="1457127"/>
                  <a:pt x="544510" y="1464417"/>
                  <a:pt x="528642" y="1464215"/>
                </a:cubicBezTo>
                <a:cubicBezTo>
                  <a:pt x="513475" y="1464022"/>
                  <a:pt x="515414" y="1453926"/>
                  <a:pt x="508799" y="1448782"/>
                </a:cubicBezTo>
                <a:cubicBezTo>
                  <a:pt x="459559" y="1448047"/>
                  <a:pt x="348782" y="1443999"/>
                  <a:pt x="331069" y="1438174"/>
                </a:cubicBezTo>
                <a:cubicBezTo>
                  <a:pt x="278135" y="1420767"/>
                  <a:pt x="212170" y="1367055"/>
                  <a:pt x="183934" y="1339397"/>
                </a:cubicBezTo>
                <a:cubicBezTo>
                  <a:pt x="155699" y="1311739"/>
                  <a:pt x="167132" y="1295066"/>
                  <a:pt x="161657" y="1272225"/>
                </a:cubicBezTo>
                <a:cubicBezTo>
                  <a:pt x="154675" y="1279107"/>
                  <a:pt x="146189" y="1283795"/>
                  <a:pt x="130790" y="1301016"/>
                </a:cubicBezTo>
                <a:lnTo>
                  <a:pt x="66447" y="1372965"/>
                </a:lnTo>
                <a:cubicBezTo>
                  <a:pt x="57628" y="1381049"/>
                  <a:pt x="49972" y="1393152"/>
                  <a:pt x="43590" y="1395867"/>
                </a:cubicBezTo>
                <a:cubicBezTo>
                  <a:pt x="37209" y="1398581"/>
                  <a:pt x="27082" y="1396951"/>
                  <a:pt x="28157" y="1389253"/>
                </a:cubicBezTo>
                <a:lnTo>
                  <a:pt x="14928" y="1409096"/>
                </a:lnTo>
                <a:cubicBezTo>
                  <a:pt x="12350" y="1412963"/>
                  <a:pt x="-5501" y="1415011"/>
                  <a:pt x="1700" y="1398072"/>
                </a:cubicBezTo>
                <a:cubicBezTo>
                  <a:pt x="16876" y="1362373"/>
                  <a:pt x="42856" y="1339277"/>
                  <a:pt x="63434" y="1309880"/>
                </a:cubicBezTo>
                <a:cubicBezTo>
                  <a:pt x="54614" y="1314290"/>
                  <a:pt x="49396" y="1320500"/>
                  <a:pt x="36976" y="1323109"/>
                </a:cubicBezTo>
                <a:cubicBezTo>
                  <a:pt x="29230" y="1324736"/>
                  <a:pt x="24978" y="1324432"/>
                  <a:pt x="14928" y="1314290"/>
                </a:cubicBezTo>
                <a:cubicBezTo>
                  <a:pt x="6708" y="1305995"/>
                  <a:pt x="6409" y="1268357"/>
                  <a:pt x="8314" y="1259170"/>
                </a:cubicBezTo>
                <a:lnTo>
                  <a:pt x="10823" y="1254728"/>
                </a:lnTo>
                <a:lnTo>
                  <a:pt x="14877" y="1254292"/>
                </a:lnTo>
                <a:lnTo>
                  <a:pt x="17142" y="1252738"/>
                </a:lnTo>
                <a:lnTo>
                  <a:pt x="21610" y="1254148"/>
                </a:lnTo>
                <a:cubicBezTo>
                  <a:pt x="23397" y="1255280"/>
                  <a:pt x="25056" y="1256959"/>
                  <a:pt x="26356" y="1259170"/>
                </a:cubicBezTo>
                <a:cubicBezTo>
                  <a:pt x="29710" y="1264871"/>
                  <a:pt x="26019" y="1292242"/>
                  <a:pt x="32567" y="1292242"/>
                </a:cubicBezTo>
                <a:cubicBezTo>
                  <a:pt x="39114" y="1292242"/>
                  <a:pt x="62267" y="1273345"/>
                  <a:pt x="65638" y="1259170"/>
                </a:cubicBezTo>
                <a:cubicBezTo>
                  <a:pt x="68228" y="1248280"/>
                  <a:pt x="68308" y="1234199"/>
                  <a:pt x="59024" y="1228708"/>
                </a:cubicBezTo>
                <a:cubicBezTo>
                  <a:pt x="51580" y="1224304"/>
                  <a:pt x="42856" y="1235389"/>
                  <a:pt x="34771" y="1239732"/>
                </a:cubicBezTo>
                <a:cubicBezTo>
                  <a:pt x="30729" y="1241903"/>
                  <a:pt x="25677" y="1246412"/>
                  <a:pt x="21129" y="1250002"/>
                </a:cubicBezTo>
                <a:lnTo>
                  <a:pt x="17142" y="1252738"/>
                </a:lnTo>
                <a:lnTo>
                  <a:pt x="16098" y="1252409"/>
                </a:lnTo>
                <a:cubicBezTo>
                  <a:pt x="14287" y="1252388"/>
                  <a:pt x="12579" y="1252930"/>
                  <a:pt x="11205" y="1254051"/>
                </a:cubicBezTo>
                <a:lnTo>
                  <a:pt x="10823" y="1254728"/>
                </a:lnTo>
                <a:lnTo>
                  <a:pt x="10519" y="1254761"/>
                </a:lnTo>
                <a:cubicBezTo>
                  <a:pt x="6477" y="1251754"/>
                  <a:pt x="6084" y="1232751"/>
                  <a:pt x="10519" y="1221689"/>
                </a:cubicBezTo>
                <a:cubicBezTo>
                  <a:pt x="17274" y="1204838"/>
                  <a:pt x="51151" y="1185397"/>
                  <a:pt x="74687" y="1172100"/>
                </a:cubicBezTo>
                <a:cubicBezTo>
                  <a:pt x="107573" y="1153520"/>
                  <a:pt x="145753" y="1153819"/>
                  <a:pt x="165037" y="1137228"/>
                </a:cubicBezTo>
                <a:cubicBezTo>
                  <a:pt x="201577" y="1105790"/>
                  <a:pt x="268561" y="1006196"/>
                  <a:pt x="322799" y="930777"/>
                </a:cubicBezTo>
                <a:cubicBezTo>
                  <a:pt x="352811" y="896864"/>
                  <a:pt x="370289" y="889862"/>
                  <a:pt x="387178" y="866398"/>
                </a:cubicBezTo>
                <a:cubicBezTo>
                  <a:pt x="404068" y="842934"/>
                  <a:pt x="410645" y="814334"/>
                  <a:pt x="424136" y="789993"/>
                </a:cubicBezTo>
                <a:cubicBezTo>
                  <a:pt x="437626" y="765651"/>
                  <a:pt x="458420" y="749085"/>
                  <a:pt x="468121" y="720349"/>
                </a:cubicBezTo>
                <a:cubicBezTo>
                  <a:pt x="477822" y="691614"/>
                  <a:pt x="471574" y="650228"/>
                  <a:pt x="482342" y="617579"/>
                </a:cubicBezTo>
                <a:cubicBezTo>
                  <a:pt x="493110" y="584930"/>
                  <a:pt x="507893" y="545183"/>
                  <a:pt x="532731" y="524454"/>
                </a:cubicBezTo>
                <a:cubicBezTo>
                  <a:pt x="557568" y="503726"/>
                  <a:pt x="606618" y="504259"/>
                  <a:pt x="631367" y="493211"/>
                </a:cubicBezTo>
                <a:cubicBezTo>
                  <a:pt x="656116" y="482163"/>
                  <a:pt x="659707" y="471828"/>
                  <a:pt x="681222" y="458164"/>
                </a:cubicBezTo>
                <a:cubicBezTo>
                  <a:pt x="702737" y="444501"/>
                  <a:pt x="750926" y="427995"/>
                  <a:pt x="760457" y="411230"/>
                </a:cubicBezTo>
                <a:cubicBezTo>
                  <a:pt x="765081" y="403095"/>
                  <a:pt x="765447" y="372136"/>
                  <a:pt x="764530" y="339894"/>
                </a:cubicBezTo>
                <a:lnTo>
                  <a:pt x="763822" y="320560"/>
                </a:lnTo>
                <a:cubicBezTo>
                  <a:pt x="750630" y="303867"/>
                  <a:pt x="723005" y="229823"/>
                  <a:pt x="723192" y="180318"/>
                </a:cubicBezTo>
                <a:cubicBezTo>
                  <a:pt x="723359" y="136252"/>
                  <a:pt x="733137" y="87948"/>
                  <a:pt x="746693" y="56064"/>
                </a:cubicBezTo>
                <a:cubicBezTo>
                  <a:pt x="761965" y="20142"/>
                  <a:pt x="815158" y="3799"/>
                  <a:pt x="831028" y="2598"/>
                </a:cubicBezTo>
                <a:cubicBezTo>
                  <a:pt x="850941" y="1092"/>
                  <a:pt x="845486" y="1028"/>
                  <a:pt x="852715" y="244"/>
                </a:cubicBezTo>
                <a:cubicBezTo>
                  <a:pt x="852716" y="162"/>
                  <a:pt x="852717" y="81"/>
                  <a:pt x="852718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noAutofit/>
          </a:bodyPr>
          <a:lstStyle/>
          <a:p>
            <a:pPr marL="0" marR="0" lvl="0" indent="0" algn="ctr" defTabSz="93218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Freeform 29"/>
          <p:cNvSpPr/>
          <p:nvPr/>
        </p:nvSpPr>
        <p:spPr bwMode="auto">
          <a:xfrm>
            <a:off x="1486515" y="553121"/>
            <a:ext cx="1154532" cy="862280"/>
          </a:xfrm>
          <a:custGeom>
            <a:avLst/>
            <a:gdLst>
              <a:gd name="connsiteX0" fmla="*/ 327845 w 2656062"/>
              <a:gd name="connsiteY0" fmla="*/ 931191 h 1983721"/>
              <a:gd name="connsiteX1" fmla="*/ 314687 w 2656062"/>
              <a:gd name="connsiteY1" fmla="*/ 944151 h 1983721"/>
              <a:gd name="connsiteX2" fmla="*/ 329282 w 2656062"/>
              <a:gd name="connsiteY2" fmla="*/ 953260 h 1983721"/>
              <a:gd name="connsiteX3" fmla="*/ 342440 w 2656062"/>
              <a:gd name="connsiteY3" fmla="*/ 940301 h 1983721"/>
              <a:gd name="connsiteX4" fmla="*/ 324675 w 2656062"/>
              <a:gd name="connsiteY4" fmla="*/ 903210 h 1983721"/>
              <a:gd name="connsiteX5" fmla="*/ 311517 w 2656062"/>
              <a:gd name="connsiteY5" fmla="*/ 916169 h 1983721"/>
              <a:gd name="connsiteX6" fmla="*/ 326112 w 2656062"/>
              <a:gd name="connsiteY6" fmla="*/ 925278 h 1983721"/>
              <a:gd name="connsiteX7" fmla="*/ 339270 w 2656062"/>
              <a:gd name="connsiteY7" fmla="*/ 912319 h 1983721"/>
              <a:gd name="connsiteX8" fmla="*/ 322488 w 2656062"/>
              <a:gd name="connsiteY8" fmla="*/ 896315 h 1983721"/>
              <a:gd name="connsiteX9" fmla="*/ 324060 w 2656062"/>
              <a:gd name="connsiteY9" fmla="*/ 897297 h 1983721"/>
              <a:gd name="connsiteX10" fmla="*/ 325005 w 2656062"/>
              <a:gd name="connsiteY10" fmla="*/ 896366 h 1983721"/>
              <a:gd name="connsiteX11" fmla="*/ 312179 w 2656062"/>
              <a:gd name="connsiteY11" fmla="*/ 707339 h 1983721"/>
              <a:gd name="connsiteX12" fmla="*/ 299022 w 2656062"/>
              <a:gd name="connsiteY12" fmla="*/ 720298 h 1983721"/>
              <a:gd name="connsiteX13" fmla="*/ 313617 w 2656062"/>
              <a:gd name="connsiteY13" fmla="*/ 729407 h 1983721"/>
              <a:gd name="connsiteX14" fmla="*/ 326774 w 2656062"/>
              <a:gd name="connsiteY14" fmla="*/ 716448 h 1983721"/>
              <a:gd name="connsiteX15" fmla="*/ 311826 w 2656062"/>
              <a:gd name="connsiteY15" fmla="*/ 679357 h 1983721"/>
              <a:gd name="connsiteX16" fmla="*/ 298668 w 2656062"/>
              <a:gd name="connsiteY16" fmla="*/ 692316 h 1983721"/>
              <a:gd name="connsiteX17" fmla="*/ 313263 w 2656062"/>
              <a:gd name="connsiteY17" fmla="*/ 701426 h 1983721"/>
              <a:gd name="connsiteX18" fmla="*/ 326421 w 2656062"/>
              <a:gd name="connsiteY18" fmla="*/ 688467 h 1983721"/>
              <a:gd name="connsiteX19" fmla="*/ 1602918 w 2656062"/>
              <a:gd name="connsiteY19" fmla="*/ 211312 h 1983721"/>
              <a:gd name="connsiteX20" fmla="*/ 1599549 w 2656062"/>
              <a:gd name="connsiteY20" fmla="*/ 226760 h 1983721"/>
              <a:gd name="connsiteX21" fmla="*/ 2168705 w 2656062"/>
              <a:gd name="connsiteY21" fmla="*/ 380848 h 1983721"/>
              <a:gd name="connsiteX22" fmla="*/ 2156846 w 2656062"/>
              <a:gd name="connsiteY22" fmla="*/ 367648 h 1983721"/>
              <a:gd name="connsiteX23" fmla="*/ 1602918 w 2656062"/>
              <a:gd name="connsiteY23" fmla="*/ 211312 h 1983721"/>
              <a:gd name="connsiteX24" fmla="*/ 1494239 w 2656062"/>
              <a:gd name="connsiteY24" fmla="*/ 190777 h 1983721"/>
              <a:gd name="connsiteX25" fmla="*/ 1480740 w 2656062"/>
              <a:gd name="connsiteY25" fmla="*/ 203377 h 1983721"/>
              <a:gd name="connsiteX26" fmla="*/ 1490521 w 2656062"/>
              <a:gd name="connsiteY26" fmla="*/ 220619 h 1983721"/>
              <a:gd name="connsiteX27" fmla="*/ 1504019 w 2656062"/>
              <a:gd name="connsiteY27" fmla="*/ 208018 h 1983721"/>
              <a:gd name="connsiteX28" fmla="*/ 1465130 w 2656062"/>
              <a:gd name="connsiteY28" fmla="*/ 183370 h 1983721"/>
              <a:gd name="connsiteX29" fmla="*/ 1451631 w 2656062"/>
              <a:gd name="connsiteY29" fmla="*/ 195971 h 1983721"/>
              <a:gd name="connsiteX30" fmla="*/ 1461412 w 2656062"/>
              <a:gd name="connsiteY30" fmla="*/ 213212 h 1983721"/>
              <a:gd name="connsiteX31" fmla="*/ 1474911 w 2656062"/>
              <a:gd name="connsiteY31" fmla="*/ 200611 h 1983721"/>
              <a:gd name="connsiteX32" fmla="*/ 1435692 w 2656062"/>
              <a:gd name="connsiteY32" fmla="*/ 177197 h 1983721"/>
              <a:gd name="connsiteX33" fmla="*/ 1422193 w 2656062"/>
              <a:gd name="connsiteY33" fmla="*/ 189798 h 1983721"/>
              <a:gd name="connsiteX34" fmla="*/ 1431973 w 2656062"/>
              <a:gd name="connsiteY34" fmla="*/ 207039 h 1983721"/>
              <a:gd name="connsiteX35" fmla="*/ 1445472 w 2656062"/>
              <a:gd name="connsiteY35" fmla="*/ 194438 h 1983721"/>
              <a:gd name="connsiteX36" fmla="*/ 1406384 w 2656062"/>
              <a:gd name="connsiteY36" fmla="*/ 170533 h 1983721"/>
              <a:gd name="connsiteX37" fmla="*/ 1400895 w 2656062"/>
              <a:gd name="connsiteY37" fmla="*/ 175657 h 1983721"/>
              <a:gd name="connsiteX38" fmla="*/ 1401976 w 2656062"/>
              <a:gd name="connsiteY38" fmla="*/ 199159 h 1983721"/>
              <a:gd name="connsiteX39" fmla="*/ 1402666 w 2656062"/>
              <a:gd name="connsiteY39" fmla="*/ 200375 h 1983721"/>
              <a:gd name="connsiteX40" fmla="*/ 1416165 w 2656062"/>
              <a:gd name="connsiteY40" fmla="*/ 187774 h 1983721"/>
              <a:gd name="connsiteX41" fmla="*/ 1284051 w 2656062"/>
              <a:gd name="connsiteY41" fmla="*/ 151402 h 1983721"/>
              <a:gd name="connsiteX42" fmla="*/ 1274670 w 2656062"/>
              <a:gd name="connsiteY42" fmla="*/ 160159 h 1983721"/>
              <a:gd name="connsiteX43" fmla="*/ 1278198 w 2656062"/>
              <a:gd name="connsiteY43" fmla="*/ 166379 h 1983721"/>
              <a:gd name="connsiteX44" fmla="*/ 1258589 w 2656062"/>
              <a:gd name="connsiteY44" fmla="*/ 141912 h 1983721"/>
              <a:gd name="connsiteX45" fmla="*/ 1245090 w 2656062"/>
              <a:gd name="connsiteY45" fmla="*/ 154513 h 1983721"/>
              <a:gd name="connsiteX46" fmla="*/ 1254870 w 2656062"/>
              <a:gd name="connsiteY46" fmla="*/ 171754 h 1983721"/>
              <a:gd name="connsiteX47" fmla="*/ 1268369 w 2656062"/>
              <a:gd name="connsiteY47" fmla="*/ 159153 h 1983721"/>
              <a:gd name="connsiteX48" fmla="*/ 1228698 w 2656062"/>
              <a:gd name="connsiteY48" fmla="*/ 137425 h 1983721"/>
              <a:gd name="connsiteX49" fmla="*/ 1215199 w 2656062"/>
              <a:gd name="connsiteY49" fmla="*/ 150026 h 1983721"/>
              <a:gd name="connsiteX50" fmla="*/ 1224979 w 2656062"/>
              <a:gd name="connsiteY50" fmla="*/ 167268 h 1983721"/>
              <a:gd name="connsiteX51" fmla="*/ 1238478 w 2656062"/>
              <a:gd name="connsiteY51" fmla="*/ 154667 h 1983721"/>
              <a:gd name="connsiteX52" fmla="*/ 1311345 w 2656062"/>
              <a:gd name="connsiteY52" fmla="*/ 120248 h 1983721"/>
              <a:gd name="connsiteX53" fmla="*/ 1327362 w 2656062"/>
              <a:gd name="connsiteY53" fmla="*/ 123435 h 1983721"/>
              <a:gd name="connsiteX54" fmla="*/ 1342695 w 2656062"/>
              <a:gd name="connsiteY54" fmla="*/ 122769 h 1983721"/>
              <a:gd name="connsiteX55" fmla="*/ 1352696 w 2656062"/>
              <a:gd name="connsiteY55" fmla="*/ 129435 h 1983721"/>
              <a:gd name="connsiteX56" fmla="*/ 1364696 w 2656062"/>
              <a:gd name="connsiteY56" fmla="*/ 130102 h 1983721"/>
              <a:gd name="connsiteX57" fmla="*/ 1374696 w 2656062"/>
              <a:gd name="connsiteY57" fmla="*/ 137436 h 1983721"/>
              <a:gd name="connsiteX58" fmla="*/ 1388030 w 2656062"/>
              <a:gd name="connsiteY58" fmla="*/ 135435 h 1983721"/>
              <a:gd name="connsiteX59" fmla="*/ 1398474 w 2656062"/>
              <a:gd name="connsiteY59" fmla="*/ 146991 h 1983721"/>
              <a:gd name="connsiteX60" fmla="*/ 1399848 w 2656062"/>
              <a:gd name="connsiteY60" fmla="*/ 157387 h 1983721"/>
              <a:gd name="connsiteX61" fmla="*/ 1399900 w 2656062"/>
              <a:gd name="connsiteY61" fmla="*/ 158245 h 1983721"/>
              <a:gd name="connsiteX62" fmla="*/ 1547349 w 2656062"/>
              <a:gd name="connsiteY62" fmla="*/ 187323 h 1983721"/>
              <a:gd name="connsiteX63" fmla="*/ 1565308 w 2656062"/>
              <a:gd name="connsiteY63" fmla="*/ 159185 h 1983721"/>
              <a:gd name="connsiteX64" fmla="*/ 1574697 w 2656062"/>
              <a:gd name="connsiteY64" fmla="*/ 202225 h 1983721"/>
              <a:gd name="connsiteX65" fmla="*/ 2159962 w 2656062"/>
              <a:gd name="connsiteY65" fmla="*/ 365597 h 1983721"/>
              <a:gd name="connsiteX66" fmla="*/ 2203942 w 2656062"/>
              <a:gd name="connsiteY66" fmla="*/ 413185 h 1983721"/>
              <a:gd name="connsiteX67" fmla="*/ 1568500 w 2656062"/>
              <a:gd name="connsiteY67" fmla="*/ 246225 h 1983721"/>
              <a:gd name="connsiteX68" fmla="*/ 1548713 w 2656062"/>
              <a:gd name="connsiteY68" fmla="*/ 280857 h 1983721"/>
              <a:gd name="connsiteX69" fmla="*/ 1539201 w 2656062"/>
              <a:gd name="connsiteY69" fmla="*/ 247673 h 1983721"/>
              <a:gd name="connsiteX70" fmla="*/ 1387323 w 2656062"/>
              <a:gd name="connsiteY70" fmla="*/ 213121 h 1983721"/>
              <a:gd name="connsiteX71" fmla="*/ 1386828 w 2656062"/>
              <a:gd name="connsiteY71" fmla="*/ 213325 h 1983721"/>
              <a:gd name="connsiteX72" fmla="*/ 1341584 w 2656062"/>
              <a:gd name="connsiteY72" fmla="*/ 228771 h 1983721"/>
              <a:gd name="connsiteX73" fmla="*/ 1323806 w 2656062"/>
              <a:gd name="connsiteY73" fmla="*/ 274994 h 1983721"/>
              <a:gd name="connsiteX74" fmla="*/ 1367140 w 2656062"/>
              <a:gd name="connsiteY74" fmla="*/ 493888 h 1983721"/>
              <a:gd name="connsiteX75" fmla="*/ 1420030 w 2656062"/>
              <a:gd name="connsiteY75" fmla="*/ 529222 h 1983721"/>
              <a:gd name="connsiteX76" fmla="*/ 1464031 w 2656062"/>
              <a:gd name="connsiteY76" fmla="*/ 565001 h 1983721"/>
              <a:gd name="connsiteX77" fmla="*/ 1531811 w 2656062"/>
              <a:gd name="connsiteY77" fmla="*/ 585890 h 1983721"/>
              <a:gd name="connsiteX78" fmla="*/ 1561367 w 2656062"/>
              <a:gd name="connsiteY78" fmla="*/ 608780 h 1983721"/>
              <a:gd name="connsiteX79" fmla="*/ 1634924 w 2656062"/>
              <a:gd name="connsiteY79" fmla="*/ 624336 h 1983721"/>
              <a:gd name="connsiteX80" fmla="*/ 1636035 w 2656062"/>
              <a:gd name="connsiteY80" fmla="*/ 478777 h 1983721"/>
              <a:gd name="connsiteX81" fmla="*/ 1736260 w 2656062"/>
              <a:gd name="connsiteY81" fmla="*/ 424331 h 1983721"/>
              <a:gd name="connsiteX82" fmla="*/ 1825151 w 2656062"/>
              <a:gd name="connsiteY82" fmla="*/ 484777 h 1983721"/>
              <a:gd name="connsiteX83" fmla="*/ 1825151 w 2656062"/>
              <a:gd name="connsiteY83" fmla="*/ 623447 h 1983721"/>
              <a:gd name="connsiteX84" fmla="*/ 1810928 w 2656062"/>
              <a:gd name="connsiteY84" fmla="*/ 673226 h 1983721"/>
              <a:gd name="connsiteX85" fmla="*/ 1861596 w 2656062"/>
              <a:gd name="connsiteY85" fmla="*/ 698115 h 1983721"/>
              <a:gd name="connsiteX86" fmla="*/ 1915820 w 2656062"/>
              <a:gd name="connsiteY86" fmla="*/ 713227 h 1983721"/>
              <a:gd name="connsiteX87" fmla="*/ 2022044 w 2656062"/>
              <a:gd name="connsiteY87" fmla="*/ 785673 h 1983721"/>
              <a:gd name="connsiteX88" fmla="*/ 2150270 w 2656062"/>
              <a:gd name="connsiteY88" fmla="*/ 883008 h 1983721"/>
              <a:gd name="connsiteX89" fmla="*/ 2257161 w 2656062"/>
              <a:gd name="connsiteY89" fmla="*/ 957455 h 1983721"/>
              <a:gd name="connsiteX90" fmla="*/ 2355163 w 2656062"/>
              <a:gd name="connsiteY90" fmla="*/ 1057012 h 1983721"/>
              <a:gd name="connsiteX91" fmla="*/ 2484055 w 2656062"/>
              <a:gd name="connsiteY91" fmla="*/ 1176571 h 1983721"/>
              <a:gd name="connsiteX92" fmla="*/ 2488055 w 2656062"/>
              <a:gd name="connsiteY92" fmla="*/ 1198127 h 1983721"/>
              <a:gd name="connsiteX93" fmla="*/ 2447388 w 2656062"/>
              <a:gd name="connsiteY93" fmla="*/ 1176126 h 1983721"/>
              <a:gd name="connsiteX94" fmla="*/ 2492055 w 2656062"/>
              <a:gd name="connsiteY94" fmla="*/ 1243906 h 1983721"/>
              <a:gd name="connsiteX95" fmla="*/ 2481388 w 2656062"/>
              <a:gd name="connsiteY95" fmla="*/ 1256795 h 1983721"/>
              <a:gd name="connsiteX96" fmla="*/ 2478722 w 2656062"/>
              <a:gd name="connsiteY96" fmla="*/ 1270128 h 1983721"/>
              <a:gd name="connsiteX97" fmla="*/ 2465388 w 2656062"/>
              <a:gd name="connsiteY97" fmla="*/ 1268128 h 1983721"/>
              <a:gd name="connsiteX98" fmla="*/ 2462055 w 2656062"/>
              <a:gd name="connsiteY98" fmla="*/ 1275462 h 1983721"/>
              <a:gd name="connsiteX99" fmla="*/ 2446721 w 2656062"/>
              <a:gd name="connsiteY99" fmla="*/ 1273906 h 1983721"/>
              <a:gd name="connsiteX100" fmla="*/ 2388053 w 2656062"/>
              <a:gd name="connsiteY100" fmla="*/ 1224127 h 1983721"/>
              <a:gd name="connsiteX101" fmla="*/ 2390942 w 2656062"/>
              <a:gd name="connsiteY101" fmla="*/ 1255017 h 1983721"/>
              <a:gd name="connsiteX102" fmla="*/ 2373608 w 2656062"/>
              <a:gd name="connsiteY102" fmla="*/ 1251017 h 1983721"/>
              <a:gd name="connsiteX103" fmla="*/ 2323385 w 2656062"/>
              <a:gd name="connsiteY103" fmla="*/ 1168793 h 1983721"/>
              <a:gd name="connsiteX104" fmla="*/ 2312273 w 2656062"/>
              <a:gd name="connsiteY104" fmla="*/ 1110569 h 1983721"/>
              <a:gd name="connsiteX105" fmla="*/ 2191382 w 2656062"/>
              <a:gd name="connsiteY105" fmla="*/ 1028790 h 1983721"/>
              <a:gd name="connsiteX106" fmla="*/ 2076490 w 2656062"/>
              <a:gd name="connsiteY106" fmla="*/ 952788 h 1983721"/>
              <a:gd name="connsiteX107" fmla="*/ 1971154 w 2656062"/>
              <a:gd name="connsiteY107" fmla="*/ 905231 h 1983721"/>
              <a:gd name="connsiteX108" fmla="*/ 1865152 w 2656062"/>
              <a:gd name="connsiteY108" fmla="*/ 852785 h 1983721"/>
              <a:gd name="connsiteX109" fmla="*/ 1899819 w 2656062"/>
              <a:gd name="connsiteY109" fmla="*/ 1163904 h 1983721"/>
              <a:gd name="connsiteX110" fmla="*/ 2027378 w 2656062"/>
              <a:gd name="connsiteY110" fmla="*/ 1304352 h 1983721"/>
              <a:gd name="connsiteX111" fmla="*/ 2219827 w 2656062"/>
              <a:gd name="connsiteY111" fmla="*/ 1491023 h 1983721"/>
              <a:gd name="connsiteX112" fmla="*/ 2358497 w 2656062"/>
              <a:gd name="connsiteY112" fmla="*/ 1587025 h 1983721"/>
              <a:gd name="connsiteX113" fmla="*/ 2554057 w 2656062"/>
              <a:gd name="connsiteY113" fmla="*/ 1768362 h 1983721"/>
              <a:gd name="connsiteX114" fmla="*/ 2642948 w 2656062"/>
              <a:gd name="connsiteY114" fmla="*/ 1903477 h 1983721"/>
              <a:gd name="connsiteX115" fmla="*/ 2639392 w 2656062"/>
              <a:gd name="connsiteY115" fmla="*/ 1974589 h 1983721"/>
              <a:gd name="connsiteX116" fmla="*/ 2561168 w 2656062"/>
              <a:gd name="connsiteY116" fmla="*/ 1981701 h 1983721"/>
              <a:gd name="connsiteX117" fmla="*/ 2524500 w 2656062"/>
              <a:gd name="connsiteY117" fmla="*/ 1935255 h 1983721"/>
              <a:gd name="connsiteX118" fmla="*/ 2486500 w 2656062"/>
              <a:gd name="connsiteY118" fmla="*/ 1910588 h 1983721"/>
              <a:gd name="connsiteX119" fmla="*/ 2465166 w 2656062"/>
              <a:gd name="connsiteY119" fmla="*/ 1835919 h 1983721"/>
              <a:gd name="connsiteX120" fmla="*/ 2258939 w 2656062"/>
              <a:gd name="connsiteY120" fmla="*/ 1683027 h 1983721"/>
              <a:gd name="connsiteX121" fmla="*/ 2003155 w 2656062"/>
              <a:gd name="connsiteY121" fmla="*/ 1506134 h 1983721"/>
              <a:gd name="connsiteX122" fmla="*/ 1807373 w 2656062"/>
              <a:gd name="connsiteY122" fmla="*/ 1377242 h 1983721"/>
              <a:gd name="connsiteX123" fmla="*/ 1697148 w 2656062"/>
              <a:gd name="connsiteY123" fmla="*/ 1363020 h 1983721"/>
              <a:gd name="connsiteX124" fmla="*/ 1441142 w 2656062"/>
              <a:gd name="connsiteY124" fmla="*/ 1483911 h 1983721"/>
              <a:gd name="connsiteX125" fmla="*/ 1473587 w 2656062"/>
              <a:gd name="connsiteY125" fmla="*/ 1510579 h 1983721"/>
              <a:gd name="connsiteX126" fmla="*/ 1551367 w 2656062"/>
              <a:gd name="connsiteY126" fmla="*/ 1704361 h 1983721"/>
              <a:gd name="connsiteX127" fmla="*/ 1583368 w 2656062"/>
              <a:gd name="connsiteY127" fmla="*/ 1753473 h 1983721"/>
              <a:gd name="connsiteX128" fmla="*/ 1578701 w 2656062"/>
              <a:gd name="connsiteY128" fmla="*/ 1817475 h 1983721"/>
              <a:gd name="connsiteX129" fmla="*/ 1508477 w 2656062"/>
              <a:gd name="connsiteY129" fmla="*/ 1841920 h 1983721"/>
              <a:gd name="connsiteX130" fmla="*/ 1444698 w 2656062"/>
              <a:gd name="connsiteY130" fmla="*/ 1882143 h 1983721"/>
              <a:gd name="connsiteX131" fmla="*/ 1370696 w 2656062"/>
              <a:gd name="connsiteY131" fmla="*/ 1895921 h 1983721"/>
              <a:gd name="connsiteX132" fmla="*/ 1342918 w 2656062"/>
              <a:gd name="connsiteY132" fmla="*/ 1853920 h 1983721"/>
              <a:gd name="connsiteX133" fmla="*/ 1458920 w 2656062"/>
              <a:gd name="connsiteY133" fmla="*/ 1747028 h 1983721"/>
              <a:gd name="connsiteX134" fmla="*/ 1334473 w 2656062"/>
              <a:gd name="connsiteY134" fmla="*/ 1581469 h 1983721"/>
              <a:gd name="connsiteX135" fmla="*/ 1277583 w 2656062"/>
              <a:gd name="connsiteY135" fmla="*/ 1437688 h 1983721"/>
              <a:gd name="connsiteX136" fmla="*/ 1377807 w 2656062"/>
              <a:gd name="connsiteY136" fmla="*/ 1298574 h 1983721"/>
              <a:gd name="connsiteX137" fmla="*/ 1538255 w 2656062"/>
              <a:gd name="connsiteY137" fmla="*/ 1165237 h 1983721"/>
              <a:gd name="connsiteX138" fmla="*/ 1505143 w 2656062"/>
              <a:gd name="connsiteY138" fmla="*/ 993233 h 1983721"/>
              <a:gd name="connsiteX139" fmla="*/ 1499810 w 2656062"/>
              <a:gd name="connsiteY139" fmla="*/ 781673 h 1983721"/>
              <a:gd name="connsiteX140" fmla="*/ 1476698 w 2656062"/>
              <a:gd name="connsiteY140" fmla="*/ 715004 h 1983721"/>
              <a:gd name="connsiteX141" fmla="*/ 1382918 w 2656062"/>
              <a:gd name="connsiteY141" fmla="*/ 671892 h 1983721"/>
              <a:gd name="connsiteX142" fmla="*/ 1318695 w 2656062"/>
              <a:gd name="connsiteY142" fmla="*/ 601446 h 1983721"/>
              <a:gd name="connsiteX143" fmla="*/ 1252693 w 2656062"/>
              <a:gd name="connsiteY143" fmla="*/ 520333 h 1983721"/>
              <a:gd name="connsiteX144" fmla="*/ 1256249 w 2656062"/>
              <a:gd name="connsiteY144" fmla="*/ 260772 h 1983721"/>
              <a:gd name="connsiteX145" fmla="*/ 1269235 w 2656062"/>
              <a:gd name="connsiteY145" fmla="*/ 191090 h 1983721"/>
              <a:gd name="connsiteX146" fmla="*/ 1270136 w 2656062"/>
              <a:gd name="connsiteY146" fmla="*/ 188585 h 1983721"/>
              <a:gd name="connsiteX147" fmla="*/ 1193367 w 2656062"/>
              <a:gd name="connsiteY147" fmla="*/ 173092 h 1983721"/>
              <a:gd name="connsiteX148" fmla="*/ 1193483 w 2656062"/>
              <a:gd name="connsiteY148" fmla="*/ 171835 h 1983721"/>
              <a:gd name="connsiteX149" fmla="*/ 1172800 w 2656062"/>
              <a:gd name="connsiteY149" fmla="*/ 143526 h 1983721"/>
              <a:gd name="connsiteX150" fmla="*/ 1197522 w 2656062"/>
              <a:gd name="connsiteY150" fmla="*/ 122579 h 1983721"/>
              <a:gd name="connsiteX151" fmla="*/ 1198003 w 2656062"/>
              <a:gd name="connsiteY151" fmla="*/ 122711 h 1983721"/>
              <a:gd name="connsiteX152" fmla="*/ 1198052 w 2656062"/>
              <a:gd name="connsiteY152" fmla="*/ 122176 h 1983721"/>
              <a:gd name="connsiteX153" fmla="*/ 1292764 w 2656062"/>
              <a:gd name="connsiteY153" fmla="*/ 138827 h 1983721"/>
              <a:gd name="connsiteX154" fmla="*/ 1295680 w 2656062"/>
              <a:gd name="connsiteY154" fmla="*/ 134783 h 1983721"/>
              <a:gd name="connsiteX155" fmla="*/ 1306028 w 2656062"/>
              <a:gd name="connsiteY155" fmla="*/ 122102 h 1983721"/>
              <a:gd name="connsiteX156" fmla="*/ 1311345 w 2656062"/>
              <a:gd name="connsiteY156" fmla="*/ 120248 h 1983721"/>
              <a:gd name="connsiteX157" fmla="*/ 307081 w 2656062"/>
              <a:gd name="connsiteY157" fmla="*/ 39508 h 1983721"/>
              <a:gd name="connsiteX158" fmla="*/ 298062 w 2656062"/>
              <a:gd name="connsiteY158" fmla="*/ 53364 h 1983721"/>
              <a:gd name="connsiteX159" fmla="*/ 290942 w 2656062"/>
              <a:gd name="connsiteY159" fmla="*/ 589560 h 1983721"/>
              <a:gd name="connsiteX160" fmla="*/ 305657 w 2656062"/>
              <a:gd name="connsiteY160" fmla="*/ 588867 h 1983721"/>
              <a:gd name="connsiteX161" fmla="*/ 307081 w 2656062"/>
              <a:gd name="connsiteY161" fmla="*/ 39508 h 1983721"/>
              <a:gd name="connsiteX162" fmla="*/ 327686 w 2656062"/>
              <a:gd name="connsiteY162" fmla="*/ 0 h 1983721"/>
              <a:gd name="connsiteX163" fmla="*/ 330661 w 2656062"/>
              <a:gd name="connsiteY163" fmla="*/ 612116 h 1983721"/>
              <a:gd name="connsiteX164" fmla="*/ 366598 w 2656062"/>
              <a:gd name="connsiteY164" fmla="*/ 621571 h 1983721"/>
              <a:gd name="connsiteX165" fmla="*/ 339029 w 2656062"/>
              <a:gd name="connsiteY165" fmla="*/ 638133 h 1983721"/>
              <a:gd name="connsiteX166" fmla="*/ 342547 w 2656062"/>
              <a:gd name="connsiteY166" fmla="*/ 730398 h 1983721"/>
              <a:gd name="connsiteX167" fmla="*/ 351861 w 2656062"/>
              <a:gd name="connsiteY167" fmla="*/ 732300 h 1983721"/>
              <a:gd name="connsiteX168" fmla="*/ 381186 w 2656062"/>
              <a:gd name="connsiteY168" fmla="*/ 754745 h 1983721"/>
              <a:gd name="connsiteX169" fmla="*/ 521148 w 2656062"/>
              <a:gd name="connsiteY169" fmla="*/ 734243 h 1983721"/>
              <a:gd name="connsiteX170" fmla="*/ 614343 w 2656062"/>
              <a:gd name="connsiteY170" fmla="*/ 693798 h 1983721"/>
              <a:gd name="connsiteX171" fmla="*/ 661110 w 2656062"/>
              <a:gd name="connsiteY171" fmla="*/ 570450 h 1983721"/>
              <a:gd name="connsiteX172" fmla="*/ 769196 w 2656062"/>
              <a:gd name="connsiteY172" fmla="*/ 468736 h 1983721"/>
              <a:gd name="connsiteX173" fmla="*/ 780824 w 2656062"/>
              <a:gd name="connsiteY173" fmla="*/ 436369 h 1983721"/>
              <a:gd name="connsiteX174" fmla="*/ 775280 w 2656062"/>
              <a:gd name="connsiteY174" fmla="*/ 417017 h 1983721"/>
              <a:gd name="connsiteX175" fmla="*/ 717477 w 2656062"/>
              <a:gd name="connsiteY175" fmla="*/ 413975 h 1983721"/>
              <a:gd name="connsiteX176" fmla="*/ 693139 w 2656062"/>
              <a:gd name="connsiteY176" fmla="*/ 353129 h 1983721"/>
              <a:gd name="connsiteX177" fmla="*/ 677369 w 2656062"/>
              <a:gd name="connsiteY177" fmla="*/ 334300 h 1983721"/>
              <a:gd name="connsiteX178" fmla="*/ 687054 w 2656062"/>
              <a:gd name="connsiteY178" fmla="*/ 295325 h 1983721"/>
              <a:gd name="connsiteX179" fmla="*/ 697837 w 2656062"/>
              <a:gd name="connsiteY179" fmla="*/ 199358 h 1983721"/>
              <a:gd name="connsiteX180" fmla="*/ 794345 w 2656062"/>
              <a:gd name="connsiteY180" fmla="*/ 148451 h 1983721"/>
              <a:gd name="connsiteX181" fmla="*/ 898933 w 2656062"/>
              <a:gd name="connsiteY181" fmla="*/ 219809 h 1983721"/>
              <a:gd name="connsiteX182" fmla="*/ 878718 w 2656062"/>
              <a:gd name="connsiteY182" fmla="*/ 371383 h 1983721"/>
              <a:gd name="connsiteX183" fmla="*/ 896972 w 2656062"/>
              <a:gd name="connsiteY183" fmla="*/ 410932 h 1983721"/>
              <a:gd name="connsiteX184" fmla="*/ 985198 w 2656062"/>
              <a:gd name="connsiteY184" fmla="*/ 450482 h 1983721"/>
              <a:gd name="connsiteX185" fmla="*/ 1018664 w 2656062"/>
              <a:gd name="connsiteY185" fmla="*/ 626935 h 1983721"/>
              <a:gd name="connsiteX186" fmla="*/ 976325 w 2656062"/>
              <a:gd name="connsiteY186" fmla="*/ 866279 h 1983721"/>
              <a:gd name="connsiteX187" fmla="*/ 978843 w 2656062"/>
              <a:gd name="connsiteY187" fmla="*/ 1037593 h 1983721"/>
              <a:gd name="connsiteX188" fmla="*/ 969987 w 2656062"/>
              <a:gd name="connsiteY188" fmla="*/ 1174547 h 1983721"/>
              <a:gd name="connsiteX189" fmla="*/ 1033875 w 2656062"/>
              <a:gd name="connsiteY189" fmla="*/ 1417930 h 1983721"/>
              <a:gd name="connsiteX190" fmla="*/ 1033875 w 2656062"/>
              <a:gd name="connsiteY190" fmla="*/ 1524410 h 1983721"/>
              <a:gd name="connsiteX191" fmla="*/ 947305 w 2656062"/>
              <a:gd name="connsiteY191" fmla="*/ 1757872 h 1983721"/>
              <a:gd name="connsiteX192" fmla="*/ 954792 w 2656062"/>
              <a:gd name="connsiteY192" fmla="*/ 1846335 h 1983721"/>
              <a:gd name="connsiteX193" fmla="*/ 986331 w 2656062"/>
              <a:gd name="connsiteY193" fmla="*/ 1940984 h 1983721"/>
              <a:gd name="connsiteX194" fmla="*/ 919096 w 2656062"/>
              <a:gd name="connsiteY194" fmla="*/ 1982123 h 1983721"/>
              <a:gd name="connsiteX195" fmla="*/ 878448 w 2656062"/>
              <a:gd name="connsiteY195" fmla="*/ 1890059 h 1983721"/>
              <a:gd name="connsiteX196" fmla="*/ 837242 w 2656062"/>
              <a:gd name="connsiteY196" fmla="*/ 1841095 h 1983721"/>
              <a:gd name="connsiteX197" fmla="*/ 830295 w 2656062"/>
              <a:gd name="connsiteY197" fmla="*/ 1794582 h 1983721"/>
              <a:gd name="connsiteX198" fmla="*/ 851337 w 2656062"/>
              <a:gd name="connsiteY198" fmla="*/ 1752582 h 1983721"/>
              <a:gd name="connsiteX199" fmla="*/ 857422 w 2656062"/>
              <a:gd name="connsiteY199" fmla="*/ 1618721 h 1983721"/>
              <a:gd name="connsiteX200" fmla="*/ 883721 w 2656062"/>
              <a:gd name="connsiteY200" fmla="*/ 1490928 h 1983721"/>
              <a:gd name="connsiteX201" fmla="*/ 830025 w 2656062"/>
              <a:gd name="connsiteY201" fmla="*/ 1352943 h 1983721"/>
              <a:gd name="connsiteX202" fmla="*/ 760069 w 2656062"/>
              <a:gd name="connsiteY202" fmla="*/ 1226266 h 1983721"/>
              <a:gd name="connsiteX203" fmla="*/ 626191 w 2656062"/>
              <a:gd name="connsiteY203" fmla="*/ 1342447 h 1983721"/>
              <a:gd name="connsiteX204" fmla="*/ 482392 w 2656062"/>
              <a:gd name="connsiteY204" fmla="*/ 1456178 h 1983721"/>
              <a:gd name="connsiteX205" fmla="*/ 410780 w 2656062"/>
              <a:gd name="connsiteY205" fmla="*/ 1593081 h 1983721"/>
              <a:gd name="connsiteX206" fmla="*/ 319765 w 2656062"/>
              <a:gd name="connsiteY206" fmla="*/ 1703973 h 1983721"/>
              <a:gd name="connsiteX207" fmla="*/ 305433 w 2656062"/>
              <a:gd name="connsiteY207" fmla="*/ 1781315 h 1983721"/>
              <a:gd name="connsiteX208" fmla="*/ 279151 w 2656062"/>
              <a:gd name="connsiteY208" fmla="*/ 1806802 h 1983721"/>
              <a:gd name="connsiteX209" fmla="*/ 209414 w 2656062"/>
              <a:gd name="connsiteY209" fmla="*/ 1801258 h 1983721"/>
              <a:gd name="connsiteX210" fmla="*/ 36004 w 2656062"/>
              <a:gd name="connsiteY210" fmla="*/ 1810385 h 1983721"/>
              <a:gd name="connsiteX211" fmla="*/ 3367 w 2656062"/>
              <a:gd name="connsiteY211" fmla="*/ 1768334 h 1983721"/>
              <a:gd name="connsiteX212" fmla="*/ 87723 w 2656062"/>
              <a:gd name="connsiteY212" fmla="*/ 1749540 h 1983721"/>
              <a:gd name="connsiteX213" fmla="*/ 184806 w 2656062"/>
              <a:gd name="connsiteY213" fmla="*/ 1689809 h 1983721"/>
              <a:gd name="connsiteX214" fmla="*/ 324514 w 2656062"/>
              <a:gd name="connsiteY214" fmla="*/ 1446578 h 1983721"/>
              <a:gd name="connsiteX215" fmla="*/ 361275 w 2656062"/>
              <a:gd name="connsiteY215" fmla="*/ 1338763 h 1983721"/>
              <a:gd name="connsiteX216" fmla="*/ 397225 w 2656062"/>
              <a:gd name="connsiteY216" fmla="*/ 1286030 h 1983721"/>
              <a:gd name="connsiteX217" fmla="*/ 496928 w 2656062"/>
              <a:gd name="connsiteY217" fmla="*/ 1154552 h 1983721"/>
              <a:gd name="connsiteX218" fmla="*/ 620158 w 2656062"/>
              <a:gd name="connsiteY218" fmla="*/ 1021232 h 1983721"/>
              <a:gd name="connsiteX219" fmla="*/ 647369 w 2656062"/>
              <a:gd name="connsiteY219" fmla="*/ 858081 h 1983721"/>
              <a:gd name="connsiteX220" fmla="*/ 590275 w 2656062"/>
              <a:gd name="connsiteY220" fmla="*/ 866431 h 1983721"/>
              <a:gd name="connsiteX221" fmla="*/ 403546 w 2656062"/>
              <a:gd name="connsiteY221" fmla="*/ 880831 h 1983721"/>
              <a:gd name="connsiteX222" fmla="*/ 358233 w 2656062"/>
              <a:gd name="connsiteY222" fmla="*/ 896042 h 1983721"/>
              <a:gd name="connsiteX223" fmla="*/ 351005 w 2656062"/>
              <a:gd name="connsiteY223" fmla="*/ 896316 h 1983721"/>
              <a:gd name="connsiteX224" fmla="*/ 355305 w 2656062"/>
              <a:gd name="connsiteY224" fmla="*/ 967345 h 1983721"/>
              <a:gd name="connsiteX225" fmla="*/ 354145 w 2656062"/>
              <a:gd name="connsiteY225" fmla="*/ 967544 h 1983721"/>
              <a:gd name="connsiteX226" fmla="*/ 333657 w 2656062"/>
              <a:gd name="connsiteY226" fmla="*/ 992983 h 1983721"/>
              <a:gd name="connsiteX227" fmla="*/ 308844 w 2656062"/>
              <a:gd name="connsiteY227" fmla="*/ 975786 h 1983721"/>
              <a:gd name="connsiteX228" fmla="*/ 308847 w 2656062"/>
              <a:gd name="connsiteY228" fmla="*/ 975322 h 1983721"/>
              <a:gd name="connsiteX229" fmla="*/ 308353 w 2656062"/>
              <a:gd name="connsiteY229" fmla="*/ 975407 h 1983721"/>
              <a:gd name="connsiteX230" fmla="*/ 301256 w 2656062"/>
              <a:gd name="connsiteY230" fmla="*/ 894751 h 1983721"/>
              <a:gd name="connsiteX231" fmla="*/ 299605 w 2656062"/>
              <a:gd name="connsiteY231" fmla="*/ 894617 h 1983721"/>
              <a:gd name="connsiteX232" fmla="*/ 285472 w 2656062"/>
              <a:gd name="connsiteY232" fmla="*/ 891614 h 1983721"/>
              <a:gd name="connsiteX233" fmla="*/ 279624 w 2656062"/>
              <a:gd name="connsiteY233" fmla="*/ 878566 h 1983721"/>
              <a:gd name="connsiteX234" fmla="*/ 282936 w 2656062"/>
              <a:gd name="connsiteY234" fmla="*/ 867800 h 1983721"/>
              <a:gd name="connsiteX235" fmla="*/ 273827 w 2656062"/>
              <a:gd name="connsiteY235" fmla="*/ 857034 h 1983721"/>
              <a:gd name="connsiteX236" fmla="*/ 277967 w 2656062"/>
              <a:gd name="connsiteY236" fmla="*/ 842126 h 1983721"/>
              <a:gd name="connsiteX237" fmla="*/ 270514 w 2656062"/>
              <a:gd name="connsiteY237" fmla="*/ 833845 h 1983721"/>
              <a:gd name="connsiteX238" fmla="*/ 275483 w 2656062"/>
              <a:gd name="connsiteY238" fmla="*/ 819766 h 1983721"/>
              <a:gd name="connsiteX239" fmla="*/ 268857 w 2656062"/>
              <a:gd name="connsiteY239" fmla="*/ 808999 h 1983721"/>
              <a:gd name="connsiteX240" fmla="*/ 272998 w 2656062"/>
              <a:gd name="connsiteY240" fmla="*/ 794092 h 1983721"/>
              <a:gd name="connsiteX241" fmla="*/ 268857 w 2656062"/>
              <a:gd name="connsiteY241" fmla="*/ 781669 h 1983721"/>
              <a:gd name="connsiteX242" fmla="*/ 275483 w 2656062"/>
              <a:gd name="connsiteY242" fmla="*/ 771731 h 1983721"/>
              <a:gd name="connsiteX243" fmla="*/ 268604 w 2656062"/>
              <a:gd name="connsiteY243" fmla="*/ 755269 h 1983721"/>
              <a:gd name="connsiteX244" fmla="*/ 277460 w 2656062"/>
              <a:gd name="connsiteY244" fmla="*/ 739499 h 1983721"/>
              <a:gd name="connsiteX245" fmla="*/ 288834 w 2656062"/>
              <a:gd name="connsiteY245" fmla="*/ 735861 h 1983721"/>
              <a:gd name="connsiteX246" fmla="*/ 282754 w 2656062"/>
              <a:gd name="connsiteY246" fmla="*/ 645353 h 1983721"/>
              <a:gd name="connsiteX247" fmla="*/ 253100 w 2656062"/>
              <a:gd name="connsiteY247" fmla="*/ 635977 h 1983721"/>
              <a:gd name="connsiteX248" fmla="*/ 289569 w 2656062"/>
              <a:gd name="connsiteY248" fmla="*/ 617149 h 1983721"/>
              <a:gd name="connsiteX249" fmla="*/ 295464 w 2656062"/>
              <a:gd name="connsiteY249" fmla="*/ 51054 h 1983721"/>
              <a:gd name="connsiteX250" fmla="*/ 327686 w 2656062"/>
              <a:gd name="connsiteY250" fmla="*/ 0 h 1983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</a:cxnLst>
            <a:rect l="l" t="t" r="r" b="b"/>
            <a:pathLst>
              <a:path w="2656062" h="1983721">
                <a:moveTo>
                  <a:pt x="327845" y="931191"/>
                </a:moveTo>
                <a:lnTo>
                  <a:pt x="314687" y="944151"/>
                </a:lnTo>
                <a:lnTo>
                  <a:pt x="329282" y="953260"/>
                </a:lnTo>
                <a:lnTo>
                  <a:pt x="342440" y="940301"/>
                </a:lnTo>
                <a:close/>
                <a:moveTo>
                  <a:pt x="324675" y="903210"/>
                </a:moveTo>
                <a:lnTo>
                  <a:pt x="311517" y="916169"/>
                </a:lnTo>
                <a:lnTo>
                  <a:pt x="326112" y="925278"/>
                </a:lnTo>
                <a:lnTo>
                  <a:pt x="339270" y="912319"/>
                </a:lnTo>
                <a:close/>
                <a:moveTo>
                  <a:pt x="322488" y="896315"/>
                </a:moveTo>
                <a:lnTo>
                  <a:pt x="324060" y="897297"/>
                </a:lnTo>
                <a:lnTo>
                  <a:pt x="325005" y="896366"/>
                </a:lnTo>
                <a:close/>
                <a:moveTo>
                  <a:pt x="312179" y="707339"/>
                </a:moveTo>
                <a:lnTo>
                  <a:pt x="299022" y="720298"/>
                </a:lnTo>
                <a:lnTo>
                  <a:pt x="313617" y="729407"/>
                </a:lnTo>
                <a:lnTo>
                  <a:pt x="326774" y="716448"/>
                </a:lnTo>
                <a:close/>
                <a:moveTo>
                  <a:pt x="311826" y="679357"/>
                </a:moveTo>
                <a:lnTo>
                  <a:pt x="298668" y="692316"/>
                </a:lnTo>
                <a:lnTo>
                  <a:pt x="313263" y="701426"/>
                </a:lnTo>
                <a:lnTo>
                  <a:pt x="326421" y="688467"/>
                </a:lnTo>
                <a:close/>
                <a:moveTo>
                  <a:pt x="1602918" y="211312"/>
                </a:moveTo>
                <a:lnTo>
                  <a:pt x="1599549" y="226760"/>
                </a:lnTo>
                <a:cubicBezTo>
                  <a:pt x="1795159" y="273372"/>
                  <a:pt x="1901211" y="286491"/>
                  <a:pt x="2168705" y="380848"/>
                </a:cubicBezTo>
                <a:lnTo>
                  <a:pt x="2156846" y="367648"/>
                </a:lnTo>
                <a:cubicBezTo>
                  <a:pt x="1989947" y="300071"/>
                  <a:pt x="1887618" y="278805"/>
                  <a:pt x="1602918" y="211312"/>
                </a:cubicBezTo>
                <a:close/>
                <a:moveTo>
                  <a:pt x="1494239" y="190777"/>
                </a:moveTo>
                <a:lnTo>
                  <a:pt x="1480740" y="203377"/>
                </a:lnTo>
                <a:lnTo>
                  <a:pt x="1490521" y="220619"/>
                </a:lnTo>
                <a:lnTo>
                  <a:pt x="1504019" y="208018"/>
                </a:lnTo>
                <a:close/>
                <a:moveTo>
                  <a:pt x="1465130" y="183370"/>
                </a:moveTo>
                <a:lnTo>
                  <a:pt x="1451631" y="195971"/>
                </a:lnTo>
                <a:lnTo>
                  <a:pt x="1461412" y="213212"/>
                </a:lnTo>
                <a:lnTo>
                  <a:pt x="1474911" y="200611"/>
                </a:lnTo>
                <a:close/>
                <a:moveTo>
                  <a:pt x="1435692" y="177197"/>
                </a:moveTo>
                <a:lnTo>
                  <a:pt x="1422193" y="189798"/>
                </a:lnTo>
                <a:lnTo>
                  <a:pt x="1431973" y="207039"/>
                </a:lnTo>
                <a:lnTo>
                  <a:pt x="1445472" y="194438"/>
                </a:lnTo>
                <a:close/>
                <a:moveTo>
                  <a:pt x="1406384" y="170533"/>
                </a:moveTo>
                <a:lnTo>
                  <a:pt x="1400895" y="175657"/>
                </a:lnTo>
                <a:lnTo>
                  <a:pt x="1401976" y="199159"/>
                </a:lnTo>
                <a:lnTo>
                  <a:pt x="1402666" y="200375"/>
                </a:lnTo>
                <a:lnTo>
                  <a:pt x="1416165" y="187774"/>
                </a:lnTo>
                <a:close/>
                <a:moveTo>
                  <a:pt x="1284051" y="151402"/>
                </a:moveTo>
                <a:lnTo>
                  <a:pt x="1274670" y="160159"/>
                </a:lnTo>
                <a:lnTo>
                  <a:pt x="1278198" y="166379"/>
                </a:lnTo>
                <a:close/>
                <a:moveTo>
                  <a:pt x="1258589" y="141912"/>
                </a:moveTo>
                <a:lnTo>
                  <a:pt x="1245090" y="154513"/>
                </a:lnTo>
                <a:lnTo>
                  <a:pt x="1254870" y="171754"/>
                </a:lnTo>
                <a:lnTo>
                  <a:pt x="1268369" y="159153"/>
                </a:lnTo>
                <a:close/>
                <a:moveTo>
                  <a:pt x="1228698" y="137425"/>
                </a:moveTo>
                <a:lnTo>
                  <a:pt x="1215199" y="150026"/>
                </a:lnTo>
                <a:lnTo>
                  <a:pt x="1224979" y="167268"/>
                </a:lnTo>
                <a:lnTo>
                  <a:pt x="1238478" y="154667"/>
                </a:lnTo>
                <a:close/>
                <a:moveTo>
                  <a:pt x="1311345" y="120248"/>
                </a:moveTo>
                <a:cubicBezTo>
                  <a:pt x="1316632" y="119706"/>
                  <a:pt x="1321862" y="122519"/>
                  <a:pt x="1327362" y="123435"/>
                </a:cubicBezTo>
                <a:cubicBezTo>
                  <a:pt x="1334695" y="124658"/>
                  <a:pt x="1337251" y="121880"/>
                  <a:pt x="1342695" y="122769"/>
                </a:cubicBezTo>
                <a:cubicBezTo>
                  <a:pt x="1348140" y="123657"/>
                  <a:pt x="1349029" y="127324"/>
                  <a:pt x="1352696" y="129435"/>
                </a:cubicBezTo>
                <a:cubicBezTo>
                  <a:pt x="1356362" y="131546"/>
                  <a:pt x="1359696" y="129880"/>
                  <a:pt x="1364696" y="130102"/>
                </a:cubicBezTo>
                <a:cubicBezTo>
                  <a:pt x="1369696" y="130324"/>
                  <a:pt x="1371029" y="135547"/>
                  <a:pt x="1374696" y="137436"/>
                </a:cubicBezTo>
                <a:cubicBezTo>
                  <a:pt x="1378363" y="139324"/>
                  <a:pt x="1384067" y="134287"/>
                  <a:pt x="1388030" y="135435"/>
                </a:cubicBezTo>
                <a:cubicBezTo>
                  <a:pt x="1391993" y="136584"/>
                  <a:pt x="1396141" y="136176"/>
                  <a:pt x="1398474" y="146991"/>
                </a:cubicBezTo>
                <a:cubicBezTo>
                  <a:pt x="1399058" y="149695"/>
                  <a:pt x="1399498" y="153269"/>
                  <a:pt x="1399848" y="157387"/>
                </a:cubicBezTo>
                <a:lnTo>
                  <a:pt x="1399900" y="158245"/>
                </a:lnTo>
                <a:lnTo>
                  <a:pt x="1547349" y="187323"/>
                </a:lnTo>
                <a:cubicBezTo>
                  <a:pt x="1552511" y="169382"/>
                  <a:pt x="1559380" y="157969"/>
                  <a:pt x="1565308" y="159185"/>
                </a:cubicBezTo>
                <a:cubicBezTo>
                  <a:pt x="1572159" y="160590"/>
                  <a:pt x="1575723" y="178446"/>
                  <a:pt x="1574697" y="202225"/>
                </a:cubicBezTo>
                <a:cubicBezTo>
                  <a:pt x="1767434" y="248532"/>
                  <a:pt x="1961145" y="287334"/>
                  <a:pt x="2159962" y="365597"/>
                </a:cubicBezTo>
                <a:cubicBezTo>
                  <a:pt x="2182098" y="381417"/>
                  <a:pt x="2192209" y="391969"/>
                  <a:pt x="2203942" y="413185"/>
                </a:cubicBezTo>
                <a:cubicBezTo>
                  <a:pt x="1979135" y="344263"/>
                  <a:pt x="1803164" y="296281"/>
                  <a:pt x="1568500" y="246225"/>
                </a:cubicBezTo>
                <a:cubicBezTo>
                  <a:pt x="1563122" y="267831"/>
                  <a:pt x="1555331" y="282214"/>
                  <a:pt x="1548713" y="280857"/>
                </a:cubicBezTo>
                <a:cubicBezTo>
                  <a:pt x="1542847" y="279653"/>
                  <a:pt x="1539391" y="266387"/>
                  <a:pt x="1539201" y="247673"/>
                </a:cubicBezTo>
                <a:lnTo>
                  <a:pt x="1387323" y="213121"/>
                </a:lnTo>
                <a:lnTo>
                  <a:pt x="1386828" y="213325"/>
                </a:lnTo>
                <a:cubicBezTo>
                  <a:pt x="1371738" y="218298"/>
                  <a:pt x="1349732" y="220993"/>
                  <a:pt x="1341584" y="228771"/>
                </a:cubicBezTo>
                <a:cubicBezTo>
                  <a:pt x="1335658" y="244179"/>
                  <a:pt x="1319547" y="230808"/>
                  <a:pt x="1323806" y="274994"/>
                </a:cubicBezTo>
                <a:cubicBezTo>
                  <a:pt x="1328065" y="319180"/>
                  <a:pt x="1348103" y="452778"/>
                  <a:pt x="1367140" y="493888"/>
                </a:cubicBezTo>
                <a:cubicBezTo>
                  <a:pt x="1373178" y="506925"/>
                  <a:pt x="1403882" y="517370"/>
                  <a:pt x="1420030" y="529222"/>
                </a:cubicBezTo>
                <a:cubicBezTo>
                  <a:pt x="1436179" y="541075"/>
                  <a:pt x="1445401" y="555557"/>
                  <a:pt x="1464031" y="565001"/>
                </a:cubicBezTo>
                <a:cubicBezTo>
                  <a:pt x="1482661" y="574446"/>
                  <a:pt x="1515588" y="578594"/>
                  <a:pt x="1531811" y="585890"/>
                </a:cubicBezTo>
                <a:cubicBezTo>
                  <a:pt x="1548033" y="593187"/>
                  <a:pt x="1544181" y="602372"/>
                  <a:pt x="1561367" y="608780"/>
                </a:cubicBezTo>
                <a:cubicBezTo>
                  <a:pt x="1578553" y="615187"/>
                  <a:pt x="1597738" y="611817"/>
                  <a:pt x="1634924" y="624336"/>
                </a:cubicBezTo>
                <a:cubicBezTo>
                  <a:pt x="1622924" y="588335"/>
                  <a:pt x="1619146" y="512111"/>
                  <a:pt x="1636035" y="478777"/>
                </a:cubicBezTo>
                <a:cubicBezTo>
                  <a:pt x="1652925" y="445443"/>
                  <a:pt x="1704741" y="423331"/>
                  <a:pt x="1736260" y="424331"/>
                </a:cubicBezTo>
                <a:cubicBezTo>
                  <a:pt x="1767779" y="425331"/>
                  <a:pt x="1810336" y="451591"/>
                  <a:pt x="1825151" y="484777"/>
                </a:cubicBezTo>
                <a:cubicBezTo>
                  <a:pt x="1839966" y="517963"/>
                  <a:pt x="1827521" y="592039"/>
                  <a:pt x="1825151" y="623447"/>
                </a:cubicBezTo>
                <a:cubicBezTo>
                  <a:pt x="1822781" y="654855"/>
                  <a:pt x="1804854" y="660781"/>
                  <a:pt x="1810928" y="673226"/>
                </a:cubicBezTo>
                <a:cubicBezTo>
                  <a:pt x="1817003" y="685670"/>
                  <a:pt x="1844114" y="691448"/>
                  <a:pt x="1861596" y="698115"/>
                </a:cubicBezTo>
                <a:cubicBezTo>
                  <a:pt x="1879078" y="704782"/>
                  <a:pt x="1889078" y="698634"/>
                  <a:pt x="1915820" y="713227"/>
                </a:cubicBezTo>
                <a:cubicBezTo>
                  <a:pt x="1942561" y="727819"/>
                  <a:pt x="1982969" y="757376"/>
                  <a:pt x="2022044" y="785673"/>
                </a:cubicBezTo>
                <a:cubicBezTo>
                  <a:pt x="2061119" y="813970"/>
                  <a:pt x="2111083" y="854378"/>
                  <a:pt x="2150270" y="883008"/>
                </a:cubicBezTo>
                <a:cubicBezTo>
                  <a:pt x="2189456" y="911639"/>
                  <a:pt x="2223012" y="928454"/>
                  <a:pt x="2257161" y="957455"/>
                </a:cubicBezTo>
                <a:cubicBezTo>
                  <a:pt x="2291310" y="986455"/>
                  <a:pt x="2317347" y="1020493"/>
                  <a:pt x="2355163" y="1057012"/>
                </a:cubicBezTo>
                <a:cubicBezTo>
                  <a:pt x="2392979" y="1093532"/>
                  <a:pt x="2455240" y="1156385"/>
                  <a:pt x="2484055" y="1176571"/>
                </a:cubicBezTo>
                <a:cubicBezTo>
                  <a:pt x="2510515" y="1195106"/>
                  <a:pt x="2494166" y="1198201"/>
                  <a:pt x="2488055" y="1198127"/>
                </a:cubicBezTo>
                <a:cubicBezTo>
                  <a:pt x="2481944" y="1198053"/>
                  <a:pt x="2443387" y="1169052"/>
                  <a:pt x="2447388" y="1176126"/>
                </a:cubicBezTo>
                <a:cubicBezTo>
                  <a:pt x="2451388" y="1183200"/>
                  <a:pt x="2486389" y="1230461"/>
                  <a:pt x="2492055" y="1243906"/>
                </a:cubicBezTo>
                <a:cubicBezTo>
                  <a:pt x="2497722" y="1257350"/>
                  <a:pt x="2483388" y="1253202"/>
                  <a:pt x="2481388" y="1256795"/>
                </a:cubicBezTo>
                <a:cubicBezTo>
                  <a:pt x="2479388" y="1260388"/>
                  <a:pt x="2484055" y="1266017"/>
                  <a:pt x="2478722" y="1270128"/>
                </a:cubicBezTo>
                <a:cubicBezTo>
                  <a:pt x="2472721" y="1273573"/>
                  <a:pt x="2467832" y="1266795"/>
                  <a:pt x="2465388" y="1268128"/>
                </a:cubicBezTo>
                <a:cubicBezTo>
                  <a:pt x="2462943" y="1269462"/>
                  <a:pt x="2466388" y="1274721"/>
                  <a:pt x="2462055" y="1275462"/>
                </a:cubicBezTo>
                <a:cubicBezTo>
                  <a:pt x="2457721" y="1276203"/>
                  <a:pt x="2459054" y="1282462"/>
                  <a:pt x="2446721" y="1273906"/>
                </a:cubicBezTo>
                <a:cubicBezTo>
                  <a:pt x="2434387" y="1265351"/>
                  <a:pt x="2399794" y="1227053"/>
                  <a:pt x="2388053" y="1224127"/>
                </a:cubicBezTo>
                <a:cubicBezTo>
                  <a:pt x="2376312" y="1221201"/>
                  <a:pt x="2398016" y="1245869"/>
                  <a:pt x="2390942" y="1255017"/>
                </a:cubicBezTo>
                <a:cubicBezTo>
                  <a:pt x="2387830" y="1259042"/>
                  <a:pt x="2384867" y="1265388"/>
                  <a:pt x="2373608" y="1251017"/>
                </a:cubicBezTo>
                <a:cubicBezTo>
                  <a:pt x="2362349" y="1236646"/>
                  <a:pt x="2329045" y="1193700"/>
                  <a:pt x="2323385" y="1168793"/>
                </a:cubicBezTo>
                <a:lnTo>
                  <a:pt x="2312273" y="1110569"/>
                </a:lnTo>
                <a:cubicBezTo>
                  <a:pt x="2289162" y="1083902"/>
                  <a:pt x="2230679" y="1055087"/>
                  <a:pt x="2191382" y="1028790"/>
                </a:cubicBezTo>
                <a:cubicBezTo>
                  <a:pt x="2152084" y="1002493"/>
                  <a:pt x="2113195" y="973381"/>
                  <a:pt x="2076490" y="952788"/>
                </a:cubicBezTo>
                <a:cubicBezTo>
                  <a:pt x="2039785" y="932195"/>
                  <a:pt x="2006378" y="921898"/>
                  <a:pt x="1971154" y="905231"/>
                </a:cubicBezTo>
                <a:cubicBezTo>
                  <a:pt x="1935931" y="888564"/>
                  <a:pt x="1901375" y="872934"/>
                  <a:pt x="1865152" y="852785"/>
                </a:cubicBezTo>
                <a:cubicBezTo>
                  <a:pt x="1849151" y="895453"/>
                  <a:pt x="1872782" y="1088643"/>
                  <a:pt x="1899819" y="1163904"/>
                </a:cubicBezTo>
                <a:cubicBezTo>
                  <a:pt x="1926857" y="1239165"/>
                  <a:pt x="1984858" y="1257536"/>
                  <a:pt x="2027378" y="1304352"/>
                </a:cubicBezTo>
                <a:cubicBezTo>
                  <a:pt x="2076063" y="1363060"/>
                  <a:pt x="2164640" y="1443910"/>
                  <a:pt x="2219827" y="1491023"/>
                </a:cubicBezTo>
                <a:cubicBezTo>
                  <a:pt x="2275013" y="1538135"/>
                  <a:pt x="2312273" y="1555024"/>
                  <a:pt x="2358497" y="1587025"/>
                </a:cubicBezTo>
                <a:cubicBezTo>
                  <a:pt x="2418011" y="1628227"/>
                  <a:pt x="2506648" y="1715620"/>
                  <a:pt x="2554057" y="1768362"/>
                </a:cubicBezTo>
                <a:lnTo>
                  <a:pt x="2642948" y="1903477"/>
                </a:lnTo>
                <a:cubicBezTo>
                  <a:pt x="2663392" y="1934552"/>
                  <a:pt x="2658176" y="1972882"/>
                  <a:pt x="2639392" y="1974589"/>
                </a:cubicBezTo>
                <a:cubicBezTo>
                  <a:pt x="2613317" y="1976960"/>
                  <a:pt x="2580317" y="1988256"/>
                  <a:pt x="2561168" y="1981701"/>
                </a:cubicBezTo>
                <a:cubicBezTo>
                  <a:pt x="2542019" y="1975145"/>
                  <a:pt x="2536945" y="1947107"/>
                  <a:pt x="2524500" y="1935255"/>
                </a:cubicBezTo>
                <a:cubicBezTo>
                  <a:pt x="2511833" y="1927033"/>
                  <a:pt x="2496388" y="1927144"/>
                  <a:pt x="2486500" y="1910588"/>
                </a:cubicBezTo>
                <a:cubicBezTo>
                  <a:pt x="2476611" y="1894032"/>
                  <a:pt x="2503092" y="1873846"/>
                  <a:pt x="2465166" y="1835919"/>
                </a:cubicBezTo>
                <a:cubicBezTo>
                  <a:pt x="2396423" y="1784955"/>
                  <a:pt x="2335940" y="1737991"/>
                  <a:pt x="2258939" y="1683027"/>
                </a:cubicBezTo>
                <a:cubicBezTo>
                  <a:pt x="2181937" y="1628063"/>
                  <a:pt x="2078416" y="1557098"/>
                  <a:pt x="2003155" y="1506134"/>
                </a:cubicBezTo>
                <a:cubicBezTo>
                  <a:pt x="1939672" y="1460948"/>
                  <a:pt x="1858374" y="1401095"/>
                  <a:pt x="1807373" y="1377242"/>
                </a:cubicBezTo>
                <a:cubicBezTo>
                  <a:pt x="1756372" y="1353390"/>
                  <a:pt x="1758186" y="1345241"/>
                  <a:pt x="1697148" y="1363020"/>
                </a:cubicBezTo>
                <a:cubicBezTo>
                  <a:pt x="1636110" y="1380798"/>
                  <a:pt x="1473735" y="1451318"/>
                  <a:pt x="1441142" y="1483911"/>
                </a:cubicBezTo>
                <a:lnTo>
                  <a:pt x="1473587" y="1510579"/>
                </a:lnTo>
                <a:cubicBezTo>
                  <a:pt x="1499433" y="1542506"/>
                  <a:pt x="1533070" y="1663878"/>
                  <a:pt x="1551367" y="1704361"/>
                </a:cubicBezTo>
                <a:cubicBezTo>
                  <a:pt x="1569664" y="1744843"/>
                  <a:pt x="1578812" y="1734621"/>
                  <a:pt x="1583368" y="1753473"/>
                </a:cubicBezTo>
                <a:cubicBezTo>
                  <a:pt x="1587923" y="1772325"/>
                  <a:pt x="1591183" y="1802733"/>
                  <a:pt x="1578701" y="1817475"/>
                </a:cubicBezTo>
                <a:cubicBezTo>
                  <a:pt x="1566219" y="1832216"/>
                  <a:pt x="1530811" y="1831142"/>
                  <a:pt x="1508477" y="1841920"/>
                </a:cubicBezTo>
                <a:cubicBezTo>
                  <a:pt x="1486143" y="1852697"/>
                  <a:pt x="1467661" y="1873143"/>
                  <a:pt x="1444698" y="1882143"/>
                </a:cubicBezTo>
                <a:cubicBezTo>
                  <a:pt x="1421734" y="1891143"/>
                  <a:pt x="1387659" y="1900625"/>
                  <a:pt x="1370696" y="1895921"/>
                </a:cubicBezTo>
                <a:cubicBezTo>
                  <a:pt x="1353732" y="1891217"/>
                  <a:pt x="1328213" y="1878735"/>
                  <a:pt x="1342918" y="1853920"/>
                </a:cubicBezTo>
                <a:cubicBezTo>
                  <a:pt x="1357622" y="1829105"/>
                  <a:pt x="1420253" y="1782659"/>
                  <a:pt x="1458920" y="1747028"/>
                </a:cubicBezTo>
                <a:cubicBezTo>
                  <a:pt x="1450624" y="1704953"/>
                  <a:pt x="1367016" y="1639264"/>
                  <a:pt x="1334473" y="1581469"/>
                </a:cubicBezTo>
                <a:cubicBezTo>
                  <a:pt x="1309184" y="1536557"/>
                  <a:pt x="1270360" y="1484837"/>
                  <a:pt x="1277583" y="1437688"/>
                </a:cubicBezTo>
                <a:cubicBezTo>
                  <a:pt x="1284805" y="1390539"/>
                  <a:pt x="1334362" y="1343982"/>
                  <a:pt x="1377807" y="1298574"/>
                </a:cubicBezTo>
                <a:cubicBezTo>
                  <a:pt x="1421253" y="1253165"/>
                  <a:pt x="1515144" y="1218572"/>
                  <a:pt x="1538255" y="1165237"/>
                </a:cubicBezTo>
                <a:cubicBezTo>
                  <a:pt x="1527218" y="1107902"/>
                  <a:pt x="1511551" y="1057160"/>
                  <a:pt x="1505143" y="993233"/>
                </a:cubicBezTo>
                <a:cubicBezTo>
                  <a:pt x="1498736" y="929306"/>
                  <a:pt x="1504551" y="830266"/>
                  <a:pt x="1499810" y="781673"/>
                </a:cubicBezTo>
                <a:cubicBezTo>
                  <a:pt x="1490328" y="760339"/>
                  <a:pt x="1496180" y="733301"/>
                  <a:pt x="1476698" y="715004"/>
                </a:cubicBezTo>
                <a:cubicBezTo>
                  <a:pt x="1457217" y="696708"/>
                  <a:pt x="1409253" y="690819"/>
                  <a:pt x="1382918" y="671892"/>
                </a:cubicBezTo>
                <a:cubicBezTo>
                  <a:pt x="1356585" y="652966"/>
                  <a:pt x="1340399" y="626706"/>
                  <a:pt x="1318695" y="601446"/>
                </a:cubicBezTo>
                <a:cubicBezTo>
                  <a:pt x="1296991" y="576187"/>
                  <a:pt x="1263101" y="577112"/>
                  <a:pt x="1252693" y="520333"/>
                </a:cubicBezTo>
                <a:cubicBezTo>
                  <a:pt x="1242286" y="463554"/>
                  <a:pt x="1250952" y="322440"/>
                  <a:pt x="1256249" y="260772"/>
                </a:cubicBezTo>
                <a:cubicBezTo>
                  <a:pt x="1258897" y="229938"/>
                  <a:pt x="1263879" y="208104"/>
                  <a:pt x="1269235" y="191090"/>
                </a:cubicBezTo>
                <a:lnTo>
                  <a:pt x="1270136" y="188585"/>
                </a:lnTo>
                <a:lnTo>
                  <a:pt x="1193367" y="173092"/>
                </a:lnTo>
                <a:cubicBezTo>
                  <a:pt x="1193405" y="172673"/>
                  <a:pt x="1193444" y="172254"/>
                  <a:pt x="1193483" y="171835"/>
                </a:cubicBezTo>
                <a:cubicBezTo>
                  <a:pt x="1181221" y="169180"/>
                  <a:pt x="1172068" y="156757"/>
                  <a:pt x="1172800" y="143526"/>
                </a:cubicBezTo>
                <a:cubicBezTo>
                  <a:pt x="1173558" y="129827"/>
                  <a:pt x="1184627" y="120449"/>
                  <a:pt x="1197522" y="122579"/>
                </a:cubicBezTo>
                <a:cubicBezTo>
                  <a:pt x="1197685" y="122606"/>
                  <a:pt x="1197846" y="122634"/>
                  <a:pt x="1198003" y="122711"/>
                </a:cubicBezTo>
                <a:lnTo>
                  <a:pt x="1198052" y="122176"/>
                </a:lnTo>
                <a:lnTo>
                  <a:pt x="1292764" y="138827"/>
                </a:lnTo>
                <a:lnTo>
                  <a:pt x="1295680" y="134783"/>
                </a:lnTo>
                <a:cubicBezTo>
                  <a:pt x="1299139" y="129324"/>
                  <a:pt x="1302454" y="124343"/>
                  <a:pt x="1306028" y="122102"/>
                </a:cubicBezTo>
                <a:cubicBezTo>
                  <a:pt x="1307815" y="120982"/>
                  <a:pt x="1309583" y="120428"/>
                  <a:pt x="1311345" y="120248"/>
                </a:cubicBezTo>
                <a:close/>
                <a:moveTo>
                  <a:pt x="307081" y="39508"/>
                </a:moveTo>
                <a:lnTo>
                  <a:pt x="298062" y="53364"/>
                </a:lnTo>
                <a:cubicBezTo>
                  <a:pt x="277492" y="219857"/>
                  <a:pt x="283030" y="317074"/>
                  <a:pt x="290942" y="589560"/>
                </a:cubicBezTo>
                <a:lnTo>
                  <a:pt x="305657" y="588867"/>
                </a:lnTo>
                <a:cubicBezTo>
                  <a:pt x="300436" y="401591"/>
                  <a:pt x="286669" y="302988"/>
                  <a:pt x="307081" y="39508"/>
                </a:cubicBezTo>
                <a:close/>
                <a:moveTo>
                  <a:pt x="327686" y="0"/>
                </a:moveTo>
                <a:cubicBezTo>
                  <a:pt x="319870" y="218932"/>
                  <a:pt x="319122" y="388863"/>
                  <a:pt x="330661" y="612116"/>
                </a:cubicBezTo>
                <a:cubicBezTo>
                  <a:pt x="351402" y="611745"/>
                  <a:pt x="366224" y="615289"/>
                  <a:pt x="366598" y="621571"/>
                </a:cubicBezTo>
                <a:cubicBezTo>
                  <a:pt x="366930" y="627141"/>
                  <a:pt x="355825" y="633450"/>
                  <a:pt x="339029" y="638133"/>
                </a:cubicBezTo>
                <a:lnTo>
                  <a:pt x="342547" y="730398"/>
                </a:lnTo>
                <a:lnTo>
                  <a:pt x="351861" y="732300"/>
                </a:lnTo>
                <a:cubicBezTo>
                  <a:pt x="367714" y="739649"/>
                  <a:pt x="359044" y="740480"/>
                  <a:pt x="381186" y="754745"/>
                </a:cubicBezTo>
                <a:cubicBezTo>
                  <a:pt x="411608" y="755759"/>
                  <a:pt x="482288" y="744401"/>
                  <a:pt x="521148" y="734243"/>
                </a:cubicBezTo>
                <a:cubicBezTo>
                  <a:pt x="560007" y="724085"/>
                  <a:pt x="591016" y="721097"/>
                  <a:pt x="614343" y="693798"/>
                </a:cubicBezTo>
                <a:cubicBezTo>
                  <a:pt x="637670" y="666499"/>
                  <a:pt x="635301" y="607960"/>
                  <a:pt x="661110" y="570450"/>
                </a:cubicBezTo>
                <a:cubicBezTo>
                  <a:pt x="686919" y="532939"/>
                  <a:pt x="749244" y="491083"/>
                  <a:pt x="769196" y="468736"/>
                </a:cubicBezTo>
                <a:cubicBezTo>
                  <a:pt x="789148" y="446389"/>
                  <a:pt x="779810" y="444989"/>
                  <a:pt x="780824" y="436369"/>
                </a:cubicBezTo>
                <a:lnTo>
                  <a:pt x="775280" y="417017"/>
                </a:lnTo>
                <a:cubicBezTo>
                  <a:pt x="763618" y="413974"/>
                  <a:pt x="731167" y="424623"/>
                  <a:pt x="717477" y="413975"/>
                </a:cubicBezTo>
                <a:cubicBezTo>
                  <a:pt x="703786" y="403327"/>
                  <a:pt x="699823" y="366408"/>
                  <a:pt x="693139" y="353129"/>
                </a:cubicBezTo>
                <a:cubicBezTo>
                  <a:pt x="686454" y="339850"/>
                  <a:pt x="678383" y="343934"/>
                  <a:pt x="677369" y="334300"/>
                </a:cubicBezTo>
                <a:cubicBezTo>
                  <a:pt x="676355" y="324666"/>
                  <a:pt x="683643" y="317816"/>
                  <a:pt x="687054" y="295325"/>
                </a:cubicBezTo>
                <a:cubicBezTo>
                  <a:pt x="690465" y="272835"/>
                  <a:pt x="679955" y="223837"/>
                  <a:pt x="697837" y="199358"/>
                </a:cubicBezTo>
                <a:cubicBezTo>
                  <a:pt x="715719" y="174879"/>
                  <a:pt x="760830" y="145042"/>
                  <a:pt x="794345" y="148451"/>
                </a:cubicBezTo>
                <a:cubicBezTo>
                  <a:pt x="827861" y="151859"/>
                  <a:pt x="882413" y="172706"/>
                  <a:pt x="898933" y="219809"/>
                </a:cubicBezTo>
                <a:cubicBezTo>
                  <a:pt x="923697" y="290417"/>
                  <a:pt x="879045" y="339529"/>
                  <a:pt x="878718" y="371383"/>
                </a:cubicBezTo>
                <a:cubicBezTo>
                  <a:pt x="878392" y="403236"/>
                  <a:pt x="879226" y="397749"/>
                  <a:pt x="896972" y="410932"/>
                </a:cubicBezTo>
                <a:cubicBezTo>
                  <a:pt x="914719" y="424116"/>
                  <a:pt x="964916" y="414482"/>
                  <a:pt x="985198" y="450482"/>
                </a:cubicBezTo>
                <a:cubicBezTo>
                  <a:pt x="1005480" y="486482"/>
                  <a:pt x="1020143" y="557636"/>
                  <a:pt x="1018664" y="626935"/>
                </a:cubicBezTo>
                <a:cubicBezTo>
                  <a:pt x="1017185" y="696234"/>
                  <a:pt x="982962" y="797836"/>
                  <a:pt x="976325" y="866279"/>
                </a:cubicBezTo>
                <a:cubicBezTo>
                  <a:pt x="969689" y="934722"/>
                  <a:pt x="979900" y="986215"/>
                  <a:pt x="978843" y="1037593"/>
                </a:cubicBezTo>
                <a:cubicBezTo>
                  <a:pt x="977787" y="1088971"/>
                  <a:pt x="960815" y="1111157"/>
                  <a:pt x="969987" y="1174547"/>
                </a:cubicBezTo>
                <a:cubicBezTo>
                  <a:pt x="979159" y="1237937"/>
                  <a:pt x="1023227" y="1359619"/>
                  <a:pt x="1033875" y="1417930"/>
                </a:cubicBezTo>
                <a:cubicBezTo>
                  <a:pt x="1044523" y="1476241"/>
                  <a:pt x="1048303" y="1467753"/>
                  <a:pt x="1033875" y="1524410"/>
                </a:cubicBezTo>
                <a:cubicBezTo>
                  <a:pt x="1019447" y="1581067"/>
                  <a:pt x="960485" y="1704218"/>
                  <a:pt x="947305" y="1757872"/>
                </a:cubicBezTo>
                <a:cubicBezTo>
                  <a:pt x="934124" y="1811526"/>
                  <a:pt x="948288" y="1815816"/>
                  <a:pt x="954792" y="1846335"/>
                </a:cubicBezTo>
                <a:cubicBezTo>
                  <a:pt x="961297" y="1876854"/>
                  <a:pt x="992280" y="1918353"/>
                  <a:pt x="986331" y="1940984"/>
                </a:cubicBezTo>
                <a:cubicBezTo>
                  <a:pt x="980381" y="1963615"/>
                  <a:pt x="937077" y="1990610"/>
                  <a:pt x="919096" y="1982123"/>
                </a:cubicBezTo>
                <a:cubicBezTo>
                  <a:pt x="901116" y="1973635"/>
                  <a:pt x="892090" y="1913564"/>
                  <a:pt x="878448" y="1890059"/>
                </a:cubicBezTo>
                <a:cubicBezTo>
                  <a:pt x="864806" y="1866555"/>
                  <a:pt x="845267" y="1857008"/>
                  <a:pt x="837242" y="1841095"/>
                </a:cubicBezTo>
                <a:cubicBezTo>
                  <a:pt x="829216" y="1825183"/>
                  <a:pt x="827946" y="1809335"/>
                  <a:pt x="830295" y="1794582"/>
                </a:cubicBezTo>
                <a:cubicBezTo>
                  <a:pt x="832644" y="1779830"/>
                  <a:pt x="846816" y="1781892"/>
                  <a:pt x="851337" y="1752582"/>
                </a:cubicBezTo>
                <a:cubicBezTo>
                  <a:pt x="855859" y="1723271"/>
                  <a:pt x="852025" y="1662330"/>
                  <a:pt x="857422" y="1618721"/>
                </a:cubicBezTo>
                <a:cubicBezTo>
                  <a:pt x="862820" y="1575112"/>
                  <a:pt x="888288" y="1535224"/>
                  <a:pt x="883721" y="1490928"/>
                </a:cubicBezTo>
                <a:cubicBezTo>
                  <a:pt x="879155" y="1446632"/>
                  <a:pt x="850633" y="1397054"/>
                  <a:pt x="830025" y="1352943"/>
                </a:cubicBezTo>
                <a:cubicBezTo>
                  <a:pt x="809416" y="1308833"/>
                  <a:pt x="794041" y="1226773"/>
                  <a:pt x="760069" y="1226266"/>
                </a:cubicBezTo>
                <a:cubicBezTo>
                  <a:pt x="726097" y="1225759"/>
                  <a:pt x="672471" y="1304129"/>
                  <a:pt x="626191" y="1342447"/>
                </a:cubicBezTo>
                <a:cubicBezTo>
                  <a:pt x="579912" y="1380766"/>
                  <a:pt x="518294" y="1414406"/>
                  <a:pt x="482392" y="1456178"/>
                </a:cubicBezTo>
                <a:cubicBezTo>
                  <a:pt x="446490" y="1497950"/>
                  <a:pt x="437885" y="1551782"/>
                  <a:pt x="410780" y="1593081"/>
                </a:cubicBezTo>
                <a:cubicBezTo>
                  <a:pt x="383676" y="1634380"/>
                  <a:pt x="337323" y="1672601"/>
                  <a:pt x="319765" y="1703973"/>
                </a:cubicBezTo>
                <a:cubicBezTo>
                  <a:pt x="302207" y="1735345"/>
                  <a:pt x="312202" y="1764177"/>
                  <a:pt x="305433" y="1781315"/>
                </a:cubicBezTo>
                <a:cubicBezTo>
                  <a:pt x="298664" y="1798453"/>
                  <a:pt x="295154" y="1803478"/>
                  <a:pt x="279151" y="1806802"/>
                </a:cubicBezTo>
                <a:cubicBezTo>
                  <a:pt x="263148" y="1810126"/>
                  <a:pt x="249939" y="1800661"/>
                  <a:pt x="209414" y="1801258"/>
                </a:cubicBezTo>
                <a:cubicBezTo>
                  <a:pt x="168890" y="1801856"/>
                  <a:pt x="70345" y="1815873"/>
                  <a:pt x="36004" y="1810385"/>
                </a:cubicBezTo>
                <a:cubicBezTo>
                  <a:pt x="1663" y="1804898"/>
                  <a:pt x="-5253" y="1778475"/>
                  <a:pt x="3367" y="1768334"/>
                </a:cubicBezTo>
                <a:cubicBezTo>
                  <a:pt x="11987" y="1758193"/>
                  <a:pt x="57483" y="1762627"/>
                  <a:pt x="87723" y="1749540"/>
                </a:cubicBezTo>
                <a:cubicBezTo>
                  <a:pt x="117963" y="1736452"/>
                  <a:pt x="145340" y="1740303"/>
                  <a:pt x="184806" y="1689809"/>
                </a:cubicBezTo>
                <a:cubicBezTo>
                  <a:pt x="224271" y="1639316"/>
                  <a:pt x="295103" y="1505086"/>
                  <a:pt x="324514" y="1446578"/>
                </a:cubicBezTo>
                <a:cubicBezTo>
                  <a:pt x="353926" y="1388071"/>
                  <a:pt x="349157" y="1365521"/>
                  <a:pt x="361275" y="1338763"/>
                </a:cubicBezTo>
                <a:cubicBezTo>
                  <a:pt x="373394" y="1312005"/>
                  <a:pt x="376687" y="1310659"/>
                  <a:pt x="397225" y="1286030"/>
                </a:cubicBezTo>
                <a:cubicBezTo>
                  <a:pt x="417763" y="1261402"/>
                  <a:pt x="459773" y="1198685"/>
                  <a:pt x="496928" y="1154552"/>
                </a:cubicBezTo>
                <a:cubicBezTo>
                  <a:pt x="534083" y="1110420"/>
                  <a:pt x="595084" y="1070644"/>
                  <a:pt x="620158" y="1021232"/>
                </a:cubicBezTo>
                <a:cubicBezTo>
                  <a:pt x="645231" y="971821"/>
                  <a:pt x="643515" y="878498"/>
                  <a:pt x="647369" y="858081"/>
                </a:cubicBezTo>
                <a:cubicBezTo>
                  <a:pt x="637144" y="856712"/>
                  <a:pt x="630912" y="862639"/>
                  <a:pt x="590275" y="866431"/>
                </a:cubicBezTo>
                <a:cubicBezTo>
                  <a:pt x="549638" y="870222"/>
                  <a:pt x="442220" y="875896"/>
                  <a:pt x="403546" y="880831"/>
                </a:cubicBezTo>
                <a:cubicBezTo>
                  <a:pt x="364873" y="885766"/>
                  <a:pt x="375980" y="894521"/>
                  <a:pt x="358233" y="896042"/>
                </a:cubicBezTo>
                <a:lnTo>
                  <a:pt x="351005" y="896316"/>
                </a:lnTo>
                <a:lnTo>
                  <a:pt x="355305" y="967345"/>
                </a:lnTo>
                <a:lnTo>
                  <a:pt x="354145" y="967544"/>
                </a:lnTo>
                <a:cubicBezTo>
                  <a:pt x="354712" y="979219"/>
                  <a:pt x="345740" y="990452"/>
                  <a:pt x="333657" y="992983"/>
                </a:cubicBezTo>
                <a:cubicBezTo>
                  <a:pt x="321145" y="995605"/>
                  <a:pt x="310036" y="987905"/>
                  <a:pt x="308844" y="975786"/>
                </a:cubicBezTo>
                <a:cubicBezTo>
                  <a:pt x="308829" y="975634"/>
                  <a:pt x="308816" y="975481"/>
                  <a:pt x="308847" y="975322"/>
                </a:cubicBezTo>
                <a:lnTo>
                  <a:pt x="308353" y="975407"/>
                </a:lnTo>
                <a:lnTo>
                  <a:pt x="301256" y="894751"/>
                </a:lnTo>
                <a:lnTo>
                  <a:pt x="299605" y="894617"/>
                </a:lnTo>
                <a:cubicBezTo>
                  <a:pt x="293585" y="893850"/>
                  <a:pt x="288589" y="892857"/>
                  <a:pt x="285472" y="891614"/>
                </a:cubicBezTo>
                <a:cubicBezTo>
                  <a:pt x="278168" y="888701"/>
                  <a:pt x="280046" y="882535"/>
                  <a:pt x="279624" y="878566"/>
                </a:cubicBezTo>
                <a:cubicBezTo>
                  <a:pt x="279201" y="874597"/>
                  <a:pt x="284179" y="872079"/>
                  <a:pt x="282936" y="867800"/>
                </a:cubicBezTo>
                <a:cubicBezTo>
                  <a:pt x="281694" y="863521"/>
                  <a:pt x="273412" y="861451"/>
                  <a:pt x="273827" y="857034"/>
                </a:cubicBezTo>
                <a:cubicBezTo>
                  <a:pt x="274241" y="852617"/>
                  <a:pt x="279624" y="846958"/>
                  <a:pt x="277967" y="842126"/>
                </a:cubicBezTo>
                <a:cubicBezTo>
                  <a:pt x="276311" y="837295"/>
                  <a:pt x="269686" y="837848"/>
                  <a:pt x="270514" y="833845"/>
                </a:cubicBezTo>
                <a:cubicBezTo>
                  <a:pt x="271342" y="829842"/>
                  <a:pt x="275345" y="823492"/>
                  <a:pt x="275483" y="819766"/>
                </a:cubicBezTo>
                <a:cubicBezTo>
                  <a:pt x="275621" y="816039"/>
                  <a:pt x="269824" y="812588"/>
                  <a:pt x="268857" y="808999"/>
                </a:cubicBezTo>
                <a:cubicBezTo>
                  <a:pt x="267891" y="805410"/>
                  <a:pt x="272998" y="797957"/>
                  <a:pt x="272998" y="794092"/>
                </a:cubicBezTo>
                <a:cubicBezTo>
                  <a:pt x="272998" y="790227"/>
                  <a:pt x="268762" y="788278"/>
                  <a:pt x="268857" y="781669"/>
                </a:cubicBezTo>
                <a:cubicBezTo>
                  <a:pt x="268167" y="777943"/>
                  <a:pt x="275525" y="776131"/>
                  <a:pt x="275483" y="771731"/>
                </a:cubicBezTo>
                <a:cubicBezTo>
                  <a:pt x="275440" y="767331"/>
                  <a:pt x="267170" y="760641"/>
                  <a:pt x="268604" y="755269"/>
                </a:cubicBezTo>
                <a:lnTo>
                  <a:pt x="277460" y="739499"/>
                </a:lnTo>
                <a:lnTo>
                  <a:pt x="288834" y="735861"/>
                </a:lnTo>
                <a:lnTo>
                  <a:pt x="282754" y="645353"/>
                </a:lnTo>
                <a:cubicBezTo>
                  <a:pt x="265363" y="645034"/>
                  <a:pt x="253436" y="641605"/>
                  <a:pt x="253100" y="635977"/>
                </a:cubicBezTo>
                <a:cubicBezTo>
                  <a:pt x="252713" y="629473"/>
                  <a:pt x="267923" y="621960"/>
                  <a:pt x="289569" y="617149"/>
                </a:cubicBezTo>
                <a:cubicBezTo>
                  <a:pt x="284767" y="432532"/>
                  <a:pt x="272976" y="248849"/>
                  <a:pt x="295464" y="51054"/>
                </a:cubicBezTo>
                <a:cubicBezTo>
                  <a:pt x="304364" y="27319"/>
                  <a:pt x="311422" y="15675"/>
                  <a:pt x="327686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noAutofit/>
          </a:bodyPr>
          <a:lstStyle/>
          <a:p>
            <a:pPr marL="0" marR="0" lvl="0" indent="0" algn="ctr" defTabSz="93218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Freeform 21"/>
          <p:cNvSpPr/>
          <p:nvPr/>
        </p:nvSpPr>
        <p:spPr bwMode="auto">
          <a:xfrm flipH="1">
            <a:off x="2859054" y="313123"/>
            <a:ext cx="953736" cy="1100460"/>
          </a:xfrm>
          <a:custGeom>
            <a:avLst/>
            <a:gdLst>
              <a:gd name="connsiteX0" fmla="*/ 93291 w 4036187"/>
              <a:gd name="connsiteY0" fmla="*/ 1584790 h 4657121"/>
              <a:gd name="connsiteX1" fmla="*/ 54878 w 4036187"/>
              <a:gd name="connsiteY1" fmla="*/ 1590575 h 4657121"/>
              <a:gd name="connsiteX2" fmla="*/ 68452 w 4036187"/>
              <a:gd name="connsiteY2" fmla="*/ 1624121 h 4657121"/>
              <a:gd name="connsiteX3" fmla="*/ 106864 w 4036187"/>
              <a:gd name="connsiteY3" fmla="*/ 1618336 h 4657121"/>
              <a:gd name="connsiteX4" fmla="*/ 103049 w 4036187"/>
              <a:gd name="connsiteY4" fmla="*/ 1536183 h 4657121"/>
              <a:gd name="connsiteX5" fmla="*/ 84080 w 4036187"/>
              <a:gd name="connsiteY5" fmla="*/ 1539040 h 4657121"/>
              <a:gd name="connsiteX6" fmla="*/ 97653 w 4036187"/>
              <a:gd name="connsiteY6" fmla="*/ 1572586 h 4657121"/>
              <a:gd name="connsiteX7" fmla="*/ 124029 w 4036187"/>
              <a:gd name="connsiteY7" fmla="*/ 1568613 h 4657121"/>
              <a:gd name="connsiteX8" fmla="*/ 121784 w 4036187"/>
              <a:gd name="connsiteY8" fmla="*/ 1566902 h 4657121"/>
              <a:gd name="connsiteX9" fmla="*/ 109446 w 4036187"/>
              <a:gd name="connsiteY9" fmla="*/ 1551721 h 4657121"/>
              <a:gd name="connsiteX10" fmla="*/ 330425 w 4036187"/>
              <a:gd name="connsiteY10" fmla="*/ 1414561 h 4657121"/>
              <a:gd name="connsiteX11" fmla="*/ 303755 w 4036187"/>
              <a:gd name="connsiteY11" fmla="*/ 1509811 h 4657121"/>
              <a:gd name="connsiteX12" fmla="*/ 467585 w 4036187"/>
              <a:gd name="connsiteY12" fmla="*/ 1848901 h 4657121"/>
              <a:gd name="connsiteX13" fmla="*/ 629398 w 4036187"/>
              <a:gd name="connsiteY13" fmla="*/ 1781666 h 4657121"/>
              <a:gd name="connsiteX14" fmla="*/ 795245 w 4036187"/>
              <a:gd name="connsiteY14" fmla="*/ 1757461 h 4657121"/>
              <a:gd name="connsiteX15" fmla="*/ 886685 w 4036187"/>
              <a:gd name="connsiteY15" fmla="*/ 1666021 h 4657121"/>
              <a:gd name="connsiteX16" fmla="*/ 612365 w 4036187"/>
              <a:gd name="connsiteY16" fmla="*/ 1589821 h 4657121"/>
              <a:gd name="connsiteX17" fmla="*/ 429485 w 4036187"/>
              <a:gd name="connsiteY17" fmla="*/ 1471711 h 4657121"/>
              <a:gd name="connsiteX18" fmla="*/ 377386 w 4036187"/>
              <a:gd name="connsiteY18" fmla="*/ 1136442 h 4657121"/>
              <a:gd name="connsiteX19" fmla="*/ 338974 w 4036187"/>
              <a:gd name="connsiteY19" fmla="*/ 1142228 h 4657121"/>
              <a:gd name="connsiteX20" fmla="*/ 348453 w 4036187"/>
              <a:gd name="connsiteY20" fmla="*/ 1165655 h 4657121"/>
              <a:gd name="connsiteX21" fmla="*/ 360621 w 4036187"/>
              <a:gd name="connsiteY21" fmla="*/ 1174557 h 4657121"/>
              <a:gd name="connsiteX22" fmla="*/ 390959 w 4036187"/>
              <a:gd name="connsiteY22" fmla="*/ 1169988 h 4657121"/>
              <a:gd name="connsiteX23" fmla="*/ 1160386 w 4036187"/>
              <a:gd name="connsiteY23" fmla="*/ 41755 h 4657121"/>
              <a:gd name="connsiteX24" fmla="*/ 1127909 w 4036187"/>
              <a:gd name="connsiteY24" fmla="*/ 54182 h 4657121"/>
              <a:gd name="connsiteX25" fmla="*/ 452868 w 4036187"/>
              <a:gd name="connsiteY25" fmla="*/ 957816 h 4657121"/>
              <a:gd name="connsiteX26" fmla="*/ 478765 w 4036187"/>
              <a:gd name="connsiteY26" fmla="*/ 974831 h 4657121"/>
              <a:gd name="connsiteX27" fmla="*/ 1160386 w 4036187"/>
              <a:gd name="connsiteY27" fmla="*/ 41755 h 4657121"/>
              <a:gd name="connsiteX28" fmla="*/ 1244295 w 4036187"/>
              <a:gd name="connsiteY28" fmla="*/ 0 h 4657121"/>
              <a:gd name="connsiteX29" fmla="*/ 492571 w 4036187"/>
              <a:gd name="connsiteY29" fmla="*/ 1045306 h 4657121"/>
              <a:gd name="connsiteX30" fmla="*/ 542034 w 4036187"/>
              <a:gd name="connsiteY30" fmla="*/ 1105827 h 4657121"/>
              <a:gd name="connsiteX31" fmla="*/ 474644 w 4036187"/>
              <a:gd name="connsiteY31" fmla="*/ 1099925 h 4657121"/>
              <a:gd name="connsiteX32" fmla="*/ 402847 w 4036187"/>
              <a:gd name="connsiteY32" fmla="*/ 1207107 h 4657121"/>
              <a:gd name="connsiteX33" fmla="*/ 414246 w 4036187"/>
              <a:gd name="connsiteY33" fmla="*/ 1216441 h 4657121"/>
              <a:gd name="connsiteX34" fmla="*/ 479016 w 4036187"/>
              <a:gd name="connsiteY34" fmla="*/ 1300261 h 4657121"/>
              <a:gd name="connsiteX35" fmla="*/ 780006 w 4036187"/>
              <a:gd name="connsiteY35" fmla="*/ 1399321 h 4657121"/>
              <a:gd name="connsiteX36" fmla="*/ 863826 w 4036187"/>
              <a:gd name="connsiteY36" fmla="*/ 1418371 h 4657121"/>
              <a:gd name="connsiteX37" fmla="*/ 806676 w 4036187"/>
              <a:gd name="connsiteY37" fmla="*/ 1254541 h 4657121"/>
              <a:gd name="connsiteX38" fmla="*/ 793453 w 4036187"/>
              <a:gd name="connsiteY38" fmla="*/ 1072782 h 4657121"/>
              <a:gd name="connsiteX39" fmla="*/ 938682 w 4036187"/>
              <a:gd name="connsiteY39" fmla="*/ 925088 h 4657121"/>
              <a:gd name="connsiteX40" fmla="*/ 995065 w 4036187"/>
              <a:gd name="connsiteY40" fmla="*/ 919520 h 4657121"/>
              <a:gd name="connsiteX41" fmla="*/ 1138146 w 4036187"/>
              <a:gd name="connsiteY41" fmla="*/ 972153 h 4657121"/>
              <a:gd name="connsiteX42" fmla="*/ 1210536 w 4036187"/>
              <a:gd name="connsiteY42" fmla="*/ 1121191 h 4657121"/>
              <a:gd name="connsiteX43" fmla="*/ 1230931 w 4036187"/>
              <a:gd name="connsiteY43" fmla="*/ 1323121 h 4657121"/>
              <a:gd name="connsiteX44" fmla="*/ 1244826 w 4036187"/>
              <a:gd name="connsiteY44" fmla="*/ 1475521 h 4657121"/>
              <a:gd name="connsiteX45" fmla="*/ 1421879 w 4036187"/>
              <a:gd name="connsiteY45" fmla="*/ 1551721 h 4657121"/>
              <a:gd name="connsiteX46" fmla="*/ 1488666 w 4036187"/>
              <a:gd name="connsiteY46" fmla="*/ 1765081 h 4657121"/>
              <a:gd name="connsiteX47" fmla="*/ 1549626 w 4036187"/>
              <a:gd name="connsiteY47" fmla="*/ 1917481 h 4657121"/>
              <a:gd name="connsiteX48" fmla="*/ 1656306 w 4036187"/>
              <a:gd name="connsiteY48" fmla="*/ 2466121 h 4657121"/>
              <a:gd name="connsiteX49" fmla="*/ 1869218 w 4036187"/>
              <a:gd name="connsiteY49" fmla="*/ 2594764 h 4657121"/>
              <a:gd name="connsiteX50" fmla="*/ 2037306 w 4036187"/>
              <a:gd name="connsiteY50" fmla="*/ 2809021 h 4657121"/>
              <a:gd name="connsiteX51" fmla="*/ 2484197 w 4036187"/>
              <a:gd name="connsiteY51" fmla="*/ 3330319 h 4657121"/>
              <a:gd name="connsiteX52" fmla="*/ 3122932 w 4036187"/>
              <a:gd name="connsiteY52" fmla="*/ 3655289 h 4657121"/>
              <a:gd name="connsiteX53" fmla="*/ 3561306 w 4036187"/>
              <a:gd name="connsiteY53" fmla="*/ 4020601 h 4657121"/>
              <a:gd name="connsiteX54" fmla="*/ 3995646 w 4036187"/>
              <a:gd name="connsiteY54" fmla="*/ 4371121 h 4657121"/>
              <a:gd name="connsiteX55" fmla="*/ 3988026 w 4036187"/>
              <a:gd name="connsiteY55" fmla="*/ 4653061 h 4657121"/>
              <a:gd name="connsiteX56" fmla="*/ 3896586 w 4036187"/>
              <a:gd name="connsiteY56" fmla="*/ 4614961 h 4657121"/>
              <a:gd name="connsiteX57" fmla="*/ 3690846 w 4036187"/>
              <a:gd name="connsiteY57" fmla="*/ 4393981 h 4657121"/>
              <a:gd name="connsiteX58" fmla="*/ 3496760 w 4036187"/>
              <a:gd name="connsiteY58" fmla="*/ 4247856 h 4657121"/>
              <a:gd name="connsiteX59" fmla="*/ 3422801 w 4036187"/>
              <a:gd name="connsiteY59" fmla="*/ 4165381 h 4657121"/>
              <a:gd name="connsiteX60" fmla="*/ 3201373 w 4036187"/>
              <a:gd name="connsiteY60" fmla="*/ 4031806 h 4657121"/>
              <a:gd name="connsiteX61" fmla="*/ 2490920 w 4036187"/>
              <a:gd name="connsiteY61" fmla="*/ 3691148 h 4657121"/>
              <a:gd name="connsiteX62" fmla="*/ 2333141 w 4036187"/>
              <a:gd name="connsiteY62" fmla="*/ 3652151 h 4657121"/>
              <a:gd name="connsiteX63" fmla="*/ 2006826 w 4036187"/>
              <a:gd name="connsiteY63" fmla="*/ 3487201 h 4657121"/>
              <a:gd name="connsiteX64" fmla="*/ 1580106 w 4036187"/>
              <a:gd name="connsiteY64" fmla="*/ 3311941 h 4657121"/>
              <a:gd name="connsiteX65" fmla="*/ 1100046 w 4036187"/>
              <a:gd name="connsiteY65" fmla="*/ 3380521 h 4657121"/>
              <a:gd name="connsiteX66" fmla="*/ 1202244 w 4036187"/>
              <a:gd name="connsiteY66" fmla="*/ 3459858 h 4657121"/>
              <a:gd name="connsiteX67" fmla="*/ 1328646 w 4036187"/>
              <a:gd name="connsiteY67" fmla="*/ 3627946 h 4657121"/>
              <a:gd name="connsiteX68" fmla="*/ 1465806 w 4036187"/>
              <a:gd name="connsiteY68" fmla="*/ 3700561 h 4657121"/>
              <a:gd name="connsiteX69" fmla="*/ 1459531 w 4036187"/>
              <a:gd name="connsiteY69" fmla="*/ 3884337 h 4657121"/>
              <a:gd name="connsiteX70" fmla="*/ 1530352 w 4036187"/>
              <a:gd name="connsiteY70" fmla="*/ 4226340 h 4657121"/>
              <a:gd name="connsiteX71" fmla="*/ 1481046 w 4036187"/>
              <a:gd name="connsiteY71" fmla="*/ 4302541 h 4657121"/>
              <a:gd name="connsiteX72" fmla="*/ 1214346 w 4036187"/>
              <a:gd name="connsiteY72" fmla="*/ 3952021 h 4657121"/>
              <a:gd name="connsiteX73" fmla="*/ 947646 w 4036187"/>
              <a:gd name="connsiteY73" fmla="*/ 3715801 h 4657121"/>
              <a:gd name="connsiteX74" fmla="*/ 437106 w 4036187"/>
              <a:gd name="connsiteY74" fmla="*/ 3342421 h 4657121"/>
              <a:gd name="connsiteX75" fmla="*/ 429486 w 4036187"/>
              <a:gd name="connsiteY75" fmla="*/ 3075721 h 4657121"/>
              <a:gd name="connsiteX76" fmla="*/ 1196417 w 4036187"/>
              <a:gd name="connsiteY76" fmla="*/ 2814399 h 4657121"/>
              <a:gd name="connsiteX77" fmla="*/ 1169074 w 4036187"/>
              <a:gd name="connsiteY77" fmla="*/ 2637795 h 4657121"/>
              <a:gd name="connsiteX78" fmla="*/ 1023846 w 4036187"/>
              <a:gd name="connsiteY78" fmla="*/ 2290861 h 4657121"/>
              <a:gd name="connsiteX79" fmla="*/ 924786 w 4036187"/>
              <a:gd name="connsiteY79" fmla="*/ 2001301 h 4657121"/>
              <a:gd name="connsiteX80" fmla="*/ 798383 w 4036187"/>
              <a:gd name="connsiteY80" fmla="*/ 2064054 h 4657121"/>
              <a:gd name="connsiteX81" fmla="*/ 589506 w 4036187"/>
              <a:gd name="connsiteY81" fmla="*/ 2077501 h 4657121"/>
              <a:gd name="connsiteX82" fmla="*/ 368526 w 4036187"/>
              <a:gd name="connsiteY82" fmla="*/ 2115601 h 4657121"/>
              <a:gd name="connsiteX83" fmla="*/ 208506 w 4036187"/>
              <a:gd name="connsiteY83" fmla="*/ 1841281 h 4657121"/>
              <a:gd name="connsiteX84" fmla="*/ 164691 w 4036187"/>
              <a:gd name="connsiteY84" fmla="*/ 1620301 h 4657121"/>
              <a:gd name="connsiteX85" fmla="*/ 151103 w 4036187"/>
              <a:gd name="connsiteY85" fmla="*/ 1592976 h 4657121"/>
              <a:gd name="connsiteX86" fmla="*/ 151043 w 4036187"/>
              <a:gd name="connsiteY86" fmla="*/ 1592915 h 4657121"/>
              <a:gd name="connsiteX87" fmla="*/ 95320 w 4036187"/>
              <a:gd name="connsiteY87" fmla="*/ 1680262 h 4657121"/>
              <a:gd name="connsiteX88" fmla="*/ 93100 w 4036187"/>
              <a:gd name="connsiteY88" fmla="*/ 1679167 h 4657121"/>
              <a:gd name="connsiteX89" fmla="*/ 26784 w 4036187"/>
              <a:gd name="connsiteY89" fmla="*/ 1697126 h 4657121"/>
              <a:gd name="connsiteX90" fmla="*/ 5823 w 4036187"/>
              <a:gd name="connsiteY90" fmla="*/ 1637185 h 4657121"/>
              <a:gd name="connsiteX91" fmla="*/ 6401 w 4036187"/>
              <a:gd name="connsiteY91" fmla="*/ 1636398 h 4657121"/>
              <a:gd name="connsiteX92" fmla="*/ 5456 w 4036187"/>
              <a:gd name="connsiteY92" fmla="*/ 1635932 h 4657121"/>
              <a:gd name="connsiteX93" fmla="*/ 88087 w 4036187"/>
              <a:gd name="connsiteY93" fmla="*/ 1498257 h 4657121"/>
              <a:gd name="connsiteX94" fmla="*/ 82613 w 4036187"/>
              <a:gd name="connsiteY94" fmla="*/ 1479391 h 4657121"/>
              <a:gd name="connsiteX95" fmla="*/ 78966 w 4036187"/>
              <a:gd name="connsiteY95" fmla="*/ 1460281 h 4657121"/>
              <a:gd name="connsiteX96" fmla="*/ 96745 w 4036187"/>
              <a:gd name="connsiteY96" fmla="*/ 1429801 h 4657121"/>
              <a:gd name="connsiteX97" fmla="*/ 101826 w 4036187"/>
              <a:gd name="connsiteY97" fmla="*/ 1406941 h 4657121"/>
              <a:gd name="connsiteX98" fmla="*/ 122145 w 4036187"/>
              <a:gd name="connsiteY98" fmla="*/ 1389161 h 4657121"/>
              <a:gd name="connsiteX99" fmla="*/ 127226 w 4036187"/>
              <a:gd name="connsiteY99" fmla="*/ 1361221 h 4657121"/>
              <a:gd name="connsiteX100" fmla="*/ 152625 w 4036187"/>
              <a:gd name="connsiteY100" fmla="*/ 1335821 h 4657121"/>
              <a:gd name="connsiteX101" fmla="*/ 157706 w 4036187"/>
              <a:gd name="connsiteY101" fmla="*/ 1310421 h 4657121"/>
              <a:gd name="connsiteX102" fmla="*/ 178025 w 4036187"/>
              <a:gd name="connsiteY102" fmla="*/ 1295181 h 4657121"/>
              <a:gd name="connsiteX103" fmla="*/ 180565 w 4036187"/>
              <a:gd name="connsiteY103" fmla="*/ 1272321 h 4657121"/>
              <a:gd name="connsiteX104" fmla="*/ 197075 w 4036187"/>
              <a:gd name="connsiteY104" fmla="*/ 1258351 h 4657121"/>
              <a:gd name="connsiteX105" fmla="*/ 203426 w 4036187"/>
              <a:gd name="connsiteY105" fmla="*/ 1236761 h 4657121"/>
              <a:gd name="connsiteX106" fmla="*/ 223745 w 4036187"/>
              <a:gd name="connsiteY106" fmla="*/ 1218981 h 4657121"/>
              <a:gd name="connsiteX107" fmla="*/ 221205 w 4036187"/>
              <a:gd name="connsiteY107" fmla="*/ 1196121 h 4657121"/>
              <a:gd name="connsiteX108" fmla="*/ 241525 w 4036187"/>
              <a:gd name="connsiteY108" fmla="*/ 1180881 h 4657121"/>
              <a:gd name="connsiteX109" fmla="*/ 241526 w 4036187"/>
              <a:gd name="connsiteY109" fmla="*/ 1160561 h 4657121"/>
              <a:gd name="connsiteX110" fmla="*/ 264385 w 4036187"/>
              <a:gd name="connsiteY110" fmla="*/ 1142781 h 4657121"/>
              <a:gd name="connsiteX111" fmla="*/ 284706 w 4036187"/>
              <a:gd name="connsiteY111" fmla="*/ 1125001 h 4657121"/>
              <a:gd name="connsiteX112" fmla="*/ 309167 w 4036187"/>
              <a:gd name="connsiteY112" fmla="*/ 1139328 h 4657121"/>
              <a:gd name="connsiteX113" fmla="*/ 369954 w 4036187"/>
              <a:gd name="connsiteY113" fmla="*/ 1042635 h 4657121"/>
              <a:gd name="connsiteX114" fmla="*/ 331087 w 4036187"/>
              <a:gd name="connsiteY114" fmla="*/ 990018 h 4657121"/>
              <a:gd name="connsiteX115" fmla="*/ 416424 w 4036187"/>
              <a:gd name="connsiteY115" fmla="*/ 1003067 h 4657121"/>
              <a:gd name="connsiteX116" fmla="*/ 1126344 w 4036187"/>
              <a:gd name="connsiteY116" fmla="*/ 47041 h 4657121"/>
              <a:gd name="connsiteX117" fmla="*/ 1244295 w 4036187"/>
              <a:gd name="connsiteY117" fmla="*/ 0 h 4657121"/>
              <a:gd name="connsiteX0-1" fmla="*/ 93291 w 4036187"/>
              <a:gd name="connsiteY0-2" fmla="*/ 1584790 h 4657121"/>
              <a:gd name="connsiteX1-3" fmla="*/ 54878 w 4036187"/>
              <a:gd name="connsiteY1-4" fmla="*/ 1590575 h 4657121"/>
              <a:gd name="connsiteX2-5" fmla="*/ 68452 w 4036187"/>
              <a:gd name="connsiteY2-6" fmla="*/ 1624121 h 4657121"/>
              <a:gd name="connsiteX3-7" fmla="*/ 106864 w 4036187"/>
              <a:gd name="connsiteY3-8" fmla="*/ 1618336 h 4657121"/>
              <a:gd name="connsiteX4-9" fmla="*/ 93291 w 4036187"/>
              <a:gd name="connsiteY4-10" fmla="*/ 1584790 h 4657121"/>
              <a:gd name="connsiteX5-11" fmla="*/ 103049 w 4036187"/>
              <a:gd name="connsiteY5-12" fmla="*/ 1536183 h 4657121"/>
              <a:gd name="connsiteX6-13" fmla="*/ 84080 w 4036187"/>
              <a:gd name="connsiteY6-14" fmla="*/ 1539040 h 4657121"/>
              <a:gd name="connsiteX7-15" fmla="*/ 97653 w 4036187"/>
              <a:gd name="connsiteY7-16" fmla="*/ 1572586 h 4657121"/>
              <a:gd name="connsiteX8-17" fmla="*/ 124029 w 4036187"/>
              <a:gd name="connsiteY8-18" fmla="*/ 1568613 h 4657121"/>
              <a:gd name="connsiteX9-19" fmla="*/ 121784 w 4036187"/>
              <a:gd name="connsiteY9-20" fmla="*/ 1566902 h 4657121"/>
              <a:gd name="connsiteX10-21" fmla="*/ 109446 w 4036187"/>
              <a:gd name="connsiteY10-22" fmla="*/ 1551721 h 4657121"/>
              <a:gd name="connsiteX11-23" fmla="*/ 103049 w 4036187"/>
              <a:gd name="connsiteY11-24" fmla="*/ 1536183 h 4657121"/>
              <a:gd name="connsiteX12-25" fmla="*/ 330425 w 4036187"/>
              <a:gd name="connsiteY12-26" fmla="*/ 1414561 h 4657121"/>
              <a:gd name="connsiteX13-27" fmla="*/ 303755 w 4036187"/>
              <a:gd name="connsiteY13-28" fmla="*/ 1509811 h 4657121"/>
              <a:gd name="connsiteX14-29" fmla="*/ 467585 w 4036187"/>
              <a:gd name="connsiteY14-30" fmla="*/ 1848901 h 4657121"/>
              <a:gd name="connsiteX15-31" fmla="*/ 629398 w 4036187"/>
              <a:gd name="connsiteY15-32" fmla="*/ 1781666 h 4657121"/>
              <a:gd name="connsiteX16-33" fmla="*/ 795245 w 4036187"/>
              <a:gd name="connsiteY16-34" fmla="*/ 1757461 h 4657121"/>
              <a:gd name="connsiteX17-35" fmla="*/ 886685 w 4036187"/>
              <a:gd name="connsiteY17-36" fmla="*/ 1666021 h 4657121"/>
              <a:gd name="connsiteX18-37" fmla="*/ 612365 w 4036187"/>
              <a:gd name="connsiteY18-38" fmla="*/ 1589821 h 4657121"/>
              <a:gd name="connsiteX19-39" fmla="*/ 429485 w 4036187"/>
              <a:gd name="connsiteY19-40" fmla="*/ 1471711 h 4657121"/>
              <a:gd name="connsiteX20-41" fmla="*/ 330425 w 4036187"/>
              <a:gd name="connsiteY20-42" fmla="*/ 1414561 h 4657121"/>
              <a:gd name="connsiteX21-43" fmla="*/ 377386 w 4036187"/>
              <a:gd name="connsiteY21-44" fmla="*/ 1136442 h 4657121"/>
              <a:gd name="connsiteX22-45" fmla="*/ 338974 w 4036187"/>
              <a:gd name="connsiteY22-46" fmla="*/ 1142228 h 4657121"/>
              <a:gd name="connsiteX23-47" fmla="*/ 348453 w 4036187"/>
              <a:gd name="connsiteY23-48" fmla="*/ 1165655 h 4657121"/>
              <a:gd name="connsiteX24-49" fmla="*/ 360621 w 4036187"/>
              <a:gd name="connsiteY24-50" fmla="*/ 1174557 h 4657121"/>
              <a:gd name="connsiteX25-51" fmla="*/ 390959 w 4036187"/>
              <a:gd name="connsiteY25-52" fmla="*/ 1169988 h 4657121"/>
              <a:gd name="connsiteX26-53" fmla="*/ 377386 w 4036187"/>
              <a:gd name="connsiteY26-54" fmla="*/ 1136442 h 4657121"/>
              <a:gd name="connsiteX27-55" fmla="*/ 1160386 w 4036187"/>
              <a:gd name="connsiteY27-56" fmla="*/ 41755 h 4657121"/>
              <a:gd name="connsiteX28-57" fmla="*/ 1127909 w 4036187"/>
              <a:gd name="connsiteY28-58" fmla="*/ 54182 h 4657121"/>
              <a:gd name="connsiteX29-59" fmla="*/ 452868 w 4036187"/>
              <a:gd name="connsiteY29-60" fmla="*/ 957816 h 4657121"/>
              <a:gd name="connsiteX30-61" fmla="*/ 478765 w 4036187"/>
              <a:gd name="connsiteY30-62" fmla="*/ 974831 h 4657121"/>
              <a:gd name="connsiteX31-63" fmla="*/ 1160386 w 4036187"/>
              <a:gd name="connsiteY31-64" fmla="*/ 41755 h 4657121"/>
              <a:gd name="connsiteX32-65" fmla="*/ 1244295 w 4036187"/>
              <a:gd name="connsiteY32-66" fmla="*/ 0 h 4657121"/>
              <a:gd name="connsiteX33-67" fmla="*/ 492571 w 4036187"/>
              <a:gd name="connsiteY33-68" fmla="*/ 1045306 h 4657121"/>
              <a:gd name="connsiteX34-69" fmla="*/ 542034 w 4036187"/>
              <a:gd name="connsiteY34-70" fmla="*/ 1105827 h 4657121"/>
              <a:gd name="connsiteX35-71" fmla="*/ 474644 w 4036187"/>
              <a:gd name="connsiteY35-72" fmla="*/ 1099925 h 4657121"/>
              <a:gd name="connsiteX36-73" fmla="*/ 402847 w 4036187"/>
              <a:gd name="connsiteY36-74" fmla="*/ 1207107 h 4657121"/>
              <a:gd name="connsiteX37-75" fmla="*/ 414246 w 4036187"/>
              <a:gd name="connsiteY37-76" fmla="*/ 1216441 h 4657121"/>
              <a:gd name="connsiteX38-77" fmla="*/ 479016 w 4036187"/>
              <a:gd name="connsiteY38-78" fmla="*/ 1300261 h 4657121"/>
              <a:gd name="connsiteX39-79" fmla="*/ 780006 w 4036187"/>
              <a:gd name="connsiteY39-80" fmla="*/ 1399321 h 4657121"/>
              <a:gd name="connsiteX40-81" fmla="*/ 863826 w 4036187"/>
              <a:gd name="connsiteY40-82" fmla="*/ 1418371 h 4657121"/>
              <a:gd name="connsiteX41-83" fmla="*/ 806676 w 4036187"/>
              <a:gd name="connsiteY41-84" fmla="*/ 1254541 h 4657121"/>
              <a:gd name="connsiteX42-85" fmla="*/ 793453 w 4036187"/>
              <a:gd name="connsiteY42-86" fmla="*/ 1072782 h 4657121"/>
              <a:gd name="connsiteX43-87" fmla="*/ 938682 w 4036187"/>
              <a:gd name="connsiteY43-88" fmla="*/ 925088 h 4657121"/>
              <a:gd name="connsiteX44-89" fmla="*/ 995065 w 4036187"/>
              <a:gd name="connsiteY44-90" fmla="*/ 919520 h 4657121"/>
              <a:gd name="connsiteX45-91" fmla="*/ 1138146 w 4036187"/>
              <a:gd name="connsiteY45-92" fmla="*/ 972153 h 4657121"/>
              <a:gd name="connsiteX46-93" fmla="*/ 1210536 w 4036187"/>
              <a:gd name="connsiteY46-94" fmla="*/ 1121191 h 4657121"/>
              <a:gd name="connsiteX47-95" fmla="*/ 1230931 w 4036187"/>
              <a:gd name="connsiteY47-96" fmla="*/ 1323121 h 4657121"/>
              <a:gd name="connsiteX48-97" fmla="*/ 1244826 w 4036187"/>
              <a:gd name="connsiteY48-98" fmla="*/ 1475521 h 4657121"/>
              <a:gd name="connsiteX49-99" fmla="*/ 1421879 w 4036187"/>
              <a:gd name="connsiteY49-100" fmla="*/ 1551721 h 4657121"/>
              <a:gd name="connsiteX50-101" fmla="*/ 1488666 w 4036187"/>
              <a:gd name="connsiteY50-102" fmla="*/ 1765081 h 4657121"/>
              <a:gd name="connsiteX51-103" fmla="*/ 1549626 w 4036187"/>
              <a:gd name="connsiteY51-104" fmla="*/ 1917481 h 4657121"/>
              <a:gd name="connsiteX52-105" fmla="*/ 1656306 w 4036187"/>
              <a:gd name="connsiteY52-106" fmla="*/ 2466121 h 4657121"/>
              <a:gd name="connsiteX53-107" fmla="*/ 1869218 w 4036187"/>
              <a:gd name="connsiteY53-108" fmla="*/ 2594764 h 4657121"/>
              <a:gd name="connsiteX54-109" fmla="*/ 2037306 w 4036187"/>
              <a:gd name="connsiteY54-110" fmla="*/ 2809021 h 4657121"/>
              <a:gd name="connsiteX55-111" fmla="*/ 2484197 w 4036187"/>
              <a:gd name="connsiteY55-112" fmla="*/ 3330319 h 4657121"/>
              <a:gd name="connsiteX56-113" fmla="*/ 3122932 w 4036187"/>
              <a:gd name="connsiteY56-114" fmla="*/ 3655289 h 4657121"/>
              <a:gd name="connsiteX57-115" fmla="*/ 3561306 w 4036187"/>
              <a:gd name="connsiteY57-116" fmla="*/ 4020601 h 4657121"/>
              <a:gd name="connsiteX58-117" fmla="*/ 3995646 w 4036187"/>
              <a:gd name="connsiteY58-118" fmla="*/ 4371121 h 4657121"/>
              <a:gd name="connsiteX59-119" fmla="*/ 3988026 w 4036187"/>
              <a:gd name="connsiteY59-120" fmla="*/ 4653061 h 4657121"/>
              <a:gd name="connsiteX60-121" fmla="*/ 3896586 w 4036187"/>
              <a:gd name="connsiteY60-122" fmla="*/ 4614961 h 4657121"/>
              <a:gd name="connsiteX61-123" fmla="*/ 3690846 w 4036187"/>
              <a:gd name="connsiteY61-124" fmla="*/ 4393981 h 4657121"/>
              <a:gd name="connsiteX62-125" fmla="*/ 3496760 w 4036187"/>
              <a:gd name="connsiteY62-126" fmla="*/ 4247856 h 4657121"/>
              <a:gd name="connsiteX63-127" fmla="*/ 3422801 w 4036187"/>
              <a:gd name="connsiteY63-128" fmla="*/ 4165381 h 4657121"/>
              <a:gd name="connsiteX64-129" fmla="*/ 3201373 w 4036187"/>
              <a:gd name="connsiteY64-130" fmla="*/ 4031806 h 4657121"/>
              <a:gd name="connsiteX65-131" fmla="*/ 2490920 w 4036187"/>
              <a:gd name="connsiteY65-132" fmla="*/ 3691148 h 4657121"/>
              <a:gd name="connsiteX66-133" fmla="*/ 2333141 w 4036187"/>
              <a:gd name="connsiteY66-134" fmla="*/ 3652151 h 4657121"/>
              <a:gd name="connsiteX67-135" fmla="*/ 2006826 w 4036187"/>
              <a:gd name="connsiteY67-136" fmla="*/ 3487201 h 4657121"/>
              <a:gd name="connsiteX68-137" fmla="*/ 1580106 w 4036187"/>
              <a:gd name="connsiteY68-138" fmla="*/ 3311941 h 4657121"/>
              <a:gd name="connsiteX69-139" fmla="*/ 1011366 w 4036187"/>
              <a:gd name="connsiteY69-140" fmla="*/ 3356336 h 4657121"/>
              <a:gd name="connsiteX70-141" fmla="*/ 1202244 w 4036187"/>
              <a:gd name="connsiteY70-142" fmla="*/ 3459858 h 4657121"/>
              <a:gd name="connsiteX71-143" fmla="*/ 1328646 w 4036187"/>
              <a:gd name="connsiteY71-144" fmla="*/ 3627946 h 4657121"/>
              <a:gd name="connsiteX72-145" fmla="*/ 1465806 w 4036187"/>
              <a:gd name="connsiteY72-146" fmla="*/ 3700561 h 4657121"/>
              <a:gd name="connsiteX73-147" fmla="*/ 1459531 w 4036187"/>
              <a:gd name="connsiteY73-148" fmla="*/ 3884337 h 4657121"/>
              <a:gd name="connsiteX74-149" fmla="*/ 1530352 w 4036187"/>
              <a:gd name="connsiteY74-150" fmla="*/ 4226340 h 4657121"/>
              <a:gd name="connsiteX75-151" fmla="*/ 1481046 w 4036187"/>
              <a:gd name="connsiteY75-152" fmla="*/ 4302541 h 4657121"/>
              <a:gd name="connsiteX76-153" fmla="*/ 1214346 w 4036187"/>
              <a:gd name="connsiteY76-154" fmla="*/ 3952021 h 4657121"/>
              <a:gd name="connsiteX77-155" fmla="*/ 947646 w 4036187"/>
              <a:gd name="connsiteY77-156" fmla="*/ 3715801 h 4657121"/>
              <a:gd name="connsiteX78-157" fmla="*/ 437106 w 4036187"/>
              <a:gd name="connsiteY78-158" fmla="*/ 3342421 h 4657121"/>
              <a:gd name="connsiteX79-159" fmla="*/ 429486 w 4036187"/>
              <a:gd name="connsiteY79-160" fmla="*/ 3075721 h 4657121"/>
              <a:gd name="connsiteX80-161" fmla="*/ 1196417 w 4036187"/>
              <a:gd name="connsiteY80-162" fmla="*/ 2814399 h 4657121"/>
              <a:gd name="connsiteX81-163" fmla="*/ 1169074 w 4036187"/>
              <a:gd name="connsiteY81-164" fmla="*/ 2637795 h 4657121"/>
              <a:gd name="connsiteX82-165" fmla="*/ 1023846 w 4036187"/>
              <a:gd name="connsiteY82-166" fmla="*/ 2290861 h 4657121"/>
              <a:gd name="connsiteX83-167" fmla="*/ 924786 w 4036187"/>
              <a:gd name="connsiteY83-168" fmla="*/ 2001301 h 4657121"/>
              <a:gd name="connsiteX84-169" fmla="*/ 798383 w 4036187"/>
              <a:gd name="connsiteY84-170" fmla="*/ 2064054 h 4657121"/>
              <a:gd name="connsiteX85-171" fmla="*/ 589506 w 4036187"/>
              <a:gd name="connsiteY85-172" fmla="*/ 2077501 h 4657121"/>
              <a:gd name="connsiteX86-173" fmla="*/ 368526 w 4036187"/>
              <a:gd name="connsiteY86-174" fmla="*/ 2115601 h 4657121"/>
              <a:gd name="connsiteX87-175" fmla="*/ 208506 w 4036187"/>
              <a:gd name="connsiteY87-176" fmla="*/ 1841281 h 4657121"/>
              <a:gd name="connsiteX88-177" fmla="*/ 164691 w 4036187"/>
              <a:gd name="connsiteY88-178" fmla="*/ 1620301 h 4657121"/>
              <a:gd name="connsiteX89-179" fmla="*/ 151103 w 4036187"/>
              <a:gd name="connsiteY89-180" fmla="*/ 1592976 h 4657121"/>
              <a:gd name="connsiteX90-181" fmla="*/ 151043 w 4036187"/>
              <a:gd name="connsiteY90-182" fmla="*/ 1592915 h 4657121"/>
              <a:gd name="connsiteX91-183" fmla="*/ 95320 w 4036187"/>
              <a:gd name="connsiteY91-184" fmla="*/ 1680262 h 4657121"/>
              <a:gd name="connsiteX92-185" fmla="*/ 93100 w 4036187"/>
              <a:gd name="connsiteY92-186" fmla="*/ 1679167 h 4657121"/>
              <a:gd name="connsiteX93-187" fmla="*/ 26784 w 4036187"/>
              <a:gd name="connsiteY93-188" fmla="*/ 1697126 h 4657121"/>
              <a:gd name="connsiteX94-189" fmla="*/ 5823 w 4036187"/>
              <a:gd name="connsiteY94-190" fmla="*/ 1637185 h 4657121"/>
              <a:gd name="connsiteX95-191" fmla="*/ 6401 w 4036187"/>
              <a:gd name="connsiteY95-192" fmla="*/ 1636398 h 4657121"/>
              <a:gd name="connsiteX96-193" fmla="*/ 5456 w 4036187"/>
              <a:gd name="connsiteY96-194" fmla="*/ 1635932 h 4657121"/>
              <a:gd name="connsiteX97-195" fmla="*/ 88087 w 4036187"/>
              <a:gd name="connsiteY97-196" fmla="*/ 1498257 h 4657121"/>
              <a:gd name="connsiteX98-197" fmla="*/ 82613 w 4036187"/>
              <a:gd name="connsiteY98-198" fmla="*/ 1479391 h 4657121"/>
              <a:gd name="connsiteX99-199" fmla="*/ 78966 w 4036187"/>
              <a:gd name="connsiteY99-200" fmla="*/ 1460281 h 4657121"/>
              <a:gd name="connsiteX100-201" fmla="*/ 96745 w 4036187"/>
              <a:gd name="connsiteY100-202" fmla="*/ 1429801 h 4657121"/>
              <a:gd name="connsiteX101-203" fmla="*/ 101826 w 4036187"/>
              <a:gd name="connsiteY101-204" fmla="*/ 1406941 h 4657121"/>
              <a:gd name="connsiteX102-205" fmla="*/ 122145 w 4036187"/>
              <a:gd name="connsiteY102-206" fmla="*/ 1389161 h 4657121"/>
              <a:gd name="connsiteX103-207" fmla="*/ 127226 w 4036187"/>
              <a:gd name="connsiteY103-208" fmla="*/ 1361221 h 4657121"/>
              <a:gd name="connsiteX104-209" fmla="*/ 152625 w 4036187"/>
              <a:gd name="connsiteY104-210" fmla="*/ 1335821 h 4657121"/>
              <a:gd name="connsiteX105-211" fmla="*/ 157706 w 4036187"/>
              <a:gd name="connsiteY105-212" fmla="*/ 1310421 h 4657121"/>
              <a:gd name="connsiteX106-213" fmla="*/ 178025 w 4036187"/>
              <a:gd name="connsiteY106-214" fmla="*/ 1295181 h 4657121"/>
              <a:gd name="connsiteX107-215" fmla="*/ 180565 w 4036187"/>
              <a:gd name="connsiteY107-216" fmla="*/ 1272321 h 4657121"/>
              <a:gd name="connsiteX108-217" fmla="*/ 197075 w 4036187"/>
              <a:gd name="connsiteY108-218" fmla="*/ 1258351 h 4657121"/>
              <a:gd name="connsiteX109-219" fmla="*/ 203426 w 4036187"/>
              <a:gd name="connsiteY109-220" fmla="*/ 1236761 h 4657121"/>
              <a:gd name="connsiteX110-221" fmla="*/ 223745 w 4036187"/>
              <a:gd name="connsiteY110-222" fmla="*/ 1218981 h 4657121"/>
              <a:gd name="connsiteX111-223" fmla="*/ 221205 w 4036187"/>
              <a:gd name="connsiteY111-224" fmla="*/ 1196121 h 4657121"/>
              <a:gd name="connsiteX112-225" fmla="*/ 241525 w 4036187"/>
              <a:gd name="connsiteY112-226" fmla="*/ 1180881 h 4657121"/>
              <a:gd name="connsiteX113-227" fmla="*/ 241526 w 4036187"/>
              <a:gd name="connsiteY113-228" fmla="*/ 1160561 h 4657121"/>
              <a:gd name="connsiteX114-229" fmla="*/ 264385 w 4036187"/>
              <a:gd name="connsiteY114-230" fmla="*/ 1142781 h 4657121"/>
              <a:gd name="connsiteX115-231" fmla="*/ 284706 w 4036187"/>
              <a:gd name="connsiteY115-232" fmla="*/ 1125001 h 4657121"/>
              <a:gd name="connsiteX116-233" fmla="*/ 309167 w 4036187"/>
              <a:gd name="connsiteY116-234" fmla="*/ 1139328 h 4657121"/>
              <a:gd name="connsiteX117-235" fmla="*/ 369954 w 4036187"/>
              <a:gd name="connsiteY117-236" fmla="*/ 1042635 h 4657121"/>
              <a:gd name="connsiteX118" fmla="*/ 331087 w 4036187"/>
              <a:gd name="connsiteY118" fmla="*/ 990018 h 4657121"/>
              <a:gd name="connsiteX119" fmla="*/ 416424 w 4036187"/>
              <a:gd name="connsiteY119" fmla="*/ 1003067 h 4657121"/>
              <a:gd name="connsiteX120" fmla="*/ 1126344 w 4036187"/>
              <a:gd name="connsiteY120" fmla="*/ 47041 h 4657121"/>
              <a:gd name="connsiteX121" fmla="*/ 1244295 w 4036187"/>
              <a:gd name="connsiteY121" fmla="*/ 0 h 4657121"/>
              <a:gd name="connsiteX0-237" fmla="*/ 93291 w 4036187"/>
              <a:gd name="connsiteY0-238" fmla="*/ 1584790 h 4657121"/>
              <a:gd name="connsiteX1-239" fmla="*/ 54878 w 4036187"/>
              <a:gd name="connsiteY1-240" fmla="*/ 1590575 h 4657121"/>
              <a:gd name="connsiteX2-241" fmla="*/ 68452 w 4036187"/>
              <a:gd name="connsiteY2-242" fmla="*/ 1624121 h 4657121"/>
              <a:gd name="connsiteX3-243" fmla="*/ 106864 w 4036187"/>
              <a:gd name="connsiteY3-244" fmla="*/ 1618336 h 4657121"/>
              <a:gd name="connsiteX4-245" fmla="*/ 93291 w 4036187"/>
              <a:gd name="connsiteY4-246" fmla="*/ 1584790 h 4657121"/>
              <a:gd name="connsiteX5-247" fmla="*/ 103049 w 4036187"/>
              <a:gd name="connsiteY5-248" fmla="*/ 1536183 h 4657121"/>
              <a:gd name="connsiteX6-249" fmla="*/ 84080 w 4036187"/>
              <a:gd name="connsiteY6-250" fmla="*/ 1539040 h 4657121"/>
              <a:gd name="connsiteX7-251" fmla="*/ 97653 w 4036187"/>
              <a:gd name="connsiteY7-252" fmla="*/ 1572586 h 4657121"/>
              <a:gd name="connsiteX8-253" fmla="*/ 124029 w 4036187"/>
              <a:gd name="connsiteY8-254" fmla="*/ 1568613 h 4657121"/>
              <a:gd name="connsiteX9-255" fmla="*/ 121784 w 4036187"/>
              <a:gd name="connsiteY9-256" fmla="*/ 1566902 h 4657121"/>
              <a:gd name="connsiteX10-257" fmla="*/ 109446 w 4036187"/>
              <a:gd name="connsiteY10-258" fmla="*/ 1551721 h 4657121"/>
              <a:gd name="connsiteX11-259" fmla="*/ 103049 w 4036187"/>
              <a:gd name="connsiteY11-260" fmla="*/ 1536183 h 4657121"/>
              <a:gd name="connsiteX12-261" fmla="*/ 330425 w 4036187"/>
              <a:gd name="connsiteY12-262" fmla="*/ 1414561 h 4657121"/>
              <a:gd name="connsiteX13-263" fmla="*/ 303755 w 4036187"/>
              <a:gd name="connsiteY13-264" fmla="*/ 1509811 h 4657121"/>
              <a:gd name="connsiteX14-265" fmla="*/ 467585 w 4036187"/>
              <a:gd name="connsiteY14-266" fmla="*/ 1848901 h 4657121"/>
              <a:gd name="connsiteX15-267" fmla="*/ 629398 w 4036187"/>
              <a:gd name="connsiteY15-268" fmla="*/ 1781666 h 4657121"/>
              <a:gd name="connsiteX16-269" fmla="*/ 795245 w 4036187"/>
              <a:gd name="connsiteY16-270" fmla="*/ 1757461 h 4657121"/>
              <a:gd name="connsiteX17-271" fmla="*/ 886685 w 4036187"/>
              <a:gd name="connsiteY17-272" fmla="*/ 1666021 h 4657121"/>
              <a:gd name="connsiteX18-273" fmla="*/ 612365 w 4036187"/>
              <a:gd name="connsiteY18-274" fmla="*/ 1589821 h 4657121"/>
              <a:gd name="connsiteX19-275" fmla="*/ 429485 w 4036187"/>
              <a:gd name="connsiteY19-276" fmla="*/ 1471711 h 4657121"/>
              <a:gd name="connsiteX20-277" fmla="*/ 330425 w 4036187"/>
              <a:gd name="connsiteY20-278" fmla="*/ 1414561 h 4657121"/>
              <a:gd name="connsiteX21-279" fmla="*/ 377386 w 4036187"/>
              <a:gd name="connsiteY21-280" fmla="*/ 1136442 h 4657121"/>
              <a:gd name="connsiteX22-281" fmla="*/ 338974 w 4036187"/>
              <a:gd name="connsiteY22-282" fmla="*/ 1142228 h 4657121"/>
              <a:gd name="connsiteX23-283" fmla="*/ 348453 w 4036187"/>
              <a:gd name="connsiteY23-284" fmla="*/ 1165655 h 4657121"/>
              <a:gd name="connsiteX24-285" fmla="*/ 360621 w 4036187"/>
              <a:gd name="connsiteY24-286" fmla="*/ 1174557 h 4657121"/>
              <a:gd name="connsiteX25-287" fmla="*/ 390959 w 4036187"/>
              <a:gd name="connsiteY25-288" fmla="*/ 1169988 h 4657121"/>
              <a:gd name="connsiteX26-289" fmla="*/ 377386 w 4036187"/>
              <a:gd name="connsiteY26-290" fmla="*/ 1136442 h 4657121"/>
              <a:gd name="connsiteX27-291" fmla="*/ 1160386 w 4036187"/>
              <a:gd name="connsiteY27-292" fmla="*/ 41755 h 4657121"/>
              <a:gd name="connsiteX28-293" fmla="*/ 1127909 w 4036187"/>
              <a:gd name="connsiteY28-294" fmla="*/ 54182 h 4657121"/>
              <a:gd name="connsiteX29-295" fmla="*/ 452868 w 4036187"/>
              <a:gd name="connsiteY29-296" fmla="*/ 957816 h 4657121"/>
              <a:gd name="connsiteX30-297" fmla="*/ 478765 w 4036187"/>
              <a:gd name="connsiteY30-298" fmla="*/ 974831 h 4657121"/>
              <a:gd name="connsiteX31-299" fmla="*/ 1160386 w 4036187"/>
              <a:gd name="connsiteY31-300" fmla="*/ 41755 h 4657121"/>
              <a:gd name="connsiteX32-301" fmla="*/ 1244295 w 4036187"/>
              <a:gd name="connsiteY32-302" fmla="*/ 0 h 4657121"/>
              <a:gd name="connsiteX33-303" fmla="*/ 492571 w 4036187"/>
              <a:gd name="connsiteY33-304" fmla="*/ 1045306 h 4657121"/>
              <a:gd name="connsiteX34-305" fmla="*/ 542034 w 4036187"/>
              <a:gd name="connsiteY34-306" fmla="*/ 1105827 h 4657121"/>
              <a:gd name="connsiteX35-307" fmla="*/ 474644 w 4036187"/>
              <a:gd name="connsiteY35-308" fmla="*/ 1099925 h 4657121"/>
              <a:gd name="connsiteX36-309" fmla="*/ 402847 w 4036187"/>
              <a:gd name="connsiteY36-310" fmla="*/ 1207107 h 4657121"/>
              <a:gd name="connsiteX37-311" fmla="*/ 414246 w 4036187"/>
              <a:gd name="connsiteY37-312" fmla="*/ 1216441 h 4657121"/>
              <a:gd name="connsiteX38-313" fmla="*/ 479016 w 4036187"/>
              <a:gd name="connsiteY38-314" fmla="*/ 1300261 h 4657121"/>
              <a:gd name="connsiteX39-315" fmla="*/ 780006 w 4036187"/>
              <a:gd name="connsiteY39-316" fmla="*/ 1399321 h 4657121"/>
              <a:gd name="connsiteX40-317" fmla="*/ 863826 w 4036187"/>
              <a:gd name="connsiteY40-318" fmla="*/ 1418371 h 4657121"/>
              <a:gd name="connsiteX41-319" fmla="*/ 806676 w 4036187"/>
              <a:gd name="connsiteY41-320" fmla="*/ 1254541 h 4657121"/>
              <a:gd name="connsiteX42-321" fmla="*/ 793453 w 4036187"/>
              <a:gd name="connsiteY42-322" fmla="*/ 1072782 h 4657121"/>
              <a:gd name="connsiteX43-323" fmla="*/ 938682 w 4036187"/>
              <a:gd name="connsiteY43-324" fmla="*/ 925088 h 4657121"/>
              <a:gd name="connsiteX44-325" fmla="*/ 995065 w 4036187"/>
              <a:gd name="connsiteY44-326" fmla="*/ 919520 h 4657121"/>
              <a:gd name="connsiteX45-327" fmla="*/ 1138146 w 4036187"/>
              <a:gd name="connsiteY45-328" fmla="*/ 972153 h 4657121"/>
              <a:gd name="connsiteX46-329" fmla="*/ 1210536 w 4036187"/>
              <a:gd name="connsiteY46-330" fmla="*/ 1121191 h 4657121"/>
              <a:gd name="connsiteX47-331" fmla="*/ 1230931 w 4036187"/>
              <a:gd name="connsiteY47-332" fmla="*/ 1323121 h 4657121"/>
              <a:gd name="connsiteX48-333" fmla="*/ 1244826 w 4036187"/>
              <a:gd name="connsiteY48-334" fmla="*/ 1475521 h 4657121"/>
              <a:gd name="connsiteX49-335" fmla="*/ 1421879 w 4036187"/>
              <a:gd name="connsiteY49-336" fmla="*/ 1551721 h 4657121"/>
              <a:gd name="connsiteX50-337" fmla="*/ 1488666 w 4036187"/>
              <a:gd name="connsiteY50-338" fmla="*/ 1765081 h 4657121"/>
              <a:gd name="connsiteX51-339" fmla="*/ 1549626 w 4036187"/>
              <a:gd name="connsiteY51-340" fmla="*/ 1917481 h 4657121"/>
              <a:gd name="connsiteX52-341" fmla="*/ 1656306 w 4036187"/>
              <a:gd name="connsiteY52-342" fmla="*/ 2466121 h 4657121"/>
              <a:gd name="connsiteX53-343" fmla="*/ 1869218 w 4036187"/>
              <a:gd name="connsiteY53-344" fmla="*/ 2594764 h 4657121"/>
              <a:gd name="connsiteX54-345" fmla="*/ 2037306 w 4036187"/>
              <a:gd name="connsiteY54-346" fmla="*/ 2809021 h 4657121"/>
              <a:gd name="connsiteX55-347" fmla="*/ 2484197 w 4036187"/>
              <a:gd name="connsiteY55-348" fmla="*/ 3330319 h 4657121"/>
              <a:gd name="connsiteX56-349" fmla="*/ 3122932 w 4036187"/>
              <a:gd name="connsiteY56-350" fmla="*/ 3655289 h 4657121"/>
              <a:gd name="connsiteX57-351" fmla="*/ 3561306 w 4036187"/>
              <a:gd name="connsiteY57-352" fmla="*/ 4020601 h 4657121"/>
              <a:gd name="connsiteX58-353" fmla="*/ 3995646 w 4036187"/>
              <a:gd name="connsiteY58-354" fmla="*/ 4371121 h 4657121"/>
              <a:gd name="connsiteX59-355" fmla="*/ 3988026 w 4036187"/>
              <a:gd name="connsiteY59-356" fmla="*/ 4653061 h 4657121"/>
              <a:gd name="connsiteX60-357" fmla="*/ 3896586 w 4036187"/>
              <a:gd name="connsiteY60-358" fmla="*/ 4614961 h 4657121"/>
              <a:gd name="connsiteX61-359" fmla="*/ 3690846 w 4036187"/>
              <a:gd name="connsiteY61-360" fmla="*/ 4393981 h 4657121"/>
              <a:gd name="connsiteX62-361" fmla="*/ 3496760 w 4036187"/>
              <a:gd name="connsiteY62-362" fmla="*/ 4247856 h 4657121"/>
              <a:gd name="connsiteX63-363" fmla="*/ 3422801 w 4036187"/>
              <a:gd name="connsiteY63-364" fmla="*/ 4165381 h 4657121"/>
              <a:gd name="connsiteX64-365" fmla="*/ 3201373 w 4036187"/>
              <a:gd name="connsiteY64-366" fmla="*/ 4031806 h 4657121"/>
              <a:gd name="connsiteX65-367" fmla="*/ 2490920 w 4036187"/>
              <a:gd name="connsiteY65-368" fmla="*/ 3691148 h 4657121"/>
              <a:gd name="connsiteX66-369" fmla="*/ 2333141 w 4036187"/>
              <a:gd name="connsiteY66-370" fmla="*/ 3652151 h 4657121"/>
              <a:gd name="connsiteX67-371" fmla="*/ 2006826 w 4036187"/>
              <a:gd name="connsiteY67-372" fmla="*/ 3487201 h 4657121"/>
              <a:gd name="connsiteX68-373" fmla="*/ 1580106 w 4036187"/>
              <a:gd name="connsiteY68-374" fmla="*/ 3311941 h 4657121"/>
              <a:gd name="connsiteX69-375" fmla="*/ 1011366 w 4036187"/>
              <a:gd name="connsiteY69-376" fmla="*/ 3356336 h 4657121"/>
              <a:gd name="connsiteX70-377" fmla="*/ 1161935 w 4036187"/>
              <a:gd name="connsiteY70-378" fmla="*/ 3484045 h 4657121"/>
              <a:gd name="connsiteX71-379" fmla="*/ 1328646 w 4036187"/>
              <a:gd name="connsiteY71-380" fmla="*/ 3627946 h 4657121"/>
              <a:gd name="connsiteX72-381" fmla="*/ 1465806 w 4036187"/>
              <a:gd name="connsiteY72-382" fmla="*/ 3700561 h 4657121"/>
              <a:gd name="connsiteX73-383" fmla="*/ 1459531 w 4036187"/>
              <a:gd name="connsiteY73-384" fmla="*/ 3884337 h 4657121"/>
              <a:gd name="connsiteX74-385" fmla="*/ 1530352 w 4036187"/>
              <a:gd name="connsiteY74-386" fmla="*/ 4226340 h 4657121"/>
              <a:gd name="connsiteX75-387" fmla="*/ 1481046 w 4036187"/>
              <a:gd name="connsiteY75-388" fmla="*/ 4302541 h 4657121"/>
              <a:gd name="connsiteX76-389" fmla="*/ 1214346 w 4036187"/>
              <a:gd name="connsiteY76-390" fmla="*/ 3952021 h 4657121"/>
              <a:gd name="connsiteX77-391" fmla="*/ 947646 w 4036187"/>
              <a:gd name="connsiteY77-392" fmla="*/ 3715801 h 4657121"/>
              <a:gd name="connsiteX78-393" fmla="*/ 437106 w 4036187"/>
              <a:gd name="connsiteY78-394" fmla="*/ 3342421 h 4657121"/>
              <a:gd name="connsiteX79-395" fmla="*/ 429486 w 4036187"/>
              <a:gd name="connsiteY79-396" fmla="*/ 3075721 h 4657121"/>
              <a:gd name="connsiteX80-397" fmla="*/ 1196417 w 4036187"/>
              <a:gd name="connsiteY80-398" fmla="*/ 2814399 h 4657121"/>
              <a:gd name="connsiteX81-399" fmla="*/ 1169074 w 4036187"/>
              <a:gd name="connsiteY81-400" fmla="*/ 2637795 h 4657121"/>
              <a:gd name="connsiteX82-401" fmla="*/ 1023846 w 4036187"/>
              <a:gd name="connsiteY82-402" fmla="*/ 2290861 h 4657121"/>
              <a:gd name="connsiteX83-403" fmla="*/ 924786 w 4036187"/>
              <a:gd name="connsiteY83-404" fmla="*/ 2001301 h 4657121"/>
              <a:gd name="connsiteX84-405" fmla="*/ 798383 w 4036187"/>
              <a:gd name="connsiteY84-406" fmla="*/ 2064054 h 4657121"/>
              <a:gd name="connsiteX85-407" fmla="*/ 589506 w 4036187"/>
              <a:gd name="connsiteY85-408" fmla="*/ 2077501 h 4657121"/>
              <a:gd name="connsiteX86-409" fmla="*/ 368526 w 4036187"/>
              <a:gd name="connsiteY86-410" fmla="*/ 2115601 h 4657121"/>
              <a:gd name="connsiteX87-411" fmla="*/ 208506 w 4036187"/>
              <a:gd name="connsiteY87-412" fmla="*/ 1841281 h 4657121"/>
              <a:gd name="connsiteX88-413" fmla="*/ 164691 w 4036187"/>
              <a:gd name="connsiteY88-414" fmla="*/ 1620301 h 4657121"/>
              <a:gd name="connsiteX89-415" fmla="*/ 151103 w 4036187"/>
              <a:gd name="connsiteY89-416" fmla="*/ 1592976 h 4657121"/>
              <a:gd name="connsiteX90-417" fmla="*/ 151043 w 4036187"/>
              <a:gd name="connsiteY90-418" fmla="*/ 1592915 h 4657121"/>
              <a:gd name="connsiteX91-419" fmla="*/ 95320 w 4036187"/>
              <a:gd name="connsiteY91-420" fmla="*/ 1680262 h 4657121"/>
              <a:gd name="connsiteX92-421" fmla="*/ 93100 w 4036187"/>
              <a:gd name="connsiteY92-422" fmla="*/ 1679167 h 4657121"/>
              <a:gd name="connsiteX93-423" fmla="*/ 26784 w 4036187"/>
              <a:gd name="connsiteY93-424" fmla="*/ 1697126 h 4657121"/>
              <a:gd name="connsiteX94-425" fmla="*/ 5823 w 4036187"/>
              <a:gd name="connsiteY94-426" fmla="*/ 1637185 h 4657121"/>
              <a:gd name="connsiteX95-427" fmla="*/ 6401 w 4036187"/>
              <a:gd name="connsiteY95-428" fmla="*/ 1636398 h 4657121"/>
              <a:gd name="connsiteX96-429" fmla="*/ 5456 w 4036187"/>
              <a:gd name="connsiteY96-430" fmla="*/ 1635932 h 4657121"/>
              <a:gd name="connsiteX97-431" fmla="*/ 88087 w 4036187"/>
              <a:gd name="connsiteY97-432" fmla="*/ 1498257 h 4657121"/>
              <a:gd name="connsiteX98-433" fmla="*/ 82613 w 4036187"/>
              <a:gd name="connsiteY98-434" fmla="*/ 1479391 h 4657121"/>
              <a:gd name="connsiteX99-435" fmla="*/ 78966 w 4036187"/>
              <a:gd name="connsiteY99-436" fmla="*/ 1460281 h 4657121"/>
              <a:gd name="connsiteX100-437" fmla="*/ 96745 w 4036187"/>
              <a:gd name="connsiteY100-438" fmla="*/ 1429801 h 4657121"/>
              <a:gd name="connsiteX101-439" fmla="*/ 101826 w 4036187"/>
              <a:gd name="connsiteY101-440" fmla="*/ 1406941 h 4657121"/>
              <a:gd name="connsiteX102-441" fmla="*/ 122145 w 4036187"/>
              <a:gd name="connsiteY102-442" fmla="*/ 1389161 h 4657121"/>
              <a:gd name="connsiteX103-443" fmla="*/ 127226 w 4036187"/>
              <a:gd name="connsiteY103-444" fmla="*/ 1361221 h 4657121"/>
              <a:gd name="connsiteX104-445" fmla="*/ 152625 w 4036187"/>
              <a:gd name="connsiteY104-446" fmla="*/ 1335821 h 4657121"/>
              <a:gd name="connsiteX105-447" fmla="*/ 157706 w 4036187"/>
              <a:gd name="connsiteY105-448" fmla="*/ 1310421 h 4657121"/>
              <a:gd name="connsiteX106-449" fmla="*/ 178025 w 4036187"/>
              <a:gd name="connsiteY106-450" fmla="*/ 1295181 h 4657121"/>
              <a:gd name="connsiteX107-451" fmla="*/ 180565 w 4036187"/>
              <a:gd name="connsiteY107-452" fmla="*/ 1272321 h 4657121"/>
              <a:gd name="connsiteX108-453" fmla="*/ 197075 w 4036187"/>
              <a:gd name="connsiteY108-454" fmla="*/ 1258351 h 4657121"/>
              <a:gd name="connsiteX109-455" fmla="*/ 203426 w 4036187"/>
              <a:gd name="connsiteY109-456" fmla="*/ 1236761 h 4657121"/>
              <a:gd name="connsiteX110-457" fmla="*/ 223745 w 4036187"/>
              <a:gd name="connsiteY110-458" fmla="*/ 1218981 h 4657121"/>
              <a:gd name="connsiteX111-459" fmla="*/ 221205 w 4036187"/>
              <a:gd name="connsiteY111-460" fmla="*/ 1196121 h 4657121"/>
              <a:gd name="connsiteX112-461" fmla="*/ 241525 w 4036187"/>
              <a:gd name="connsiteY112-462" fmla="*/ 1180881 h 4657121"/>
              <a:gd name="connsiteX113-463" fmla="*/ 241526 w 4036187"/>
              <a:gd name="connsiteY113-464" fmla="*/ 1160561 h 4657121"/>
              <a:gd name="connsiteX114-465" fmla="*/ 264385 w 4036187"/>
              <a:gd name="connsiteY114-466" fmla="*/ 1142781 h 4657121"/>
              <a:gd name="connsiteX115-467" fmla="*/ 284706 w 4036187"/>
              <a:gd name="connsiteY115-468" fmla="*/ 1125001 h 4657121"/>
              <a:gd name="connsiteX116-469" fmla="*/ 309167 w 4036187"/>
              <a:gd name="connsiteY116-470" fmla="*/ 1139328 h 4657121"/>
              <a:gd name="connsiteX117-471" fmla="*/ 369954 w 4036187"/>
              <a:gd name="connsiteY117-472" fmla="*/ 1042635 h 4657121"/>
              <a:gd name="connsiteX118-473" fmla="*/ 331087 w 4036187"/>
              <a:gd name="connsiteY118-474" fmla="*/ 990018 h 4657121"/>
              <a:gd name="connsiteX119-475" fmla="*/ 416424 w 4036187"/>
              <a:gd name="connsiteY119-476" fmla="*/ 1003067 h 4657121"/>
              <a:gd name="connsiteX120-477" fmla="*/ 1126344 w 4036187"/>
              <a:gd name="connsiteY120-478" fmla="*/ 47041 h 4657121"/>
              <a:gd name="connsiteX121-479" fmla="*/ 1244295 w 4036187"/>
              <a:gd name="connsiteY121-480" fmla="*/ 0 h 4657121"/>
              <a:gd name="connsiteX0-481" fmla="*/ 93291 w 4036187"/>
              <a:gd name="connsiteY0-482" fmla="*/ 1584790 h 4657121"/>
              <a:gd name="connsiteX1-483" fmla="*/ 54878 w 4036187"/>
              <a:gd name="connsiteY1-484" fmla="*/ 1590575 h 4657121"/>
              <a:gd name="connsiteX2-485" fmla="*/ 68452 w 4036187"/>
              <a:gd name="connsiteY2-486" fmla="*/ 1624121 h 4657121"/>
              <a:gd name="connsiteX3-487" fmla="*/ 106864 w 4036187"/>
              <a:gd name="connsiteY3-488" fmla="*/ 1618336 h 4657121"/>
              <a:gd name="connsiteX4-489" fmla="*/ 93291 w 4036187"/>
              <a:gd name="connsiteY4-490" fmla="*/ 1584790 h 4657121"/>
              <a:gd name="connsiteX5-491" fmla="*/ 103049 w 4036187"/>
              <a:gd name="connsiteY5-492" fmla="*/ 1536183 h 4657121"/>
              <a:gd name="connsiteX6-493" fmla="*/ 84080 w 4036187"/>
              <a:gd name="connsiteY6-494" fmla="*/ 1539040 h 4657121"/>
              <a:gd name="connsiteX7-495" fmla="*/ 97653 w 4036187"/>
              <a:gd name="connsiteY7-496" fmla="*/ 1572586 h 4657121"/>
              <a:gd name="connsiteX8-497" fmla="*/ 124029 w 4036187"/>
              <a:gd name="connsiteY8-498" fmla="*/ 1568613 h 4657121"/>
              <a:gd name="connsiteX9-499" fmla="*/ 121784 w 4036187"/>
              <a:gd name="connsiteY9-500" fmla="*/ 1566902 h 4657121"/>
              <a:gd name="connsiteX10-501" fmla="*/ 109446 w 4036187"/>
              <a:gd name="connsiteY10-502" fmla="*/ 1551721 h 4657121"/>
              <a:gd name="connsiteX11-503" fmla="*/ 103049 w 4036187"/>
              <a:gd name="connsiteY11-504" fmla="*/ 1536183 h 4657121"/>
              <a:gd name="connsiteX12-505" fmla="*/ 330425 w 4036187"/>
              <a:gd name="connsiteY12-506" fmla="*/ 1414561 h 4657121"/>
              <a:gd name="connsiteX13-507" fmla="*/ 303755 w 4036187"/>
              <a:gd name="connsiteY13-508" fmla="*/ 1509811 h 4657121"/>
              <a:gd name="connsiteX14-509" fmla="*/ 467585 w 4036187"/>
              <a:gd name="connsiteY14-510" fmla="*/ 1848901 h 4657121"/>
              <a:gd name="connsiteX15-511" fmla="*/ 629398 w 4036187"/>
              <a:gd name="connsiteY15-512" fmla="*/ 1781666 h 4657121"/>
              <a:gd name="connsiteX16-513" fmla="*/ 795245 w 4036187"/>
              <a:gd name="connsiteY16-514" fmla="*/ 1757461 h 4657121"/>
              <a:gd name="connsiteX17-515" fmla="*/ 886685 w 4036187"/>
              <a:gd name="connsiteY17-516" fmla="*/ 1666021 h 4657121"/>
              <a:gd name="connsiteX18-517" fmla="*/ 612365 w 4036187"/>
              <a:gd name="connsiteY18-518" fmla="*/ 1589821 h 4657121"/>
              <a:gd name="connsiteX19-519" fmla="*/ 429485 w 4036187"/>
              <a:gd name="connsiteY19-520" fmla="*/ 1471711 h 4657121"/>
              <a:gd name="connsiteX20-521" fmla="*/ 330425 w 4036187"/>
              <a:gd name="connsiteY20-522" fmla="*/ 1414561 h 4657121"/>
              <a:gd name="connsiteX21-523" fmla="*/ 377386 w 4036187"/>
              <a:gd name="connsiteY21-524" fmla="*/ 1136442 h 4657121"/>
              <a:gd name="connsiteX22-525" fmla="*/ 338974 w 4036187"/>
              <a:gd name="connsiteY22-526" fmla="*/ 1142228 h 4657121"/>
              <a:gd name="connsiteX23-527" fmla="*/ 348453 w 4036187"/>
              <a:gd name="connsiteY23-528" fmla="*/ 1165655 h 4657121"/>
              <a:gd name="connsiteX24-529" fmla="*/ 360621 w 4036187"/>
              <a:gd name="connsiteY24-530" fmla="*/ 1174557 h 4657121"/>
              <a:gd name="connsiteX25-531" fmla="*/ 390959 w 4036187"/>
              <a:gd name="connsiteY25-532" fmla="*/ 1169988 h 4657121"/>
              <a:gd name="connsiteX26-533" fmla="*/ 377386 w 4036187"/>
              <a:gd name="connsiteY26-534" fmla="*/ 1136442 h 4657121"/>
              <a:gd name="connsiteX27-535" fmla="*/ 1160386 w 4036187"/>
              <a:gd name="connsiteY27-536" fmla="*/ 41755 h 4657121"/>
              <a:gd name="connsiteX28-537" fmla="*/ 1127909 w 4036187"/>
              <a:gd name="connsiteY28-538" fmla="*/ 54182 h 4657121"/>
              <a:gd name="connsiteX29-539" fmla="*/ 452868 w 4036187"/>
              <a:gd name="connsiteY29-540" fmla="*/ 957816 h 4657121"/>
              <a:gd name="connsiteX30-541" fmla="*/ 478765 w 4036187"/>
              <a:gd name="connsiteY30-542" fmla="*/ 974831 h 4657121"/>
              <a:gd name="connsiteX31-543" fmla="*/ 1160386 w 4036187"/>
              <a:gd name="connsiteY31-544" fmla="*/ 41755 h 4657121"/>
              <a:gd name="connsiteX32-545" fmla="*/ 1244295 w 4036187"/>
              <a:gd name="connsiteY32-546" fmla="*/ 0 h 4657121"/>
              <a:gd name="connsiteX33-547" fmla="*/ 492571 w 4036187"/>
              <a:gd name="connsiteY33-548" fmla="*/ 1045306 h 4657121"/>
              <a:gd name="connsiteX34-549" fmla="*/ 542034 w 4036187"/>
              <a:gd name="connsiteY34-550" fmla="*/ 1105827 h 4657121"/>
              <a:gd name="connsiteX35-551" fmla="*/ 474644 w 4036187"/>
              <a:gd name="connsiteY35-552" fmla="*/ 1099925 h 4657121"/>
              <a:gd name="connsiteX36-553" fmla="*/ 402847 w 4036187"/>
              <a:gd name="connsiteY36-554" fmla="*/ 1207107 h 4657121"/>
              <a:gd name="connsiteX37-555" fmla="*/ 414246 w 4036187"/>
              <a:gd name="connsiteY37-556" fmla="*/ 1216441 h 4657121"/>
              <a:gd name="connsiteX38-557" fmla="*/ 479016 w 4036187"/>
              <a:gd name="connsiteY38-558" fmla="*/ 1300261 h 4657121"/>
              <a:gd name="connsiteX39-559" fmla="*/ 780006 w 4036187"/>
              <a:gd name="connsiteY39-560" fmla="*/ 1399321 h 4657121"/>
              <a:gd name="connsiteX40-561" fmla="*/ 863826 w 4036187"/>
              <a:gd name="connsiteY40-562" fmla="*/ 1418371 h 4657121"/>
              <a:gd name="connsiteX41-563" fmla="*/ 806676 w 4036187"/>
              <a:gd name="connsiteY41-564" fmla="*/ 1254541 h 4657121"/>
              <a:gd name="connsiteX42-565" fmla="*/ 793453 w 4036187"/>
              <a:gd name="connsiteY42-566" fmla="*/ 1072782 h 4657121"/>
              <a:gd name="connsiteX43-567" fmla="*/ 938682 w 4036187"/>
              <a:gd name="connsiteY43-568" fmla="*/ 925088 h 4657121"/>
              <a:gd name="connsiteX44-569" fmla="*/ 995065 w 4036187"/>
              <a:gd name="connsiteY44-570" fmla="*/ 919520 h 4657121"/>
              <a:gd name="connsiteX45-571" fmla="*/ 1138146 w 4036187"/>
              <a:gd name="connsiteY45-572" fmla="*/ 972153 h 4657121"/>
              <a:gd name="connsiteX46-573" fmla="*/ 1210536 w 4036187"/>
              <a:gd name="connsiteY46-574" fmla="*/ 1121191 h 4657121"/>
              <a:gd name="connsiteX47-575" fmla="*/ 1230931 w 4036187"/>
              <a:gd name="connsiteY47-576" fmla="*/ 1323121 h 4657121"/>
              <a:gd name="connsiteX48-577" fmla="*/ 1244826 w 4036187"/>
              <a:gd name="connsiteY48-578" fmla="*/ 1475521 h 4657121"/>
              <a:gd name="connsiteX49-579" fmla="*/ 1421879 w 4036187"/>
              <a:gd name="connsiteY49-580" fmla="*/ 1551721 h 4657121"/>
              <a:gd name="connsiteX50-581" fmla="*/ 1488666 w 4036187"/>
              <a:gd name="connsiteY50-582" fmla="*/ 1765081 h 4657121"/>
              <a:gd name="connsiteX51-583" fmla="*/ 1549626 w 4036187"/>
              <a:gd name="connsiteY51-584" fmla="*/ 1917481 h 4657121"/>
              <a:gd name="connsiteX52-585" fmla="*/ 1656306 w 4036187"/>
              <a:gd name="connsiteY52-586" fmla="*/ 2466121 h 4657121"/>
              <a:gd name="connsiteX53-587" fmla="*/ 1869218 w 4036187"/>
              <a:gd name="connsiteY53-588" fmla="*/ 2594764 h 4657121"/>
              <a:gd name="connsiteX54-589" fmla="*/ 2037306 w 4036187"/>
              <a:gd name="connsiteY54-590" fmla="*/ 2809021 h 4657121"/>
              <a:gd name="connsiteX55-591" fmla="*/ 2484197 w 4036187"/>
              <a:gd name="connsiteY55-592" fmla="*/ 3330319 h 4657121"/>
              <a:gd name="connsiteX56-593" fmla="*/ 3122932 w 4036187"/>
              <a:gd name="connsiteY56-594" fmla="*/ 3655289 h 4657121"/>
              <a:gd name="connsiteX57-595" fmla="*/ 3561306 w 4036187"/>
              <a:gd name="connsiteY57-596" fmla="*/ 4020601 h 4657121"/>
              <a:gd name="connsiteX58-597" fmla="*/ 3995646 w 4036187"/>
              <a:gd name="connsiteY58-598" fmla="*/ 4371121 h 4657121"/>
              <a:gd name="connsiteX59-599" fmla="*/ 3988026 w 4036187"/>
              <a:gd name="connsiteY59-600" fmla="*/ 4653061 h 4657121"/>
              <a:gd name="connsiteX60-601" fmla="*/ 3896586 w 4036187"/>
              <a:gd name="connsiteY60-602" fmla="*/ 4614961 h 4657121"/>
              <a:gd name="connsiteX61-603" fmla="*/ 3690846 w 4036187"/>
              <a:gd name="connsiteY61-604" fmla="*/ 4393981 h 4657121"/>
              <a:gd name="connsiteX62-605" fmla="*/ 3496760 w 4036187"/>
              <a:gd name="connsiteY62-606" fmla="*/ 4247856 h 4657121"/>
              <a:gd name="connsiteX63-607" fmla="*/ 3422801 w 4036187"/>
              <a:gd name="connsiteY63-608" fmla="*/ 4165381 h 4657121"/>
              <a:gd name="connsiteX64-609" fmla="*/ 3201373 w 4036187"/>
              <a:gd name="connsiteY64-610" fmla="*/ 4031806 h 4657121"/>
              <a:gd name="connsiteX65-611" fmla="*/ 2490920 w 4036187"/>
              <a:gd name="connsiteY65-612" fmla="*/ 3691148 h 4657121"/>
              <a:gd name="connsiteX66-613" fmla="*/ 2333141 w 4036187"/>
              <a:gd name="connsiteY66-614" fmla="*/ 3652151 h 4657121"/>
              <a:gd name="connsiteX67-615" fmla="*/ 2006826 w 4036187"/>
              <a:gd name="connsiteY67-616" fmla="*/ 3487201 h 4657121"/>
              <a:gd name="connsiteX68-617" fmla="*/ 1580106 w 4036187"/>
              <a:gd name="connsiteY68-618" fmla="*/ 3311941 h 4657121"/>
              <a:gd name="connsiteX69-619" fmla="*/ 1011366 w 4036187"/>
              <a:gd name="connsiteY69-620" fmla="*/ 3356336 h 4657121"/>
              <a:gd name="connsiteX70-621" fmla="*/ 1161935 w 4036187"/>
              <a:gd name="connsiteY70-622" fmla="*/ 3484045 h 4657121"/>
              <a:gd name="connsiteX71-623" fmla="*/ 1296398 w 4036187"/>
              <a:gd name="connsiteY71-624" fmla="*/ 3668256 h 4657121"/>
              <a:gd name="connsiteX72-625" fmla="*/ 1465806 w 4036187"/>
              <a:gd name="connsiteY72-626" fmla="*/ 3700561 h 4657121"/>
              <a:gd name="connsiteX73-627" fmla="*/ 1459531 w 4036187"/>
              <a:gd name="connsiteY73-628" fmla="*/ 3884337 h 4657121"/>
              <a:gd name="connsiteX74-629" fmla="*/ 1530352 w 4036187"/>
              <a:gd name="connsiteY74-630" fmla="*/ 4226340 h 4657121"/>
              <a:gd name="connsiteX75-631" fmla="*/ 1481046 w 4036187"/>
              <a:gd name="connsiteY75-632" fmla="*/ 4302541 h 4657121"/>
              <a:gd name="connsiteX76-633" fmla="*/ 1214346 w 4036187"/>
              <a:gd name="connsiteY76-634" fmla="*/ 3952021 h 4657121"/>
              <a:gd name="connsiteX77-635" fmla="*/ 947646 w 4036187"/>
              <a:gd name="connsiteY77-636" fmla="*/ 3715801 h 4657121"/>
              <a:gd name="connsiteX78-637" fmla="*/ 437106 w 4036187"/>
              <a:gd name="connsiteY78-638" fmla="*/ 3342421 h 4657121"/>
              <a:gd name="connsiteX79-639" fmla="*/ 429486 w 4036187"/>
              <a:gd name="connsiteY79-640" fmla="*/ 3075721 h 4657121"/>
              <a:gd name="connsiteX80-641" fmla="*/ 1196417 w 4036187"/>
              <a:gd name="connsiteY80-642" fmla="*/ 2814399 h 4657121"/>
              <a:gd name="connsiteX81-643" fmla="*/ 1169074 w 4036187"/>
              <a:gd name="connsiteY81-644" fmla="*/ 2637795 h 4657121"/>
              <a:gd name="connsiteX82-645" fmla="*/ 1023846 w 4036187"/>
              <a:gd name="connsiteY82-646" fmla="*/ 2290861 h 4657121"/>
              <a:gd name="connsiteX83-647" fmla="*/ 924786 w 4036187"/>
              <a:gd name="connsiteY83-648" fmla="*/ 2001301 h 4657121"/>
              <a:gd name="connsiteX84-649" fmla="*/ 798383 w 4036187"/>
              <a:gd name="connsiteY84-650" fmla="*/ 2064054 h 4657121"/>
              <a:gd name="connsiteX85-651" fmla="*/ 589506 w 4036187"/>
              <a:gd name="connsiteY85-652" fmla="*/ 2077501 h 4657121"/>
              <a:gd name="connsiteX86-653" fmla="*/ 368526 w 4036187"/>
              <a:gd name="connsiteY86-654" fmla="*/ 2115601 h 4657121"/>
              <a:gd name="connsiteX87-655" fmla="*/ 208506 w 4036187"/>
              <a:gd name="connsiteY87-656" fmla="*/ 1841281 h 4657121"/>
              <a:gd name="connsiteX88-657" fmla="*/ 164691 w 4036187"/>
              <a:gd name="connsiteY88-658" fmla="*/ 1620301 h 4657121"/>
              <a:gd name="connsiteX89-659" fmla="*/ 151103 w 4036187"/>
              <a:gd name="connsiteY89-660" fmla="*/ 1592976 h 4657121"/>
              <a:gd name="connsiteX90-661" fmla="*/ 151043 w 4036187"/>
              <a:gd name="connsiteY90-662" fmla="*/ 1592915 h 4657121"/>
              <a:gd name="connsiteX91-663" fmla="*/ 95320 w 4036187"/>
              <a:gd name="connsiteY91-664" fmla="*/ 1680262 h 4657121"/>
              <a:gd name="connsiteX92-665" fmla="*/ 93100 w 4036187"/>
              <a:gd name="connsiteY92-666" fmla="*/ 1679167 h 4657121"/>
              <a:gd name="connsiteX93-667" fmla="*/ 26784 w 4036187"/>
              <a:gd name="connsiteY93-668" fmla="*/ 1697126 h 4657121"/>
              <a:gd name="connsiteX94-669" fmla="*/ 5823 w 4036187"/>
              <a:gd name="connsiteY94-670" fmla="*/ 1637185 h 4657121"/>
              <a:gd name="connsiteX95-671" fmla="*/ 6401 w 4036187"/>
              <a:gd name="connsiteY95-672" fmla="*/ 1636398 h 4657121"/>
              <a:gd name="connsiteX96-673" fmla="*/ 5456 w 4036187"/>
              <a:gd name="connsiteY96-674" fmla="*/ 1635932 h 4657121"/>
              <a:gd name="connsiteX97-675" fmla="*/ 88087 w 4036187"/>
              <a:gd name="connsiteY97-676" fmla="*/ 1498257 h 4657121"/>
              <a:gd name="connsiteX98-677" fmla="*/ 82613 w 4036187"/>
              <a:gd name="connsiteY98-678" fmla="*/ 1479391 h 4657121"/>
              <a:gd name="connsiteX99-679" fmla="*/ 78966 w 4036187"/>
              <a:gd name="connsiteY99-680" fmla="*/ 1460281 h 4657121"/>
              <a:gd name="connsiteX100-681" fmla="*/ 96745 w 4036187"/>
              <a:gd name="connsiteY100-682" fmla="*/ 1429801 h 4657121"/>
              <a:gd name="connsiteX101-683" fmla="*/ 101826 w 4036187"/>
              <a:gd name="connsiteY101-684" fmla="*/ 1406941 h 4657121"/>
              <a:gd name="connsiteX102-685" fmla="*/ 122145 w 4036187"/>
              <a:gd name="connsiteY102-686" fmla="*/ 1389161 h 4657121"/>
              <a:gd name="connsiteX103-687" fmla="*/ 127226 w 4036187"/>
              <a:gd name="connsiteY103-688" fmla="*/ 1361221 h 4657121"/>
              <a:gd name="connsiteX104-689" fmla="*/ 152625 w 4036187"/>
              <a:gd name="connsiteY104-690" fmla="*/ 1335821 h 4657121"/>
              <a:gd name="connsiteX105-691" fmla="*/ 157706 w 4036187"/>
              <a:gd name="connsiteY105-692" fmla="*/ 1310421 h 4657121"/>
              <a:gd name="connsiteX106-693" fmla="*/ 178025 w 4036187"/>
              <a:gd name="connsiteY106-694" fmla="*/ 1295181 h 4657121"/>
              <a:gd name="connsiteX107-695" fmla="*/ 180565 w 4036187"/>
              <a:gd name="connsiteY107-696" fmla="*/ 1272321 h 4657121"/>
              <a:gd name="connsiteX108-697" fmla="*/ 197075 w 4036187"/>
              <a:gd name="connsiteY108-698" fmla="*/ 1258351 h 4657121"/>
              <a:gd name="connsiteX109-699" fmla="*/ 203426 w 4036187"/>
              <a:gd name="connsiteY109-700" fmla="*/ 1236761 h 4657121"/>
              <a:gd name="connsiteX110-701" fmla="*/ 223745 w 4036187"/>
              <a:gd name="connsiteY110-702" fmla="*/ 1218981 h 4657121"/>
              <a:gd name="connsiteX111-703" fmla="*/ 221205 w 4036187"/>
              <a:gd name="connsiteY111-704" fmla="*/ 1196121 h 4657121"/>
              <a:gd name="connsiteX112-705" fmla="*/ 241525 w 4036187"/>
              <a:gd name="connsiteY112-706" fmla="*/ 1180881 h 4657121"/>
              <a:gd name="connsiteX113-707" fmla="*/ 241526 w 4036187"/>
              <a:gd name="connsiteY113-708" fmla="*/ 1160561 h 4657121"/>
              <a:gd name="connsiteX114-709" fmla="*/ 264385 w 4036187"/>
              <a:gd name="connsiteY114-710" fmla="*/ 1142781 h 4657121"/>
              <a:gd name="connsiteX115-711" fmla="*/ 284706 w 4036187"/>
              <a:gd name="connsiteY115-712" fmla="*/ 1125001 h 4657121"/>
              <a:gd name="connsiteX116-713" fmla="*/ 309167 w 4036187"/>
              <a:gd name="connsiteY116-714" fmla="*/ 1139328 h 4657121"/>
              <a:gd name="connsiteX117-715" fmla="*/ 369954 w 4036187"/>
              <a:gd name="connsiteY117-716" fmla="*/ 1042635 h 4657121"/>
              <a:gd name="connsiteX118-717" fmla="*/ 331087 w 4036187"/>
              <a:gd name="connsiteY118-718" fmla="*/ 990018 h 4657121"/>
              <a:gd name="connsiteX119-719" fmla="*/ 416424 w 4036187"/>
              <a:gd name="connsiteY119-720" fmla="*/ 1003067 h 4657121"/>
              <a:gd name="connsiteX120-721" fmla="*/ 1126344 w 4036187"/>
              <a:gd name="connsiteY120-722" fmla="*/ 47041 h 4657121"/>
              <a:gd name="connsiteX121-723" fmla="*/ 1244295 w 4036187"/>
              <a:gd name="connsiteY121-724" fmla="*/ 0 h 4657121"/>
              <a:gd name="connsiteX0-725" fmla="*/ 93291 w 4036187"/>
              <a:gd name="connsiteY0-726" fmla="*/ 1584790 h 4657121"/>
              <a:gd name="connsiteX1-727" fmla="*/ 54878 w 4036187"/>
              <a:gd name="connsiteY1-728" fmla="*/ 1590575 h 4657121"/>
              <a:gd name="connsiteX2-729" fmla="*/ 68452 w 4036187"/>
              <a:gd name="connsiteY2-730" fmla="*/ 1624121 h 4657121"/>
              <a:gd name="connsiteX3-731" fmla="*/ 106864 w 4036187"/>
              <a:gd name="connsiteY3-732" fmla="*/ 1618336 h 4657121"/>
              <a:gd name="connsiteX4-733" fmla="*/ 93291 w 4036187"/>
              <a:gd name="connsiteY4-734" fmla="*/ 1584790 h 4657121"/>
              <a:gd name="connsiteX5-735" fmla="*/ 103049 w 4036187"/>
              <a:gd name="connsiteY5-736" fmla="*/ 1536183 h 4657121"/>
              <a:gd name="connsiteX6-737" fmla="*/ 84080 w 4036187"/>
              <a:gd name="connsiteY6-738" fmla="*/ 1539040 h 4657121"/>
              <a:gd name="connsiteX7-739" fmla="*/ 97653 w 4036187"/>
              <a:gd name="connsiteY7-740" fmla="*/ 1572586 h 4657121"/>
              <a:gd name="connsiteX8-741" fmla="*/ 124029 w 4036187"/>
              <a:gd name="connsiteY8-742" fmla="*/ 1568613 h 4657121"/>
              <a:gd name="connsiteX9-743" fmla="*/ 121784 w 4036187"/>
              <a:gd name="connsiteY9-744" fmla="*/ 1566902 h 4657121"/>
              <a:gd name="connsiteX10-745" fmla="*/ 109446 w 4036187"/>
              <a:gd name="connsiteY10-746" fmla="*/ 1551721 h 4657121"/>
              <a:gd name="connsiteX11-747" fmla="*/ 103049 w 4036187"/>
              <a:gd name="connsiteY11-748" fmla="*/ 1536183 h 4657121"/>
              <a:gd name="connsiteX12-749" fmla="*/ 330425 w 4036187"/>
              <a:gd name="connsiteY12-750" fmla="*/ 1414561 h 4657121"/>
              <a:gd name="connsiteX13-751" fmla="*/ 303755 w 4036187"/>
              <a:gd name="connsiteY13-752" fmla="*/ 1509811 h 4657121"/>
              <a:gd name="connsiteX14-753" fmla="*/ 467585 w 4036187"/>
              <a:gd name="connsiteY14-754" fmla="*/ 1848901 h 4657121"/>
              <a:gd name="connsiteX15-755" fmla="*/ 629398 w 4036187"/>
              <a:gd name="connsiteY15-756" fmla="*/ 1781666 h 4657121"/>
              <a:gd name="connsiteX16-757" fmla="*/ 795245 w 4036187"/>
              <a:gd name="connsiteY16-758" fmla="*/ 1757461 h 4657121"/>
              <a:gd name="connsiteX17-759" fmla="*/ 886685 w 4036187"/>
              <a:gd name="connsiteY17-760" fmla="*/ 1666021 h 4657121"/>
              <a:gd name="connsiteX18-761" fmla="*/ 612365 w 4036187"/>
              <a:gd name="connsiteY18-762" fmla="*/ 1589821 h 4657121"/>
              <a:gd name="connsiteX19-763" fmla="*/ 429485 w 4036187"/>
              <a:gd name="connsiteY19-764" fmla="*/ 1471711 h 4657121"/>
              <a:gd name="connsiteX20-765" fmla="*/ 330425 w 4036187"/>
              <a:gd name="connsiteY20-766" fmla="*/ 1414561 h 4657121"/>
              <a:gd name="connsiteX21-767" fmla="*/ 377386 w 4036187"/>
              <a:gd name="connsiteY21-768" fmla="*/ 1136442 h 4657121"/>
              <a:gd name="connsiteX22-769" fmla="*/ 338974 w 4036187"/>
              <a:gd name="connsiteY22-770" fmla="*/ 1142228 h 4657121"/>
              <a:gd name="connsiteX23-771" fmla="*/ 348453 w 4036187"/>
              <a:gd name="connsiteY23-772" fmla="*/ 1165655 h 4657121"/>
              <a:gd name="connsiteX24-773" fmla="*/ 360621 w 4036187"/>
              <a:gd name="connsiteY24-774" fmla="*/ 1174557 h 4657121"/>
              <a:gd name="connsiteX25-775" fmla="*/ 390959 w 4036187"/>
              <a:gd name="connsiteY25-776" fmla="*/ 1169988 h 4657121"/>
              <a:gd name="connsiteX26-777" fmla="*/ 377386 w 4036187"/>
              <a:gd name="connsiteY26-778" fmla="*/ 1136442 h 4657121"/>
              <a:gd name="connsiteX27-779" fmla="*/ 1160386 w 4036187"/>
              <a:gd name="connsiteY27-780" fmla="*/ 41755 h 4657121"/>
              <a:gd name="connsiteX28-781" fmla="*/ 1127909 w 4036187"/>
              <a:gd name="connsiteY28-782" fmla="*/ 54182 h 4657121"/>
              <a:gd name="connsiteX29-783" fmla="*/ 452868 w 4036187"/>
              <a:gd name="connsiteY29-784" fmla="*/ 957816 h 4657121"/>
              <a:gd name="connsiteX30-785" fmla="*/ 478765 w 4036187"/>
              <a:gd name="connsiteY30-786" fmla="*/ 974831 h 4657121"/>
              <a:gd name="connsiteX31-787" fmla="*/ 1160386 w 4036187"/>
              <a:gd name="connsiteY31-788" fmla="*/ 41755 h 4657121"/>
              <a:gd name="connsiteX32-789" fmla="*/ 1244295 w 4036187"/>
              <a:gd name="connsiteY32-790" fmla="*/ 0 h 4657121"/>
              <a:gd name="connsiteX33-791" fmla="*/ 492571 w 4036187"/>
              <a:gd name="connsiteY33-792" fmla="*/ 1045306 h 4657121"/>
              <a:gd name="connsiteX34-793" fmla="*/ 542034 w 4036187"/>
              <a:gd name="connsiteY34-794" fmla="*/ 1105827 h 4657121"/>
              <a:gd name="connsiteX35-795" fmla="*/ 474644 w 4036187"/>
              <a:gd name="connsiteY35-796" fmla="*/ 1099925 h 4657121"/>
              <a:gd name="connsiteX36-797" fmla="*/ 402847 w 4036187"/>
              <a:gd name="connsiteY36-798" fmla="*/ 1207107 h 4657121"/>
              <a:gd name="connsiteX37-799" fmla="*/ 414246 w 4036187"/>
              <a:gd name="connsiteY37-800" fmla="*/ 1216441 h 4657121"/>
              <a:gd name="connsiteX38-801" fmla="*/ 479016 w 4036187"/>
              <a:gd name="connsiteY38-802" fmla="*/ 1300261 h 4657121"/>
              <a:gd name="connsiteX39-803" fmla="*/ 780006 w 4036187"/>
              <a:gd name="connsiteY39-804" fmla="*/ 1399321 h 4657121"/>
              <a:gd name="connsiteX40-805" fmla="*/ 863826 w 4036187"/>
              <a:gd name="connsiteY40-806" fmla="*/ 1418371 h 4657121"/>
              <a:gd name="connsiteX41-807" fmla="*/ 806676 w 4036187"/>
              <a:gd name="connsiteY41-808" fmla="*/ 1254541 h 4657121"/>
              <a:gd name="connsiteX42-809" fmla="*/ 793453 w 4036187"/>
              <a:gd name="connsiteY42-810" fmla="*/ 1072782 h 4657121"/>
              <a:gd name="connsiteX43-811" fmla="*/ 938682 w 4036187"/>
              <a:gd name="connsiteY43-812" fmla="*/ 925088 h 4657121"/>
              <a:gd name="connsiteX44-813" fmla="*/ 995065 w 4036187"/>
              <a:gd name="connsiteY44-814" fmla="*/ 919520 h 4657121"/>
              <a:gd name="connsiteX45-815" fmla="*/ 1138146 w 4036187"/>
              <a:gd name="connsiteY45-816" fmla="*/ 972153 h 4657121"/>
              <a:gd name="connsiteX46-817" fmla="*/ 1210536 w 4036187"/>
              <a:gd name="connsiteY46-818" fmla="*/ 1121191 h 4657121"/>
              <a:gd name="connsiteX47-819" fmla="*/ 1230931 w 4036187"/>
              <a:gd name="connsiteY47-820" fmla="*/ 1323121 h 4657121"/>
              <a:gd name="connsiteX48-821" fmla="*/ 1244826 w 4036187"/>
              <a:gd name="connsiteY48-822" fmla="*/ 1475521 h 4657121"/>
              <a:gd name="connsiteX49-823" fmla="*/ 1421879 w 4036187"/>
              <a:gd name="connsiteY49-824" fmla="*/ 1551721 h 4657121"/>
              <a:gd name="connsiteX50-825" fmla="*/ 1488666 w 4036187"/>
              <a:gd name="connsiteY50-826" fmla="*/ 1765081 h 4657121"/>
              <a:gd name="connsiteX51-827" fmla="*/ 1549626 w 4036187"/>
              <a:gd name="connsiteY51-828" fmla="*/ 1917481 h 4657121"/>
              <a:gd name="connsiteX52-829" fmla="*/ 1656306 w 4036187"/>
              <a:gd name="connsiteY52-830" fmla="*/ 2466121 h 4657121"/>
              <a:gd name="connsiteX53-831" fmla="*/ 1869218 w 4036187"/>
              <a:gd name="connsiteY53-832" fmla="*/ 2594764 h 4657121"/>
              <a:gd name="connsiteX54-833" fmla="*/ 2037306 w 4036187"/>
              <a:gd name="connsiteY54-834" fmla="*/ 2809021 h 4657121"/>
              <a:gd name="connsiteX55-835" fmla="*/ 2484197 w 4036187"/>
              <a:gd name="connsiteY55-836" fmla="*/ 3330319 h 4657121"/>
              <a:gd name="connsiteX56-837" fmla="*/ 3122932 w 4036187"/>
              <a:gd name="connsiteY56-838" fmla="*/ 3655289 h 4657121"/>
              <a:gd name="connsiteX57-839" fmla="*/ 3561306 w 4036187"/>
              <a:gd name="connsiteY57-840" fmla="*/ 4020601 h 4657121"/>
              <a:gd name="connsiteX58-841" fmla="*/ 3995646 w 4036187"/>
              <a:gd name="connsiteY58-842" fmla="*/ 4371121 h 4657121"/>
              <a:gd name="connsiteX59-843" fmla="*/ 3988026 w 4036187"/>
              <a:gd name="connsiteY59-844" fmla="*/ 4653061 h 4657121"/>
              <a:gd name="connsiteX60-845" fmla="*/ 3896586 w 4036187"/>
              <a:gd name="connsiteY60-846" fmla="*/ 4614961 h 4657121"/>
              <a:gd name="connsiteX61-847" fmla="*/ 3690846 w 4036187"/>
              <a:gd name="connsiteY61-848" fmla="*/ 4393981 h 4657121"/>
              <a:gd name="connsiteX62-849" fmla="*/ 3496760 w 4036187"/>
              <a:gd name="connsiteY62-850" fmla="*/ 4247856 h 4657121"/>
              <a:gd name="connsiteX63-851" fmla="*/ 3422801 w 4036187"/>
              <a:gd name="connsiteY63-852" fmla="*/ 4165381 h 4657121"/>
              <a:gd name="connsiteX64-853" fmla="*/ 3201373 w 4036187"/>
              <a:gd name="connsiteY64-854" fmla="*/ 4031806 h 4657121"/>
              <a:gd name="connsiteX65-855" fmla="*/ 2490920 w 4036187"/>
              <a:gd name="connsiteY65-856" fmla="*/ 3691148 h 4657121"/>
              <a:gd name="connsiteX66-857" fmla="*/ 2333141 w 4036187"/>
              <a:gd name="connsiteY66-858" fmla="*/ 3652151 h 4657121"/>
              <a:gd name="connsiteX67-859" fmla="*/ 2006826 w 4036187"/>
              <a:gd name="connsiteY67-860" fmla="*/ 3487201 h 4657121"/>
              <a:gd name="connsiteX68-861" fmla="*/ 1580106 w 4036187"/>
              <a:gd name="connsiteY68-862" fmla="*/ 3311941 h 4657121"/>
              <a:gd name="connsiteX69-863" fmla="*/ 1011366 w 4036187"/>
              <a:gd name="connsiteY69-864" fmla="*/ 3356336 h 4657121"/>
              <a:gd name="connsiteX70-865" fmla="*/ 1161935 w 4036187"/>
              <a:gd name="connsiteY70-866" fmla="*/ 3484045 h 4657121"/>
              <a:gd name="connsiteX71-867" fmla="*/ 1296398 w 4036187"/>
              <a:gd name="connsiteY71-868" fmla="*/ 3668256 h 4657121"/>
              <a:gd name="connsiteX72-869" fmla="*/ 1425496 w 4036187"/>
              <a:gd name="connsiteY72-870" fmla="*/ 3716685 h 4657121"/>
              <a:gd name="connsiteX73-871" fmla="*/ 1459531 w 4036187"/>
              <a:gd name="connsiteY73-872" fmla="*/ 3884337 h 4657121"/>
              <a:gd name="connsiteX74-873" fmla="*/ 1530352 w 4036187"/>
              <a:gd name="connsiteY74-874" fmla="*/ 4226340 h 4657121"/>
              <a:gd name="connsiteX75-875" fmla="*/ 1481046 w 4036187"/>
              <a:gd name="connsiteY75-876" fmla="*/ 4302541 h 4657121"/>
              <a:gd name="connsiteX76-877" fmla="*/ 1214346 w 4036187"/>
              <a:gd name="connsiteY76-878" fmla="*/ 3952021 h 4657121"/>
              <a:gd name="connsiteX77-879" fmla="*/ 947646 w 4036187"/>
              <a:gd name="connsiteY77-880" fmla="*/ 3715801 h 4657121"/>
              <a:gd name="connsiteX78-881" fmla="*/ 437106 w 4036187"/>
              <a:gd name="connsiteY78-882" fmla="*/ 3342421 h 4657121"/>
              <a:gd name="connsiteX79-883" fmla="*/ 429486 w 4036187"/>
              <a:gd name="connsiteY79-884" fmla="*/ 3075721 h 4657121"/>
              <a:gd name="connsiteX80-885" fmla="*/ 1196417 w 4036187"/>
              <a:gd name="connsiteY80-886" fmla="*/ 2814399 h 4657121"/>
              <a:gd name="connsiteX81-887" fmla="*/ 1169074 w 4036187"/>
              <a:gd name="connsiteY81-888" fmla="*/ 2637795 h 4657121"/>
              <a:gd name="connsiteX82-889" fmla="*/ 1023846 w 4036187"/>
              <a:gd name="connsiteY82-890" fmla="*/ 2290861 h 4657121"/>
              <a:gd name="connsiteX83-891" fmla="*/ 924786 w 4036187"/>
              <a:gd name="connsiteY83-892" fmla="*/ 2001301 h 4657121"/>
              <a:gd name="connsiteX84-893" fmla="*/ 798383 w 4036187"/>
              <a:gd name="connsiteY84-894" fmla="*/ 2064054 h 4657121"/>
              <a:gd name="connsiteX85-895" fmla="*/ 589506 w 4036187"/>
              <a:gd name="connsiteY85-896" fmla="*/ 2077501 h 4657121"/>
              <a:gd name="connsiteX86-897" fmla="*/ 368526 w 4036187"/>
              <a:gd name="connsiteY86-898" fmla="*/ 2115601 h 4657121"/>
              <a:gd name="connsiteX87-899" fmla="*/ 208506 w 4036187"/>
              <a:gd name="connsiteY87-900" fmla="*/ 1841281 h 4657121"/>
              <a:gd name="connsiteX88-901" fmla="*/ 164691 w 4036187"/>
              <a:gd name="connsiteY88-902" fmla="*/ 1620301 h 4657121"/>
              <a:gd name="connsiteX89-903" fmla="*/ 151103 w 4036187"/>
              <a:gd name="connsiteY89-904" fmla="*/ 1592976 h 4657121"/>
              <a:gd name="connsiteX90-905" fmla="*/ 151043 w 4036187"/>
              <a:gd name="connsiteY90-906" fmla="*/ 1592915 h 4657121"/>
              <a:gd name="connsiteX91-907" fmla="*/ 95320 w 4036187"/>
              <a:gd name="connsiteY91-908" fmla="*/ 1680262 h 4657121"/>
              <a:gd name="connsiteX92-909" fmla="*/ 93100 w 4036187"/>
              <a:gd name="connsiteY92-910" fmla="*/ 1679167 h 4657121"/>
              <a:gd name="connsiteX93-911" fmla="*/ 26784 w 4036187"/>
              <a:gd name="connsiteY93-912" fmla="*/ 1697126 h 4657121"/>
              <a:gd name="connsiteX94-913" fmla="*/ 5823 w 4036187"/>
              <a:gd name="connsiteY94-914" fmla="*/ 1637185 h 4657121"/>
              <a:gd name="connsiteX95-915" fmla="*/ 6401 w 4036187"/>
              <a:gd name="connsiteY95-916" fmla="*/ 1636398 h 4657121"/>
              <a:gd name="connsiteX96-917" fmla="*/ 5456 w 4036187"/>
              <a:gd name="connsiteY96-918" fmla="*/ 1635932 h 4657121"/>
              <a:gd name="connsiteX97-919" fmla="*/ 88087 w 4036187"/>
              <a:gd name="connsiteY97-920" fmla="*/ 1498257 h 4657121"/>
              <a:gd name="connsiteX98-921" fmla="*/ 82613 w 4036187"/>
              <a:gd name="connsiteY98-922" fmla="*/ 1479391 h 4657121"/>
              <a:gd name="connsiteX99-923" fmla="*/ 78966 w 4036187"/>
              <a:gd name="connsiteY99-924" fmla="*/ 1460281 h 4657121"/>
              <a:gd name="connsiteX100-925" fmla="*/ 96745 w 4036187"/>
              <a:gd name="connsiteY100-926" fmla="*/ 1429801 h 4657121"/>
              <a:gd name="connsiteX101-927" fmla="*/ 101826 w 4036187"/>
              <a:gd name="connsiteY101-928" fmla="*/ 1406941 h 4657121"/>
              <a:gd name="connsiteX102-929" fmla="*/ 122145 w 4036187"/>
              <a:gd name="connsiteY102-930" fmla="*/ 1389161 h 4657121"/>
              <a:gd name="connsiteX103-931" fmla="*/ 127226 w 4036187"/>
              <a:gd name="connsiteY103-932" fmla="*/ 1361221 h 4657121"/>
              <a:gd name="connsiteX104-933" fmla="*/ 152625 w 4036187"/>
              <a:gd name="connsiteY104-934" fmla="*/ 1335821 h 4657121"/>
              <a:gd name="connsiteX105-935" fmla="*/ 157706 w 4036187"/>
              <a:gd name="connsiteY105-936" fmla="*/ 1310421 h 4657121"/>
              <a:gd name="connsiteX106-937" fmla="*/ 178025 w 4036187"/>
              <a:gd name="connsiteY106-938" fmla="*/ 1295181 h 4657121"/>
              <a:gd name="connsiteX107-939" fmla="*/ 180565 w 4036187"/>
              <a:gd name="connsiteY107-940" fmla="*/ 1272321 h 4657121"/>
              <a:gd name="connsiteX108-941" fmla="*/ 197075 w 4036187"/>
              <a:gd name="connsiteY108-942" fmla="*/ 1258351 h 4657121"/>
              <a:gd name="connsiteX109-943" fmla="*/ 203426 w 4036187"/>
              <a:gd name="connsiteY109-944" fmla="*/ 1236761 h 4657121"/>
              <a:gd name="connsiteX110-945" fmla="*/ 223745 w 4036187"/>
              <a:gd name="connsiteY110-946" fmla="*/ 1218981 h 4657121"/>
              <a:gd name="connsiteX111-947" fmla="*/ 221205 w 4036187"/>
              <a:gd name="connsiteY111-948" fmla="*/ 1196121 h 4657121"/>
              <a:gd name="connsiteX112-949" fmla="*/ 241525 w 4036187"/>
              <a:gd name="connsiteY112-950" fmla="*/ 1180881 h 4657121"/>
              <a:gd name="connsiteX113-951" fmla="*/ 241526 w 4036187"/>
              <a:gd name="connsiteY113-952" fmla="*/ 1160561 h 4657121"/>
              <a:gd name="connsiteX114-953" fmla="*/ 264385 w 4036187"/>
              <a:gd name="connsiteY114-954" fmla="*/ 1142781 h 4657121"/>
              <a:gd name="connsiteX115-955" fmla="*/ 284706 w 4036187"/>
              <a:gd name="connsiteY115-956" fmla="*/ 1125001 h 4657121"/>
              <a:gd name="connsiteX116-957" fmla="*/ 309167 w 4036187"/>
              <a:gd name="connsiteY116-958" fmla="*/ 1139328 h 4657121"/>
              <a:gd name="connsiteX117-959" fmla="*/ 369954 w 4036187"/>
              <a:gd name="connsiteY117-960" fmla="*/ 1042635 h 4657121"/>
              <a:gd name="connsiteX118-961" fmla="*/ 331087 w 4036187"/>
              <a:gd name="connsiteY118-962" fmla="*/ 990018 h 4657121"/>
              <a:gd name="connsiteX119-963" fmla="*/ 416424 w 4036187"/>
              <a:gd name="connsiteY119-964" fmla="*/ 1003067 h 4657121"/>
              <a:gd name="connsiteX120-965" fmla="*/ 1126344 w 4036187"/>
              <a:gd name="connsiteY120-966" fmla="*/ 47041 h 4657121"/>
              <a:gd name="connsiteX121-967" fmla="*/ 1244295 w 4036187"/>
              <a:gd name="connsiteY121-968" fmla="*/ 0 h 4657121"/>
              <a:gd name="connsiteX0-969" fmla="*/ 93291 w 4036187"/>
              <a:gd name="connsiteY0-970" fmla="*/ 1584790 h 4657121"/>
              <a:gd name="connsiteX1-971" fmla="*/ 54878 w 4036187"/>
              <a:gd name="connsiteY1-972" fmla="*/ 1590575 h 4657121"/>
              <a:gd name="connsiteX2-973" fmla="*/ 68452 w 4036187"/>
              <a:gd name="connsiteY2-974" fmla="*/ 1624121 h 4657121"/>
              <a:gd name="connsiteX3-975" fmla="*/ 106864 w 4036187"/>
              <a:gd name="connsiteY3-976" fmla="*/ 1618336 h 4657121"/>
              <a:gd name="connsiteX4-977" fmla="*/ 93291 w 4036187"/>
              <a:gd name="connsiteY4-978" fmla="*/ 1584790 h 4657121"/>
              <a:gd name="connsiteX5-979" fmla="*/ 103049 w 4036187"/>
              <a:gd name="connsiteY5-980" fmla="*/ 1536183 h 4657121"/>
              <a:gd name="connsiteX6-981" fmla="*/ 84080 w 4036187"/>
              <a:gd name="connsiteY6-982" fmla="*/ 1539040 h 4657121"/>
              <a:gd name="connsiteX7-983" fmla="*/ 97653 w 4036187"/>
              <a:gd name="connsiteY7-984" fmla="*/ 1572586 h 4657121"/>
              <a:gd name="connsiteX8-985" fmla="*/ 124029 w 4036187"/>
              <a:gd name="connsiteY8-986" fmla="*/ 1568613 h 4657121"/>
              <a:gd name="connsiteX9-987" fmla="*/ 121784 w 4036187"/>
              <a:gd name="connsiteY9-988" fmla="*/ 1566902 h 4657121"/>
              <a:gd name="connsiteX10-989" fmla="*/ 109446 w 4036187"/>
              <a:gd name="connsiteY10-990" fmla="*/ 1551721 h 4657121"/>
              <a:gd name="connsiteX11-991" fmla="*/ 103049 w 4036187"/>
              <a:gd name="connsiteY11-992" fmla="*/ 1536183 h 4657121"/>
              <a:gd name="connsiteX12-993" fmla="*/ 330425 w 4036187"/>
              <a:gd name="connsiteY12-994" fmla="*/ 1414561 h 4657121"/>
              <a:gd name="connsiteX13-995" fmla="*/ 303755 w 4036187"/>
              <a:gd name="connsiteY13-996" fmla="*/ 1509811 h 4657121"/>
              <a:gd name="connsiteX14-997" fmla="*/ 467585 w 4036187"/>
              <a:gd name="connsiteY14-998" fmla="*/ 1848901 h 4657121"/>
              <a:gd name="connsiteX15-999" fmla="*/ 629398 w 4036187"/>
              <a:gd name="connsiteY15-1000" fmla="*/ 1781666 h 4657121"/>
              <a:gd name="connsiteX16-1001" fmla="*/ 795245 w 4036187"/>
              <a:gd name="connsiteY16-1002" fmla="*/ 1757461 h 4657121"/>
              <a:gd name="connsiteX17-1003" fmla="*/ 886685 w 4036187"/>
              <a:gd name="connsiteY17-1004" fmla="*/ 1666021 h 4657121"/>
              <a:gd name="connsiteX18-1005" fmla="*/ 612365 w 4036187"/>
              <a:gd name="connsiteY18-1006" fmla="*/ 1589821 h 4657121"/>
              <a:gd name="connsiteX19-1007" fmla="*/ 429485 w 4036187"/>
              <a:gd name="connsiteY19-1008" fmla="*/ 1471711 h 4657121"/>
              <a:gd name="connsiteX20-1009" fmla="*/ 330425 w 4036187"/>
              <a:gd name="connsiteY20-1010" fmla="*/ 1414561 h 4657121"/>
              <a:gd name="connsiteX21-1011" fmla="*/ 377386 w 4036187"/>
              <a:gd name="connsiteY21-1012" fmla="*/ 1136442 h 4657121"/>
              <a:gd name="connsiteX22-1013" fmla="*/ 338974 w 4036187"/>
              <a:gd name="connsiteY22-1014" fmla="*/ 1142228 h 4657121"/>
              <a:gd name="connsiteX23-1015" fmla="*/ 348453 w 4036187"/>
              <a:gd name="connsiteY23-1016" fmla="*/ 1165655 h 4657121"/>
              <a:gd name="connsiteX24-1017" fmla="*/ 360621 w 4036187"/>
              <a:gd name="connsiteY24-1018" fmla="*/ 1174557 h 4657121"/>
              <a:gd name="connsiteX25-1019" fmla="*/ 390959 w 4036187"/>
              <a:gd name="connsiteY25-1020" fmla="*/ 1169988 h 4657121"/>
              <a:gd name="connsiteX26-1021" fmla="*/ 377386 w 4036187"/>
              <a:gd name="connsiteY26-1022" fmla="*/ 1136442 h 4657121"/>
              <a:gd name="connsiteX27-1023" fmla="*/ 1160386 w 4036187"/>
              <a:gd name="connsiteY27-1024" fmla="*/ 41755 h 4657121"/>
              <a:gd name="connsiteX28-1025" fmla="*/ 1127909 w 4036187"/>
              <a:gd name="connsiteY28-1026" fmla="*/ 54182 h 4657121"/>
              <a:gd name="connsiteX29-1027" fmla="*/ 452868 w 4036187"/>
              <a:gd name="connsiteY29-1028" fmla="*/ 957816 h 4657121"/>
              <a:gd name="connsiteX30-1029" fmla="*/ 478765 w 4036187"/>
              <a:gd name="connsiteY30-1030" fmla="*/ 974831 h 4657121"/>
              <a:gd name="connsiteX31-1031" fmla="*/ 1160386 w 4036187"/>
              <a:gd name="connsiteY31-1032" fmla="*/ 41755 h 4657121"/>
              <a:gd name="connsiteX32-1033" fmla="*/ 1244295 w 4036187"/>
              <a:gd name="connsiteY32-1034" fmla="*/ 0 h 4657121"/>
              <a:gd name="connsiteX33-1035" fmla="*/ 492571 w 4036187"/>
              <a:gd name="connsiteY33-1036" fmla="*/ 1045306 h 4657121"/>
              <a:gd name="connsiteX34-1037" fmla="*/ 542034 w 4036187"/>
              <a:gd name="connsiteY34-1038" fmla="*/ 1105827 h 4657121"/>
              <a:gd name="connsiteX35-1039" fmla="*/ 474644 w 4036187"/>
              <a:gd name="connsiteY35-1040" fmla="*/ 1099925 h 4657121"/>
              <a:gd name="connsiteX36-1041" fmla="*/ 402847 w 4036187"/>
              <a:gd name="connsiteY36-1042" fmla="*/ 1207107 h 4657121"/>
              <a:gd name="connsiteX37-1043" fmla="*/ 414246 w 4036187"/>
              <a:gd name="connsiteY37-1044" fmla="*/ 1216441 h 4657121"/>
              <a:gd name="connsiteX38-1045" fmla="*/ 479016 w 4036187"/>
              <a:gd name="connsiteY38-1046" fmla="*/ 1300261 h 4657121"/>
              <a:gd name="connsiteX39-1047" fmla="*/ 780006 w 4036187"/>
              <a:gd name="connsiteY39-1048" fmla="*/ 1399321 h 4657121"/>
              <a:gd name="connsiteX40-1049" fmla="*/ 863826 w 4036187"/>
              <a:gd name="connsiteY40-1050" fmla="*/ 1418371 h 4657121"/>
              <a:gd name="connsiteX41-1051" fmla="*/ 806676 w 4036187"/>
              <a:gd name="connsiteY41-1052" fmla="*/ 1254541 h 4657121"/>
              <a:gd name="connsiteX42-1053" fmla="*/ 793453 w 4036187"/>
              <a:gd name="connsiteY42-1054" fmla="*/ 1072782 h 4657121"/>
              <a:gd name="connsiteX43-1055" fmla="*/ 938682 w 4036187"/>
              <a:gd name="connsiteY43-1056" fmla="*/ 925088 h 4657121"/>
              <a:gd name="connsiteX44-1057" fmla="*/ 995065 w 4036187"/>
              <a:gd name="connsiteY44-1058" fmla="*/ 919520 h 4657121"/>
              <a:gd name="connsiteX45-1059" fmla="*/ 1138146 w 4036187"/>
              <a:gd name="connsiteY45-1060" fmla="*/ 972153 h 4657121"/>
              <a:gd name="connsiteX46-1061" fmla="*/ 1210536 w 4036187"/>
              <a:gd name="connsiteY46-1062" fmla="*/ 1121191 h 4657121"/>
              <a:gd name="connsiteX47-1063" fmla="*/ 1230931 w 4036187"/>
              <a:gd name="connsiteY47-1064" fmla="*/ 1323121 h 4657121"/>
              <a:gd name="connsiteX48-1065" fmla="*/ 1244826 w 4036187"/>
              <a:gd name="connsiteY48-1066" fmla="*/ 1475521 h 4657121"/>
              <a:gd name="connsiteX49-1067" fmla="*/ 1421879 w 4036187"/>
              <a:gd name="connsiteY49-1068" fmla="*/ 1551721 h 4657121"/>
              <a:gd name="connsiteX50-1069" fmla="*/ 1488666 w 4036187"/>
              <a:gd name="connsiteY50-1070" fmla="*/ 1765081 h 4657121"/>
              <a:gd name="connsiteX51-1071" fmla="*/ 1549626 w 4036187"/>
              <a:gd name="connsiteY51-1072" fmla="*/ 1917481 h 4657121"/>
              <a:gd name="connsiteX52-1073" fmla="*/ 1696616 w 4036187"/>
              <a:gd name="connsiteY52-1074" fmla="*/ 2554802 h 4657121"/>
              <a:gd name="connsiteX53-1075" fmla="*/ 1869218 w 4036187"/>
              <a:gd name="connsiteY53-1076" fmla="*/ 2594764 h 4657121"/>
              <a:gd name="connsiteX54-1077" fmla="*/ 2037306 w 4036187"/>
              <a:gd name="connsiteY54-1078" fmla="*/ 2809021 h 4657121"/>
              <a:gd name="connsiteX55-1079" fmla="*/ 2484197 w 4036187"/>
              <a:gd name="connsiteY55-1080" fmla="*/ 3330319 h 4657121"/>
              <a:gd name="connsiteX56-1081" fmla="*/ 3122932 w 4036187"/>
              <a:gd name="connsiteY56-1082" fmla="*/ 3655289 h 4657121"/>
              <a:gd name="connsiteX57-1083" fmla="*/ 3561306 w 4036187"/>
              <a:gd name="connsiteY57-1084" fmla="*/ 4020601 h 4657121"/>
              <a:gd name="connsiteX58-1085" fmla="*/ 3995646 w 4036187"/>
              <a:gd name="connsiteY58-1086" fmla="*/ 4371121 h 4657121"/>
              <a:gd name="connsiteX59-1087" fmla="*/ 3988026 w 4036187"/>
              <a:gd name="connsiteY59-1088" fmla="*/ 4653061 h 4657121"/>
              <a:gd name="connsiteX60-1089" fmla="*/ 3896586 w 4036187"/>
              <a:gd name="connsiteY60-1090" fmla="*/ 4614961 h 4657121"/>
              <a:gd name="connsiteX61-1091" fmla="*/ 3690846 w 4036187"/>
              <a:gd name="connsiteY61-1092" fmla="*/ 4393981 h 4657121"/>
              <a:gd name="connsiteX62-1093" fmla="*/ 3496760 w 4036187"/>
              <a:gd name="connsiteY62-1094" fmla="*/ 4247856 h 4657121"/>
              <a:gd name="connsiteX63-1095" fmla="*/ 3422801 w 4036187"/>
              <a:gd name="connsiteY63-1096" fmla="*/ 4165381 h 4657121"/>
              <a:gd name="connsiteX64-1097" fmla="*/ 3201373 w 4036187"/>
              <a:gd name="connsiteY64-1098" fmla="*/ 4031806 h 4657121"/>
              <a:gd name="connsiteX65-1099" fmla="*/ 2490920 w 4036187"/>
              <a:gd name="connsiteY65-1100" fmla="*/ 3691148 h 4657121"/>
              <a:gd name="connsiteX66-1101" fmla="*/ 2333141 w 4036187"/>
              <a:gd name="connsiteY66-1102" fmla="*/ 3652151 h 4657121"/>
              <a:gd name="connsiteX67-1103" fmla="*/ 2006826 w 4036187"/>
              <a:gd name="connsiteY67-1104" fmla="*/ 3487201 h 4657121"/>
              <a:gd name="connsiteX68-1105" fmla="*/ 1580106 w 4036187"/>
              <a:gd name="connsiteY68-1106" fmla="*/ 3311941 h 4657121"/>
              <a:gd name="connsiteX69-1107" fmla="*/ 1011366 w 4036187"/>
              <a:gd name="connsiteY69-1108" fmla="*/ 3356336 h 4657121"/>
              <a:gd name="connsiteX70-1109" fmla="*/ 1161935 w 4036187"/>
              <a:gd name="connsiteY70-1110" fmla="*/ 3484045 h 4657121"/>
              <a:gd name="connsiteX71-1111" fmla="*/ 1296398 w 4036187"/>
              <a:gd name="connsiteY71-1112" fmla="*/ 3668256 h 4657121"/>
              <a:gd name="connsiteX72-1113" fmla="*/ 1425496 w 4036187"/>
              <a:gd name="connsiteY72-1114" fmla="*/ 3716685 h 4657121"/>
              <a:gd name="connsiteX73-1115" fmla="*/ 1459531 w 4036187"/>
              <a:gd name="connsiteY73-1116" fmla="*/ 3884337 h 4657121"/>
              <a:gd name="connsiteX74-1117" fmla="*/ 1530352 w 4036187"/>
              <a:gd name="connsiteY74-1118" fmla="*/ 4226340 h 4657121"/>
              <a:gd name="connsiteX75-1119" fmla="*/ 1481046 w 4036187"/>
              <a:gd name="connsiteY75-1120" fmla="*/ 4302541 h 4657121"/>
              <a:gd name="connsiteX76-1121" fmla="*/ 1214346 w 4036187"/>
              <a:gd name="connsiteY76-1122" fmla="*/ 3952021 h 4657121"/>
              <a:gd name="connsiteX77-1123" fmla="*/ 947646 w 4036187"/>
              <a:gd name="connsiteY77-1124" fmla="*/ 3715801 h 4657121"/>
              <a:gd name="connsiteX78-1125" fmla="*/ 437106 w 4036187"/>
              <a:gd name="connsiteY78-1126" fmla="*/ 3342421 h 4657121"/>
              <a:gd name="connsiteX79-1127" fmla="*/ 429486 w 4036187"/>
              <a:gd name="connsiteY79-1128" fmla="*/ 3075721 h 4657121"/>
              <a:gd name="connsiteX80-1129" fmla="*/ 1196417 w 4036187"/>
              <a:gd name="connsiteY80-1130" fmla="*/ 2814399 h 4657121"/>
              <a:gd name="connsiteX81-1131" fmla="*/ 1169074 w 4036187"/>
              <a:gd name="connsiteY81-1132" fmla="*/ 2637795 h 4657121"/>
              <a:gd name="connsiteX82-1133" fmla="*/ 1023846 w 4036187"/>
              <a:gd name="connsiteY82-1134" fmla="*/ 2290861 h 4657121"/>
              <a:gd name="connsiteX83-1135" fmla="*/ 924786 w 4036187"/>
              <a:gd name="connsiteY83-1136" fmla="*/ 2001301 h 4657121"/>
              <a:gd name="connsiteX84-1137" fmla="*/ 798383 w 4036187"/>
              <a:gd name="connsiteY84-1138" fmla="*/ 2064054 h 4657121"/>
              <a:gd name="connsiteX85-1139" fmla="*/ 589506 w 4036187"/>
              <a:gd name="connsiteY85-1140" fmla="*/ 2077501 h 4657121"/>
              <a:gd name="connsiteX86-1141" fmla="*/ 368526 w 4036187"/>
              <a:gd name="connsiteY86-1142" fmla="*/ 2115601 h 4657121"/>
              <a:gd name="connsiteX87-1143" fmla="*/ 208506 w 4036187"/>
              <a:gd name="connsiteY87-1144" fmla="*/ 1841281 h 4657121"/>
              <a:gd name="connsiteX88-1145" fmla="*/ 164691 w 4036187"/>
              <a:gd name="connsiteY88-1146" fmla="*/ 1620301 h 4657121"/>
              <a:gd name="connsiteX89-1147" fmla="*/ 151103 w 4036187"/>
              <a:gd name="connsiteY89-1148" fmla="*/ 1592976 h 4657121"/>
              <a:gd name="connsiteX90-1149" fmla="*/ 151043 w 4036187"/>
              <a:gd name="connsiteY90-1150" fmla="*/ 1592915 h 4657121"/>
              <a:gd name="connsiteX91-1151" fmla="*/ 95320 w 4036187"/>
              <a:gd name="connsiteY91-1152" fmla="*/ 1680262 h 4657121"/>
              <a:gd name="connsiteX92-1153" fmla="*/ 93100 w 4036187"/>
              <a:gd name="connsiteY92-1154" fmla="*/ 1679167 h 4657121"/>
              <a:gd name="connsiteX93-1155" fmla="*/ 26784 w 4036187"/>
              <a:gd name="connsiteY93-1156" fmla="*/ 1697126 h 4657121"/>
              <a:gd name="connsiteX94-1157" fmla="*/ 5823 w 4036187"/>
              <a:gd name="connsiteY94-1158" fmla="*/ 1637185 h 4657121"/>
              <a:gd name="connsiteX95-1159" fmla="*/ 6401 w 4036187"/>
              <a:gd name="connsiteY95-1160" fmla="*/ 1636398 h 4657121"/>
              <a:gd name="connsiteX96-1161" fmla="*/ 5456 w 4036187"/>
              <a:gd name="connsiteY96-1162" fmla="*/ 1635932 h 4657121"/>
              <a:gd name="connsiteX97-1163" fmla="*/ 88087 w 4036187"/>
              <a:gd name="connsiteY97-1164" fmla="*/ 1498257 h 4657121"/>
              <a:gd name="connsiteX98-1165" fmla="*/ 82613 w 4036187"/>
              <a:gd name="connsiteY98-1166" fmla="*/ 1479391 h 4657121"/>
              <a:gd name="connsiteX99-1167" fmla="*/ 78966 w 4036187"/>
              <a:gd name="connsiteY99-1168" fmla="*/ 1460281 h 4657121"/>
              <a:gd name="connsiteX100-1169" fmla="*/ 96745 w 4036187"/>
              <a:gd name="connsiteY100-1170" fmla="*/ 1429801 h 4657121"/>
              <a:gd name="connsiteX101-1171" fmla="*/ 101826 w 4036187"/>
              <a:gd name="connsiteY101-1172" fmla="*/ 1406941 h 4657121"/>
              <a:gd name="connsiteX102-1173" fmla="*/ 122145 w 4036187"/>
              <a:gd name="connsiteY102-1174" fmla="*/ 1389161 h 4657121"/>
              <a:gd name="connsiteX103-1175" fmla="*/ 127226 w 4036187"/>
              <a:gd name="connsiteY103-1176" fmla="*/ 1361221 h 4657121"/>
              <a:gd name="connsiteX104-1177" fmla="*/ 152625 w 4036187"/>
              <a:gd name="connsiteY104-1178" fmla="*/ 1335821 h 4657121"/>
              <a:gd name="connsiteX105-1179" fmla="*/ 157706 w 4036187"/>
              <a:gd name="connsiteY105-1180" fmla="*/ 1310421 h 4657121"/>
              <a:gd name="connsiteX106-1181" fmla="*/ 178025 w 4036187"/>
              <a:gd name="connsiteY106-1182" fmla="*/ 1295181 h 4657121"/>
              <a:gd name="connsiteX107-1183" fmla="*/ 180565 w 4036187"/>
              <a:gd name="connsiteY107-1184" fmla="*/ 1272321 h 4657121"/>
              <a:gd name="connsiteX108-1185" fmla="*/ 197075 w 4036187"/>
              <a:gd name="connsiteY108-1186" fmla="*/ 1258351 h 4657121"/>
              <a:gd name="connsiteX109-1187" fmla="*/ 203426 w 4036187"/>
              <a:gd name="connsiteY109-1188" fmla="*/ 1236761 h 4657121"/>
              <a:gd name="connsiteX110-1189" fmla="*/ 223745 w 4036187"/>
              <a:gd name="connsiteY110-1190" fmla="*/ 1218981 h 4657121"/>
              <a:gd name="connsiteX111-1191" fmla="*/ 221205 w 4036187"/>
              <a:gd name="connsiteY111-1192" fmla="*/ 1196121 h 4657121"/>
              <a:gd name="connsiteX112-1193" fmla="*/ 241525 w 4036187"/>
              <a:gd name="connsiteY112-1194" fmla="*/ 1180881 h 4657121"/>
              <a:gd name="connsiteX113-1195" fmla="*/ 241526 w 4036187"/>
              <a:gd name="connsiteY113-1196" fmla="*/ 1160561 h 4657121"/>
              <a:gd name="connsiteX114-1197" fmla="*/ 264385 w 4036187"/>
              <a:gd name="connsiteY114-1198" fmla="*/ 1142781 h 4657121"/>
              <a:gd name="connsiteX115-1199" fmla="*/ 284706 w 4036187"/>
              <a:gd name="connsiteY115-1200" fmla="*/ 1125001 h 4657121"/>
              <a:gd name="connsiteX116-1201" fmla="*/ 309167 w 4036187"/>
              <a:gd name="connsiteY116-1202" fmla="*/ 1139328 h 4657121"/>
              <a:gd name="connsiteX117-1203" fmla="*/ 369954 w 4036187"/>
              <a:gd name="connsiteY117-1204" fmla="*/ 1042635 h 4657121"/>
              <a:gd name="connsiteX118-1205" fmla="*/ 331087 w 4036187"/>
              <a:gd name="connsiteY118-1206" fmla="*/ 990018 h 4657121"/>
              <a:gd name="connsiteX119-1207" fmla="*/ 416424 w 4036187"/>
              <a:gd name="connsiteY119-1208" fmla="*/ 1003067 h 4657121"/>
              <a:gd name="connsiteX120-1209" fmla="*/ 1126344 w 4036187"/>
              <a:gd name="connsiteY120-1210" fmla="*/ 47041 h 4657121"/>
              <a:gd name="connsiteX121-1211" fmla="*/ 1244295 w 4036187"/>
              <a:gd name="connsiteY121-1212" fmla="*/ 0 h 4657121"/>
              <a:gd name="connsiteX0-1213" fmla="*/ 93291 w 4036187"/>
              <a:gd name="connsiteY0-1214" fmla="*/ 1584790 h 4657121"/>
              <a:gd name="connsiteX1-1215" fmla="*/ 54878 w 4036187"/>
              <a:gd name="connsiteY1-1216" fmla="*/ 1590575 h 4657121"/>
              <a:gd name="connsiteX2-1217" fmla="*/ 68452 w 4036187"/>
              <a:gd name="connsiteY2-1218" fmla="*/ 1624121 h 4657121"/>
              <a:gd name="connsiteX3-1219" fmla="*/ 106864 w 4036187"/>
              <a:gd name="connsiteY3-1220" fmla="*/ 1618336 h 4657121"/>
              <a:gd name="connsiteX4-1221" fmla="*/ 93291 w 4036187"/>
              <a:gd name="connsiteY4-1222" fmla="*/ 1584790 h 4657121"/>
              <a:gd name="connsiteX5-1223" fmla="*/ 103049 w 4036187"/>
              <a:gd name="connsiteY5-1224" fmla="*/ 1536183 h 4657121"/>
              <a:gd name="connsiteX6-1225" fmla="*/ 84080 w 4036187"/>
              <a:gd name="connsiteY6-1226" fmla="*/ 1539040 h 4657121"/>
              <a:gd name="connsiteX7-1227" fmla="*/ 97653 w 4036187"/>
              <a:gd name="connsiteY7-1228" fmla="*/ 1572586 h 4657121"/>
              <a:gd name="connsiteX8-1229" fmla="*/ 124029 w 4036187"/>
              <a:gd name="connsiteY8-1230" fmla="*/ 1568613 h 4657121"/>
              <a:gd name="connsiteX9-1231" fmla="*/ 121784 w 4036187"/>
              <a:gd name="connsiteY9-1232" fmla="*/ 1566902 h 4657121"/>
              <a:gd name="connsiteX10-1233" fmla="*/ 109446 w 4036187"/>
              <a:gd name="connsiteY10-1234" fmla="*/ 1551721 h 4657121"/>
              <a:gd name="connsiteX11-1235" fmla="*/ 103049 w 4036187"/>
              <a:gd name="connsiteY11-1236" fmla="*/ 1536183 h 4657121"/>
              <a:gd name="connsiteX12-1237" fmla="*/ 330425 w 4036187"/>
              <a:gd name="connsiteY12-1238" fmla="*/ 1414561 h 4657121"/>
              <a:gd name="connsiteX13-1239" fmla="*/ 303755 w 4036187"/>
              <a:gd name="connsiteY13-1240" fmla="*/ 1509811 h 4657121"/>
              <a:gd name="connsiteX14-1241" fmla="*/ 467585 w 4036187"/>
              <a:gd name="connsiteY14-1242" fmla="*/ 1848901 h 4657121"/>
              <a:gd name="connsiteX15-1243" fmla="*/ 629398 w 4036187"/>
              <a:gd name="connsiteY15-1244" fmla="*/ 1781666 h 4657121"/>
              <a:gd name="connsiteX16-1245" fmla="*/ 795245 w 4036187"/>
              <a:gd name="connsiteY16-1246" fmla="*/ 1757461 h 4657121"/>
              <a:gd name="connsiteX17-1247" fmla="*/ 886685 w 4036187"/>
              <a:gd name="connsiteY17-1248" fmla="*/ 1666021 h 4657121"/>
              <a:gd name="connsiteX18-1249" fmla="*/ 612365 w 4036187"/>
              <a:gd name="connsiteY18-1250" fmla="*/ 1589821 h 4657121"/>
              <a:gd name="connsiteX19-1251" fmla="*/ 429485 w 4036187"/>
              <a:gd name="connsiteY19-1252" fmla="*/ 1471711 h 4657121"/>
              <a:gd name="connsiteX20-1253" fmla="*/ 330425 w 4036187"/>
              <a:gd name="connsiteY20-1254" fmla="*/ 1414561 h 4657121"/>
              <a:gd name="connsiteX21-1255" fmla="*/ 377386 w 4036187"/>
              <a:gd name="connsiteY21-1256" fmla="*/ 1136442 h 4657121"/>
              <a:gd name="connsiteX22-1257" fmla="*/ 338974 w 4036187"/>
              <a:gd name="connsiteY22-1258" fmla="*/ 1142228 h 4657121"/>
              <a:gd name="connsiteX23-1259" fmla="*/ 348453 w 4036187"/>
              <a:gd name="connsiteY23-1260" fmla="*/ 1165655 h 4657121"/>
              <a:gd name="connsiteX24-1261" fmla="*/ 360621 w 4036187"/>
              <a:gd name="connsiteY24-1262" fmla="*/ 1174557 h 4657121"/>
              <a:gd name="connsiteX25-1263" fmla="*/ 390959 w 4036187"/>
              <a:gd name="connsiteY25-1264" fmla="*/ 1169988 h 4657121"/>
              <a:gd name="connsiteX26-1265" fmla="*/ 377386 w 4036187"/>
              <a:gd name="connsiteY26-1266" fmla="*/ 1136442 h 4657121"/>
              <a:gd name="connsiteX27-1267" fmla="*/ 1160386 w 4036187"/>
              <a:gd name="connsiteY27-1268" fmla="*/ 41755 h 4657121"/>
              <a:gd name="connsiteX28-1269" fmla="*/ 1127909 w 4036187"/>
              <a:gd name="connsiteY28-1270" fmla="*/ 54182 h 4657121"/>
              <a:gd name="connsiteX29-1271" fmla="*/ 452868 w 4036187"/>
              <a:gd name="connsiteY29-1272" fmla="*/ 957816 h 4657121"/>
              <a:gd name="connsiteX30-1273" fmla="*/ 478765 w 4036187"/>
              <a:gd name="connsiteY30-1274" fmla="*/ 974831 h 4657121"/>
              <a:gd name="connsiteX31-1275" fmla="*/ 1160386 w 4036187"/>
              <a:gd name="connsiteY31-1276" fmla="*/ 41755 h 4657121"/>
              <a:gd name="connsiteX32-1277" fmla="*/ 1244295 w 4036187"/>
              <a:gd name="connsiteY32-1278" fmla="*/ 0 h 4657121"/>
              <a:gd name="connsiteX33-1279" fmla="*/ 492571 w 4036187"/>
              <a:gd name="connsiteY33-1280" fmla="*/ 1045306 h 4657121"/>
              <a:gd name="connsiteX34-1281" fmla="*/ 542034 w 4036187"/>
              <a:gd name="connsiteY34-1282" fmla="*/ 1105827 h 4657121"/>
              <a:gd name="connsiteX35-1283" fmla="*/ 474644 w 4036187"/>
              <a:gd name="connsiteY35-1284" fmla="*/ 1099925 h 4657121"/>
              <a:gd name="connsiteX36-1285" fmla="*/ 402847 w 4036187"/>
              <a:gd name="connsiteY36-1286" fmla="*/ 1207107 h 4657121"/>
              <a:gd name="connsiteX37-1287" fmla="*/ 414246 w 4036187"/>
              <a:gd name="connsiteY37-1288" fmla="*/ 1216441 h 4657121"/>
              <a:gd name="connsiteX38-1289" fmla="*/ 479016 w 4036187"/>
              <a:gd name="connsiteY38-1290" fmla="*/ 1300261 h 4657121"/>
              <a:gd name="connsiteX39-1291" fmla="*/ 780006 w 4036187"/>
              <a:gd name="connsiteY39-1292" fmla="*/ 1399321 h 4657121"/>
              <a:gd name="connsiteX40-1293" fmla="*/ 863826 w 4036187"/>
              <a:gd name="connsiteY40-1294" fmla="*/ 1418371 h 4657121"/>
              <a:gd name="connsiteX41-1295" fmla="*/ 806676 w 4036187"/>
              <a:gd name="connsiteY41-1296" fmla="*/ 1254541 h 4657121"/>
              <a:gd name="connsiteX42-1297" fmla="*/ 793453 w 4036187"/>
              <a:gd name="connsiteY42-1298" fmla="*/ 1072782 h 4657121"/>
              <a:gd name="connsiteX43-1299" fmla="*/ 938682 w 4036187"/>
              <a:gd name="connsiteY43-1300" fmla="*/ 925088 h 4657121"/>
              <a:gd name="connsiteX44-1301" fmla="*/ 995065 w 4036187"/>
              <a:gd name="connsiteY44-1302" fmla="*/ 919520 h 4657121"/>
              <a:gd name="connsiteX45-1303" fmla="*/ 1138146 w 4036187"/>
              <a:gd name="connsiteY45-1304" fmla="*/ 972153 h 4657121"/>
              <a:gd name="connsiteX46-1305" fmla="*/ 1210536 w 4036187"/>
              <a:gd name="connsiteY46-1306" fmla="*/ 1121191 h 4657121"/>
              <a:gd name="connsiteX47-1307" fmla="*/ 1230931 w 4036187"/>
              <a:gd name="connsiteY47-1308" fmla="*/ 1323121 h 4657121"/>
              <a:gd name="connsiteX48-1309" fmla="*/ 1244826 w 4036187"/>
              <a:gd name="connsiteY48-1310" fmla="*/ 1475521 h 4657121"/>
              <a:gd name="connsiteX49-1311" fmla="*/ 1421879 w 4036187"/>
              <a:gd name="connsiteY49-1312" fmla="*/ 1551721 h 4657121"/>
              <a:gd name="connsiteX50-1313" fmla="*/ 1488666 w 4036187"/>
              <a:gd name="connsiteY50-1314" fmla="*/ 1765081 h 4657121"/>
              <a:gd name="connsiteX51-1315" fmla="*/ 1549626 w 4036187"/>
              <a:gd name="connsiteY51-1316" fmla="*/ 1917481 h 4657121"/>
              <a:gd name="connsiteX52-1317" fmla="*/ 1696616 w 4036187"/>
              <a:gd name="connsiteY52-1318" fmla="*/ 2554802 h 4657121"/>
              <a:gd name="connsiteX53-1319" fmla="*/ 1929683 w 4036187"/>
              <a:gd name="connsiteY53-1320" fmla="*/ 2703600 h 4657121"/>
              <a:gd name="connsiteX54-1321" fmla="*/ 2037306 w 4036187"/>
              <a:gd name="connsiteY54-1322" fmla="*/ 2809021 h 4657121"/>
              <a:gd name="connsiteX55-1323" fmla="*/ 2484197 w 4036187"/>
              <a:gd name="connsiteY55-1324" fmla="*/ 3330319 h 4657121"/>
              <a:gd name="connsiteX56-1325" fmla="*/ 3122932 w 4036187"/>
              <a:gd name="connsiteY56-1326" fmla="*/ 3655289 h 4657121"/>
              <a:gd name="connsiteX57-1327" fmla="*/ 3561306 w 4036187"/>
              <a:gd name="connsiteY57-1328" fmla="*/ 4020601 h 4657121"/>
              <a:gd name="connsiteX58-1329" fmla="*/ 3995646 w 4036187"/>
              <a:gd name="connsiteY58-1330" fmla="*/ 4371121 h 4657121"/>
              <a:gd name="connsiteX59-1331" fmla="*/ 3988026 w 4036187"/>
              <a:gd name="connsiteY59-1332" fmla="*/ 4653061 h 4657121"/>
              <a:gd name="connsiteX60-1333" fmla="*/ 3896586 w 4036187"/>
              <a:gd name="connsiteY60-1334" fmla="*/ 4614961 h 4657121"/>
              <a:gd name="connsiteX61-1335" fmla="*/ 3690846 w 4036187"/>
              <a:gd name="connsiteY61-1336" fmla="*/ 4393981 h 4657121"/>
              <a:gd name="connsiteX62-1337" fmla="*/ 3496760 w 4036187"/>
              <a:gd name="connsiteY62-1338" fmla="*/ 4247856 h 4657121"/>
              <a:gd name="connsiteX63-1339" fmla="*/ 3422801 w 4036187"/>
              <a:gd name="connsiteY63-1340" fmla="*/ 4165381 h 4657121"/>
              <a:gd name="connsiteX64-1341" fmla="*/ 3201373 w 4036187"/>
              <a:gd name="connsiteY64-1342" fmla="*/ 4031806 h 4657121"/>
              <a:gd name="connsiteX65-1343" fmla="*/ 2490920 w 4036187"/>
              <a:gd name="connsiteY65-1344" fmla="*/ 3691148 h 4657121"/>
              <a:gd name="connsiteX66-1345" fmla="*/ 2333141 w 4036187"/>
              <a:gd name="connsiteY66-1346" fmla="*/ 3652151 h 4657121"/>
              <a:gd name="connsiteX67-1347" fmla="*/ 2006826 w 4036187"/>
              <a:gd name="connsiteY67-1348" fmla="*/ 3487201 h 4657121"/>
              <a:gd name="connsiteX68-1349" fmla="*/ 1580106 w 4036187"/>
              <a:gd name="connsiteY68-1350" fmla="*/ 3311941 h 4657121"/>
              <a:gd name="connsiteX69-1351" fmla="*/ 1011366 w 4036187"/>
              <a:gd name="connsiteY69-1352" fmla="*/ 3356336 h 4657121"/>
              <a:gd name="connsiteX70-1353" fmla="*/ 1161935 w 4036187"/>
              <a:gd name="connsiteY70-1354" fmla="*/ 3484045 h 4657121"/>
              <a:gd name="connsiteX71-1355" fmla="*/ 1296398 w 4036187"/>
              <a:gd name="connsiteY71-1356" fmla="*/ 3668256 h 4657121"/>
              <a:gd name="connsiteX72-1357" fmla="*/ 1425496 w 4036187"/>
              <a:gd name="connsiteY72-1358" fmla="*/ 3716685 h 4657121"/>
              <a:gd name="connsiteX73-1359" fmla="*/ 1459531 w 4036187"/>
              <a:gd name="connsiteY73-1360" fmla="*/ 3884337 h 4657121"/>
              <a:gd name="connsiteX74-1361" fmla="*/ 1530352 w 4036187"/>
              <a:gd name="connsiteY74-1362" fmla="*/ 4226340 h 4657121"/>
              <a:gd name="connsiteX75-1363" fmla="*/ 1481046 w 4036187"/>
              <a:gd name="connsiteY75-1364" fmla="*/ 4302541 h 4657121"/>
              <a:gd name="connsiteX76-1365" fmla="*/ 1214346 w 4036187"/>
              <a:gd name="connsiteY76-1366" fmla="*/ 3952021 h 4657121"/>
              <a:gd name="connsiteX77-1367" fmla="*/ 947646 w 4036187"/>
              <a:gd name="connsiteY77-1368" fmla="*/ 3715801 h 4657121"/>
              <a:gd name="connsiteX78-1369" fmla="*/ 437106 w 4036187"/>
              <a:gd name="connsiteY78-1370" fmla="*/ 3342421 h 4657121"/>
              <a:gd name="connsiteX79-1371" fmla="*/ 429486 w 4036187"/>
              <a:gd name="connsiteY79-1372" fmla="*/ 3075721 h 4657121"/>
              <a:gd name="connsiteX80-1373" fmla="*/ 1196417 w 4036187"/>
              <a:gd name="connsiteY80-1374" fmla="*/ 2814399 h 4657121"/>
              <a:gd name="connsiteX81-1375" fmla="*/ 1169074 w 4036187"/>
              <a:gd name="connsiteY81-1376" fmla="*/ 2637795 h 4657121"/>
              <a:gd name="connsiteX82-1377" fmla="*/ 1023846 w 4036187"/>
              <a:gd name="connsiteY82-1378" fmla="*/ 2290861 h 4657121"/>
              <a:gd name="connsiteX83-1379" fmla="*/ 924786 w 4036187"/>
              <a:gd name="connsiteY83-1380" fmla="*/ 2001301 h 4657121"/>
              <a:gd name="connsiteX84-1381" fmla="*/ 798383 w 4036187"/>
              <a:gd name="connsiteY84-1382" fmla="*/ 2064054 h 4657121"/>
              <a:gd name="connsiteX85-1383" fmla="*/ 589506 w 4036187"/>
              <a:gd name="connsiteY85-1384" fmla="*/ 2077501 h 4657121"/>
              <a:gd name="connsiteX86-1385" fmla="*/ 368526 w 4036187"/>
              <a:gd name="connsiteY86-1386" fmla="*/ 2115601 h 4657121"/>
              <a:gd name="connsiteX87-1387" fmla="*/ 208506 w 4036187"/>
              <a:gd name="connsiteY87-1388" fmla="*/ 1841281 h 4657121"/>
              <a:gd name="connsiteX88-1389" fmla="*/ 164691 w 4036187"/>
              <a:gd name="connsiteY88-1390" fmla="*/ 1620301 h 4657121"/>
              <a:gd name="connsiteX89-1391" fmla="*/ 151103 w 4036187"/>
              <a:gd name="connsiteY89-1392" fmla="*/ 1592976 h 4657121"/>
              <a:gd name="connsiteX90-1393" fmla="*/ 151043 w 4036187"/>
              <a:gd name="connsiteY90-1394" fmla="*/ 1592915 h 4657121"/>
              <a:gd name="connsiteX91-1395" fmla="*/ 95320 w 4036187"/>
              <a:gd name="connsiteY91-1396" fmla="*/ 1680262 h 4657121"/>
              <a:gd name="connsiteX92-1397" fmla="*/ 93100 w 4036187"/>
              <a:gd name="connsiteY92-1398" fmla="*/ 1679167 h 4657121"/>
              <a:gd name="connsiteX93-1399" fmla="*/ 26784 w 4036187"/>
              <a:gd name="connsiteY93-1400" fmla="*/ 1697126 h 4657121"/>
              <a:gd name="connsiteX94-1401" fmla="*/ 5823 w 4036187"/>
              <a:gd name="connsiteY94-1402" fmla="*/ 1637185 h 4657121"/>
              <a:gd name="connsiteX95-1403" fmla="*/ 6401 w 4036187"/>
              <a:gd name="connsiteY95-1404" fmla="*/ 1636398 h 4657121"/>
              <a:gd name="connsiteX96-1405" fmla="*/ 5456 w 4036187"/>
              <a:gd name="connsiteY96-1406" fmla="*/ 1635932 h 4657121"/>
              <a:gd name="connsiteX97-1407" fmla="*/ 88087 w 4036187"/>
              <a:gd name="connsiteY97-1408" fmla="*/ 1498257 h 4657121"/>
              <a:gd name="connsiteX98-1409" fmla="*/ 82613 w 4036187"/>
              <a:gd name="connsiteY98-1410" fmla="*/ 1479391 h 4657121"/>
              <a:gd name="connsiteX99-1411" fmla="*/ 78966 w 4036187"/>
              <a:gd name="connsiteY99-1412" fmla="*/ 1460281 h 4657121"/>
              <a:gd name="connsiteX100-1413" fmla="*/ 96745 w 4036187"/>
              <a:gd name="connsiteY100-1414" fmla="*/ 1429801 h 4657121"/>
              <a:gd name="connsiteX101-1415" fmla="*/ 101826 w 4036187"/>
              <a:gd name="connsiteY101-1416" fmla="*/ 1406941 h 4657121"/>
              <a:gd name="connsiteX102-1417" fmla="*/ 122145 w 4036187"/>
              <a:gd name="connsiteY102-1418" fmla="*/ 1389161 h 4657121"/>
              <a:gd name="connsiteX103-1419" fmla="*/ 127226 w 4036187"/>
              <a:gd name="connsiteY103-1420" fmla="*/ 1361221 h 4657121"/>
              <a:gd name="connsiteX104-1421" fmla="*/ 152625 w 4036187"/>
              <a:gd name="connsiteY104-1422" fmla="*/ 1335821 h 4657121"/>
              <a:gd name="connsiteX105-1423" fmla="*/ 157706 w 4036187"/>
              <a:gd name="connsiteY105-1424" fmla="*/ 1310421 h 4657121"/>
              <a:gd name="connsiteX106-1425" fmla="*/ 178025 w 4036187"/>
              <a:gd name="connsiteY106-1426" fmla="*/ 1295181 h 4657121"/>
              <a:gd name="connsiteX107-1427" fmla="*/ 180565 w 4036187"/>
              <a:gd name="connsiteY107-1428" fmla="*/ 1272321 h 4657121"/>
              <a:gd name="connsiteX108-1429" fmla="*/ 197075 w 4036187"/>
              <a:gd name="connsiteY108-1430" fmla="*/ 1258351 h 4657121"/>
              <a:gd name="connsiteX109-1431" fmla="*/ 203426 w 4036187"/>
              <a:gd name="connsiteY109-1432" fmla="*/ 1236761 h 4657121"/>
              <a:gd name="connsiteX110-1433" fmla="*/ 223745 w 4036187"/>
              <a:gd name="connsiteY110-1434" fmla="*/ 1218981 h 4657121"/>
              <a:gd name="connsiteX111-1435" fmla="*/ 221205 w 4036187"/>
              <a:gd name="connsiteY111-1436" fmla="*/ 1196121 h 4657121"/>
              <a:gd name="connsiteX112-1437" fmla="*/ 241525 w 4036187"/>
              <a:gd name="connsiteY112-1438" fmla="*/ 1180881 h 4657121"/>
              <a:gd name="connsiteX113-1439" fmla="*/ 241526 w 4036187"/>
              <a:gd name="connsiteY113-1440" fmla="*/ 1160561 h 4657121"/>
              <a:gd name="connsiteX114-1441" fmla="*/ 264385 w 4036187"/>
              <a:gd name="connsiteY114-1442" fmla="*/ 1142781 h 4657121"/>
              <a:gd name="connsiteX115-1443" fmla="*/ 284706 w 4036187"/>
              <a:gd name="connsiteY115-1444" fmla="*/ 1125001 h 4657121"/>
              <a:gd name="connsiteX116-1445" fmla="*/ 309167 w 4036187"/>
              <a:gd name="connsiteY116-1446" fmla="*/ 1139328 h 4657121"/>
              <a:gd name="connsiteX117-1447" fmla="*/ 369954 w 4036187"/>
              <a:gd name="connsiteY117-1448" fmla="*/ 1042635 h 4657121"/>
              <a:gd name="connsiteX118-1449" fmla="*/ 331087 w 4036187"/>
              <a:gd name="connsiteY118-1450" fmla="*/ 990018 h 4657121"/>
              <a:gd name="connsiteX119-1451" fmla="*/ 416424 w 4036187"/>
              <a:gd name="connsiteY119-1452" fmla="*/ 1003067 h 4657121"/>
              <a:gd name="connsiteX120-1453" fmla="*/ 1126344 w 4036187"/>
              <a:gd name="connsiteY120-1454" fmla="*/ 47041 h 4657121"/>
              <a:gd name="connsiteX121-1455" fmla="*/ 1244295 w 4036187"/>
              <a:gd name="connsiteY121-1456" fmla="*/ 0 h 4657121"/>
              <a:gd name="connsiteX0-1457" fmla="*/ 93291 w 4036187"/>
              <a:gd name="connsiteY0-1458" fmla="*/ 1584790 h 4657121"/>
              <a:gd name="connsiteX1-1459" fmla="*/ 54878 w 4036187"/>
              <a:gd name="connsiteY1-1460" fmla="*/ 1590575 h 4657121"/>
              <a:gd name="connsiteX2-1461" fmla="*/ 68452 w 4036187"/>
              <a:gd name="connsiteY2-1462" fmla="*/ 1624121 h 4657121"/>
              <a:gd name="connsiteX3-1463" fmla="*/ 106864 w 4036187"/>
              <a:gd name="connsiteY3-1464" fmla="*/ 1618336 h 4657121"/>
              <a:gd name="connsiteX4-1465" fmla="*/ 93291 w 4036187"/>
              <a:gd name="connsiteY4-1466" fmla="*/ 1584790 h 4657121"/>
              <a:gd name="connsiteX5-1467" fmla="*/ 103049 w 4036187"/>
              <a:gd name="connsiteY5-1468" fmla="*/ 1536183 h 4657121"/>
              <a:gd name="connsiteX6-1469" fmla="*/ 84080 w 4036187"/>
              <a:gd name="connsiteY6-1470" fmla="*/ 1539040 h 4657121"/>
              <a:gd name="connsiteX7-1471" fmla="*/ 97653 w 4036187"/>
              <a:gd name="connsiteY7-1472" fmla="*/ 1572586 h 4657121"/>
              <a:gd name="connsiteX8-1473" fmla="*/ 124029 w 4036187"/>
              <a:gd name="connsiteY8-1474" fmla="*/ 1568613 h 4657121"/>
              <a:gd name="connsiteX9-1475" fmla="*/ 121784 w 4036187"/>
              <a:gd name="connsiteY9-1476" fmla="*/ 1566902 h 4657121"/>
              <a:gd name="connsiteX10-1477" fmla="*/ 109446 w 4036187"/>
              <a:gd name="connsiteY10-1478" fmla="*/ 1551721 h 4657121"/>
              <a:gd name="connsiteX11-1479" fmla="*/ 103049 w 4036187"/>
              <a:gd name="connsiteY11-1480" fmla="*/ 1536183 h 4657121"/>
              <a:gd name="connsiteX12-1481" fmla="*/ 330425 w 4036187"/>
              <a:gd name="connsiteY12-1482" fmla="*/ 1414561 h 4657121"/>
              <a:gd name="connsiteX13-1483" fmla="*/ 303755 w 4036187"/>
              <a:gd name="connsiteY13-1484" fmla="*/ 1509811 h 4657121"/>
              <a:gd name="connsiteX14-1485" fmla="*/ 467585 w 4036187"/>
              <a:gd name="connsiteY14-1486" fmla="*/ 1848901 h 4657121"/>
              <a:gd name="connsiteX15-1487" fmla="*/ 629398 w 4036187"/>
              <a:gd name="connsiteY15-1488" fmla="*/ 1781666 h 4657121"/>
              <a:gd name="connsiteX16-1489" fmla="*/ 795245 w 4036187"/>
              <a:gd name="connsiteY16-1490" fmla="*/ 1757461 h 4657121"/>
              <a:gd name="connsiteX17-1491" fmla="*/ 886685 w 4036187"/>
              <a:gd name="connsiteY17-1492" fmla="*/ 1666021 h 4657121"/>
              <a:gd name="connsiteX18-1493" fmla="*/ 612365 w 4036187"/>
              <a:gd name="connsiteY18-1494" fmla="*/ 1589821 h 4657121"/>
              <a:gd name="connsiteX19-1495" fmla="*/ 429485 w 4036187"/>
              <a:gd name="connsiteY19-1496" fmla="*/ 1471711 h 4657121"/>
              <a:gd name="connsiteX20-1497" fmla="*/ 330425 w 4036187"/>
              <a:gd name="connsiteY20-1498" fmla="*/ 1414561 h 4657121"/>
              <a:gd name="connsiteX21-1499" fmla="*/ 377386 w 4036187"/>
              <a:gd name="connsiteY21-1500" fmla="*/ 1136442 h 4657121"/>
              <a:gd name="connsiteX22-1501" fmla="*/ 338974 w 4036187"/>
              <a:gd name="connsiteY22-1502" fmla="*/ 1142228 h 4657121"/>
              <a:gd name="connsiteX23-1503" fmla="*/ 348453 w 4036187"/>
              <a:gd name="connsiteY23-1504" fmla="*/ 1165655 h 4657121"/>
              <a:gd name="connsiteX24-1505" fmla="*/ 360621 w 4036187"/>
              <a:gd name="connsiteY24-1506" fmla="*/ 1174557 h 4657121"/>
              <a:gd name="connsiteX25-1507" fmla="*/ 390959 w 4036187"/>
              <a:gd name="connsiteY25-1508" fmla="*/ 1169988 h 4657121"/>
              <a:gd name="connsiteX26-1509" fmla="*/ 377386 w 4036187"/>
              <a:gd name="connsiteY26-1510" fmla="*/ 1136442 h 4657121"/>
              <a:gd name="connsiteX27-1511" fmla="*/ 1160386 w 4036187"/>
              <a:gd name="connsiteY27-1512" fmla="*/ 41755 h 4657121"/>
              <a:gd name="connsiteX28-1513" fmla="*/ 1127909 w 4036187"/>
              <a:gd name="connsiteY28-1514" fmla="*/ 54182 h 4657121"/>
              <a:gd name="connsiteX29-1515" fmla="*/ 452868 w 4036187"/>
              <a:gd name="connsiteY29-1516" fmla="*/ 957816 h 4657121"/>
              <a:gd name="connsiteX30-1517" fmla="*/ 478765 w 4036187"/>
              <a:gd name="connsiteY30-1518" fmla="*/ 974831 h 4657121"/>
              <a:gd name="connsiteX31-1519" fmla="*/ 1160386 w 4036187"/>
              <a:gd name="connsiteY31-1520" fmla="*/ 41755 h 4657121"/>
              <a:gd name="connsiteX32-1521" fmla="*/ 1244295 w 4036187"/>
              <a:gd name="connsiteY32-1522" fmla="*/ 0 h 4657121"/>
              <a:gd name="connsiteX33-1523" fmla="*/ 492571 w 4036187"/>
              <a:gd name="connsiteY33-1524" fmla="*/ 1045306 h 4657121"/>
              <a:gd name="connsiteX34-1525" fmla="*/ 542034 w 4036187"/>
              <a:gd name="connsiteY34-1526" fmla="*/ 1105827 h 4657121"/>
              <a:gd name="connsiteX35-1527" fmla="*/ 474644 w 4036187"/>
              <a:gd name="connsiteY35-1528" fmla="*/ 1099925 h 4657121"/>
              <a:gd name="connsiteX36-1529" fmla="*/ 402847 w 4036187"/>
              <a:gd name="connsiteY36-1530" fmla="*/ 1207107 h 4657121"/>
              <a:gd name="connsiteX37-1531" fmla="*/ 414246 w 4036187"/>
              <a:gd name="connsiteY37-1532" fmla="*/ 1216441 h 4657121"/>
              <a:gd name="connsiteX38-1533" fmla="*/ 479016 w 4036187"/>
              <a:gd name="connsiteY38-1534" fmla="*/ 1300261 h 4657121"/>
              <a:gd name="connsiteX39-1535" fmla="*/ 780006 w 4036187"/>
              <a:gd name="connsiteY39-1536" fmla="*/ 1399321 h 4657121"/>
              <a:gd name="connsiteX40-1537" fmla="*/ 863826 w 4036187"/>
              <a:gd name="connsiteY40-1538" fmla="*/ 1418371 h 4657121"/>
              <a:gd name="connsiteX41-1539" fmla="*/ 806676 w 4036187"/>
              <a:gd name="connsiteY41-1540" fmla="*/ 1254541 h 4657121"/>
              <a:gd name="connsiteX42-1541" fmla="*/ 793453 w 4036187"/>
              <a:gd name="connsiteY42-1542" fmla="*/ 1072782 h 4657121"/>
              <a:gd name="connsiteX43-1543" fmla="*/ 938682 w 4036187"/>
              <a:gd name="connsiteY43-1544" fmla="*/ 925088 h 4657121"/>
              <a:gd name="connsiteX44-1545" fmla="*/ 995065 w 4036187"/>
              <a:gd name="connsiteY44-1546" fmla="*/ 919520 h 4657121"/>
              <a:gd name="connsiteX45-1547" fmla="*/ 1138146 w 4036187"/>
              <a:gd name="connsiteY45-1548" fmla="*/ 972153 h 4657121"/>
              <a:gd name="connsiteX46-1549" fmla="*/ 1210536 w 4036187"/>
              <a:gd name="connsiteY46-1550" fmla="*/ 1121191 h 4657121"/>
              <a:gd name="connsiteX47-1551" fmla="*/ 1230931 w 4036187"/>
              <a:gd name="connsiteY47-1552" fmla="*/ 1323121 h 4657121"/>
              <a:gd name="connsiteX48-1553" fmla="*/ 1244826 w 4036187"/>
              <a:gd name="connsiteY48-1554" fmla="*/ 1475521 h 4657121"/>
              <a:gd name="connsiteX49-1555" fmla="*/ 1421879 w 4036187"/>
              <a:gd name="connsiteY49-1556" fmla="*/ 1551721 h 4657121"/>
              <a:gd name="connsiteX50-1557" fmla="*/ 1488666 w 4036187"/>
              <a:gd name="connsiteY50-1558" fmla="*/ 1765081 h 4657121"/>
              <a:gd name="connsiteX51-1559" fmla="*/ 1549626 w 4036187"/>
              <a:gd name="connsiteY51-1560" fmla="*/ 1917481 h 4657121"/>
              <a:gd name="connsiteX52-1561" fmla="*/ 1696616 w 4036187"/>
              <a:gd name="connsiteY52-1562" fmla="*/ 2554802 h 4657121"/>
              <a:gd name="connsiteX53-1563" fmla="*/ 1929683 w 4036187"/>
              <a:gd name="connsiteY53-1564" fmla="*/ 2703600 h 4657121"/>
              <a:gd name="connsiteX54-1565" fmla="*/ 2077616 w 4036187"/>
              <a:gd name="connsiteY54-1566" fmla="*/ 2954136 h 4657121"/>
              <a:gd name="connsiteX55-1567" fmla="*/ 2484197 w 4036187"/>
              <a:gd name="connsiteY55-1568" fmla="*/ 3330319 h 4657121"/>
              <a:gd name="connsiteX56-1569" fmla="*/ 3122932 w 4036187"/>
              <a:gd name="connsiteY56-1570" fmla="*/ 3655289 h 4657121"/>
              <a:gd name="connsiteX57-1571" fmla="*/ 3561306 w 4036187"/>
              <a:gd name="connsiteY57-1572" fmla="*/ 4020601 h 4657121"/>
              <a:gd name="connsiteX58-1573" fmla="*/ 3995646 w 4036187"/>
              <a:gd name="connsiteY58-1574" fmla="*/ 4371121 h 4657121"/>
              <a:gd name="connsiteX59-1575" fmla="*/ 3988026 w 4036187"/>
              <a:gd name="connsiteY59-1576" fmla="*/ 4653061 h 4657121"/>
              <a:gd name="connsiteX60-1577" fmla="*/ 3896586 w 4036187"/>
              <a:gd name="connsiteY60-1578" fmla="*/ 4614961 h 4657121"/>
              <a:gd name="connsiteX61-1579" fmla="*/ 3690846 w 4036187"/>
              <a:gd name="connsiteY61-1580" fmla="*/ 4393981 h 4657121"/>
              <a:gd name="connsiteX62-1581" fmla="*/ 3496760 w 4036187"/>
              <a:gd name="connsiteY62-1582" fmla="*/ 4247856 h 4657121"/>
              <a:gd name="connsiteX63-1583" fmla="*/ 3422801 w 4036187"/>
              <a:gd name="connsiteY63-1584" fmla="*/ 4165381 h 4657121"/>
              <a:gd name="connsiteX64-1585" fmla="*/ 3201373 w 4036187"/>
              <a:gd name="connsiteY64-1586" fmla="*/ 4031806 h 4657121"/>
              <a:gd name="connsiteX65-1587" fmla="*/ 2490920 w 4036187"/>
              <a:gd name="connsiteY65-1588" fmla="*/ 3691148 h 4657121"/>
              <a:gd name="connsiteX66-1589" fmla="*/ 2333141 w 4036187"/>
              <a:gd name="connsiteY66-1590" fmla="*/ 3652151 h 4657121"/>
              <a:gd name="connsiteX67-1591" fmla="*/ 2006826 w 4036187"/>
              <a:gd name="connsiteY67-1592" fmla="*/ 3487201 h 4657121"/>
              <a:gd name="connsiteX68-1593" fmla="*/ 1580106 w 4036187"/>
              <a:gd name="connsiteY68-1594" fmla="*/ 3311941 h 4657121"/>
              <a:gd name="connsiteX69-1595" fmla="*/ 1011366 w 4036187"/>
              <a:gd name="connsiteY69-1596" fmla="*/ 3356336 h 4657121"/>
              <a:gd name="connsiteX70-1597" fmla="*/ 1161935 w 4036187"/>
              <a:gd name="connsiteY70-1598" fmla="*/ 3484045 h 4657121"/>
              <a:gd name="connsiteX71-1599" fmla="*/ 1296398 w 4036187"/>
              <a:gd name="connsiteY71-1600" fmla="*/ 3668256 h 4657121"/>
              <a:gd name="connsiteX72-1601" fmla="*/ 1425496 w 4036187"/>
              <a:gd name="connsiteY72-1602" fmla="*/ 3716685 h 4657121"/>
              <a:gd name="connsiteX73-1603" fmla="*/ 1459531 w 4036187"/>
              <a:gd name="connsiteY73-1604" fmla="*/ 3884337 h 4657121"/>
              <a:gd name="connsiteX74-1605" fmla="*/ 1530352 w 4036187"/>
              <a:gd name="connsiteY74-1606" fmla="*/ 4226340 h 4657121"/>
              <a:gd name="connsiteX75-1607" fmla="*/ 1481046 w 4036187"/>
              <a:gd name="connsiteY75-1608" fmla="*/ 4302541 h 4657121"/>
              <a:gd name="connsiteX76-1609" fmla="*/ 1214346 w 4036187"/>
              <a:gd name="connsiteY76-1610" fmla="*/ 3952021 h 4657121"/>
              <a:gd name="connsiteX77-1611" fmla="*/ 947646 w 4036187"/>
              <a:gd name="connsiteY77-1612" fmla="*/ 3715801 h 4657121"/>
              <a:gd name="connsiteX78-1613" fmla="*/ 437106 w 4036187"/>
              <a:gd name="connsiteY78-1614" fmla="*/ 3342421 h 4657121"/>
              <a:gd name="connsiteX79-1615" fmla="*/ 429486 w 4036187"/>
              <a:gd name="connsiteY79-1616" fmla="*/ 3075721 h 4657121"/>
              <a:gd name="connsiteX80-1617" fmla="*/ 1196417 w 4036187"/>
              <a:gd name="connsiteY80-1618" fmla="*/ 2814399 h 4657121"/>
              <a:gd name="connsiteX81-1619" fmla="*/ 1169074 w 4036187"/>
              <a:gd name="connsiteY81-1620" fmla="*/ 2637795 h 4657121"/>
              <a:gd name="connsiteX82-1621" fmla="*/ 1023846 w 4036187"/>
              <a:gd name="connsiteY82-1622" fmla="*/ 2290861 h 4657121"/>
              <a:gd name="connsiteX83-1623" fmla="*/ 924786 w 4036187"/>
              <a:gd name="connsiteY83-1624" fmla="*/ 2001301 h 4657121"/>
              <a:gd name="connsiteX84-1625" fmla="*/ 798383 w 4036187"/>
              <a:gd name="connsiteY84-1626" fmla="*/ 2064054 h 4657121"/>
              <a:gd name="connsiteX85-1627" fmla="*/ 589506 w 4036187"/>
              <a:gd name="connsiteY85-1628" fmla="*/ 2077501 h 4657121"/>
              <a:gd name="connsiteX86-1629" fmla="*/ 368526 w 4036187"/>
              <a:gd name="connsiteY86-1630" fmla="*/ 2115601 h 4657121"/>
              <a:gd name="connsiteX87-1631" fmla="*/ 208506 w 4036187"/>
              <a:gd name="connsiteY87-1632" fmla="*/ 1841281 h 4657121"/>
              <a:gd name="connsiteX88-1633" fmla="*/ 164691 w 4036187"/>
              <a:gd name="connsiteY88-1634" fmla="*/ 1620301 h 4657121"/>
              <a:gd name="connsiteX89-1635" fmla="*/ 151103 w 4036187"/>
              <a:gd name="connsiteY89-1636" fmla="*/ 1592976 h 4657121"/>
              <a:gd name="connsiteX90-1637" fmla="*/ 151043 w 4036187"/>
              <a:gd name="connsiteY90-1638" fmla="*/ 1592915 h 4657121"/>
              <a:gd name="connsiteX91-1639" fmla="*/ 95320 w 4036187"/>
              <a:gd name="connsiteY91-1640" fmla="*/ 1680262 h 4657121"/>
              <a:gd name="connsiteX92-1641" fmla="*/ 93100 w 4036187"/>
              <a:gd name="connsiteY92-1642" fmla="*/ 1679167 h 4657121"/>
              <a:gd name="connsiteX93-1643" fmla="*/ 26784 w 4036187"/>
              <a:gd name="connsiteY93-1644" fmla="*/ 1697126 h 4657121"/>
              <a:gd name="connsiteX94-1645" fmla="*/ 5823 w 4036187"/>
              <a:gd name="connsiteY94-1646" fmla="*/ 1637185 h 4657121"/>
              <a:gd name="connsiteX95-1647" fmla="*/ 6401 w 4036187"/>
              <a:gd name="connsiteY95-1648" fmla="*/ 1636398 h 4657121"/>
              <a:gd name="connsiteX96-1649" fmla="*/ 5456 w 4036187"/>
              <a:gd name="connsiteY96-1650" fmla="*/ 1635932 h 4657121"/>
              <a:gd name="connsiteX97-1651" fmla="*/ 88087 w 4036187"/>
              <a:gd name="connsiteY97-1652" fmla="*/ 1498257 h 4657121"/>
              <a:gd name="connsiteX98-1653" fmla="*/ 82613 w 4036187"/>
              <a:gd name="connsiteY98-1654" fmla="*/ 1479391 h 4657121"/>
              <a:gd name="connsiteX99-1655" fmla="*/ 78966 w 4036187"/>
              <a:gd name="connsiteY99-1656" fmla="*/ 1460281 h 4657121"/>
              <a:gd name="connsiteX100-1657" fmla="*/ 96745 w 4036187"/>
              <a:gd name="connsiteY100-1658" fmla="*/ 1429801 h 4657121"/>
              <a:gd name="connsiteX101-1659" fmla="*/ 101826 w 4036187"/>
              <a:gd name="connsiteY101-1660" fmla="*/ 1406941 h 4657121"/>
              <a:gd name="connsiteX102-1661" fmla="*/ 122145 w 4036187"/>
              <a:gd name="connsiteY102-1662" fmla="*/ 1389161 h 4657121"/>
              <a:gd name="connsiteX103-1663" fmla="*/ 127226 w 4036187"/>
              <a:gd name="connsiteY103-1664" fmla="*/ 1361221 h 4657121"/>
              <a:gd name="connsiteX104-1665" fmla="*/ 152625 w 4036187"/>
              <a:gd name="connsiteY104-1666" fmla="*/ 1335821 h 4657121"/>
              <a:gd name="connsiteX105-1667" fmla="*/ 157706 w 4036187"/>
              <a:gd name="connsiteY105-1668" fmla="*/ 1310421 h 4657121"/>
              <a:gd name="connsiteX106-1669" fmla="*/ 178025 w 4036187"/>
              <a:gd name="connsiteY106-1670" fmla="*/ 1295181 h 4657121"/>
              <a:gd name="connsiteX107-1671" fmla="*/ 180565 w 4036187"/>
              <a:gd name="connsiteY107-1672" fmla="*/ 1272321 h 4657121"/>
              <a:gd name="connsiteX108-1673" fmla="*/ 197075 w 4036187"/>
              <a:gd name="connsiteY108-1674" fmla="*/ 1258351 h 4657121"/>
              <a:gd name="connsiteX109-1675" fmla="*/ 203426 w 4036187"/>
              <a:gd name="connsiteY109-1676" fmla="*/ 1236761 h 4657121"/>
              <a:gd name="connsiteX110-1677" fmla="*/ 223745 w 4036187"/>
              <a:gd name="connsiteY110-1678" fmla="*/ 1218981 h 4657121"/>
              <a:gd name="connsiteX111-1679" fmla="*/ 221205 w 4036187"/>
              <a:gd name="connsiteY111-1680" fmla="*/ 1196121 h 4657121"/>
              <a:gd name="connsiteX112-1681" fmla="*/ 241525 w 4036187"/>
              <a:gd name="connsiteY112-1682" fmla="*/ 1180881 h 4657121"/>
              <a:gd name="connsiteX113-1683" fmla="*/ 241526 w 4036187"/>
              <a:gd name="connsiteY113-1684" fmla="*/ 1160561 h 4657121"/>
              <a:gd name="connsiteX114-1685" fmla="*/ 264385 w 4036187"/>
              <a:gd name="connsiteY114-1686" fmla="*/ 1142781 h 4657121"/>
              <a:gd name="connsiteX115-1687" fmla="*/ 284706 w 4036187"/>
              <a:gd name="connsiteY115-1688" fmla="*/ 1125001 h 4657121"/>
              <a:gd name="connsiteX116-1689" fmla="*/ 309167 w 4036187"/>
              <a:gd name="connsiteY116-1690" fmla="*/ 1139328 h 4657121"/>
              <a:gd name="connsiteX117-1691" fmla="*/ 369954 w 4036187"/>
              <a:gd name="connsiteY117-1692" fmla="*/ 1042635 h 4657121"/>
              <a:gd name="connsiteX118-1693" fmla="*/ 331087 w 4036187"/>
              <a:gd name="connsiteY118-1694" fmla="*/ 990018 h 4657121"/>
              <a:gd name="connsiteX119-1695" fmla="*/ 416424 w 4036187"/>
              <a:gd name="connsiteY119-1696" fmla="*/ 1003067 h 4657121"/>
              <a:gd name="connsiteX120-1697" fmla="*/ 1126344 w 4036187"/>
              <a:gd name="connsiteY120-1698" fmla="*/ 47041 h 4657121"/>
              <a:gd name="connsiteX121-1699" fmla="*/ 1244295 w 4036187"/>
              <a:gd name="connsiteY121-1700" fmla="*/ 0 h 4657121"/>
              <a:gd name="connsiteX0-1701" fmla="*/ 93291 w 4036187"/>
              <a:gd name="connsiteY0-1702" fmla="*/ 1584790 h 4657121"/>
              <a:gd name="connsiteX1-1703" fmla="*/ 54878 w 4036187"/>
              <a:gd name="connsiteY1-1704" fmla="*/ 1590575 h 4657121"/>
              <a:gd name="connsiteX2-1705" fmla="*/ 68452 w 4036187"/>
              <a:gd name="connsiteY2-1706" fmla="*/ 1624121 h 4657121"/>
              <a:gd name="connsiteX3-1707" fmla="*/ 106864 w 4036187"/>
              <a:gd name="connsiteY3-1708" fmla="*/ 1618336 h 4657121"/>
              <a:gd name="connsiteX4-1709" fmla="*/ 93291 w 4036187"/>
              <a:gd name="connsiteY4-1710" fmla="*/ 1584790 h 4657121"/>
              <a:gd name="connsiteX5-1711" fmla="*/ 103049 w 4036187"/>
              <a:gd name="connsiteY5-1712" fmla="*/ 1536183 h 4657121"/>
              <a:gd name="connsiteX6-1713" fmla="*/ 84080 w 4036187"/>
              <a:gd name="connsiteY6-1714" fmla="*/ 1539040 h 4657121"/>
              <a:gd name="connsiteX7-1715" fmla="*/ 97653 w 4036187"/>
              <a:gd name="connsiteY7-1716" fmla="*/ 1572586 h 4657121"/>
              <a:gd name="connsiteX8-1717" fmla="*/ 124029 w 4036187"/>
              <a:gd name="connsiteY8-1718" fmla="*/ 1568613 h 4657121"/>
              <a:gd name="connsiteX9-1719" fmla="*/ 121784 w 4036187"/>
              <a:gd name="connsiteY9-1720" fmla="*/ 1566902 h 4657121"/>
              <a:gd name="connsiteX10-1721" fmla="*/ 109446 w 4036187"/>
              <a:gd name="connsiteY10-1722" fmla="*/ 1551721 h 4657121"/>
              <a:gd name="connsiteX11-1723" fmla="*/ 103049 w 4036187"/>
              <a:gd name="connsiteY11-1724" fmla="*/ 1536183 h 4657121"/>
              <a:gd name="connsiteX12-1725" fmla="*/ 330425 w 4036187"/>
              <a:gd name="connsiteY12-1726" fmla="*/ 1414561 h 4657121"/>
              <a:gd name="connsiteX13-1727" fmla="*/ 303755 w 4036187"/>
              <a:gd name="connsiteY13-1728" fmla="*/ 1509811 h 4657121"/>
              <a:gd name="connsiteX14-1729" fmla="*/ 467585 w 4036187"/>
              <a:gd name="connsiteY14-1730" fmla="*/ 1848901 h 4657121"/>
              <a:gd name="connsiteX15-1731" fmla="*/ 629398 w 4036187"/>
              <a:gd name="connsiteY15-1732" fmla="*/ 1781666 h 4657121"/>
              <a:gd name="connsiteX16-1733" fmla="*/ 795245 w 4036187"/>
              <a:gd name="connsiteY16-1734" fmla="*/ 1757461 h 4657121"/>
              <a:gd name="connsiteX17-1735" fmla="*/ 886685 w 4036187"/>
              <a:gd name="connsiteY17-1736" fmla="*/ 1666021 h 4657121"/>
              <a:gd name="connsiteX18-1737" fmla="*/ 612365 w 4036187"/>
              <a:gd name="connsiteY18-1738" fmla="*/ 1589821 h 4657121"/>
              <a:gd name="connsiteX19-1739" fmla="*/ 429485 w 4036187"/>
              <a:gd name="connsiteY19-1740" fmla="*/ 1471711 h 4657121"/>
              <a:gd name="connsiteX20-1741" fmla="*/ 330425 w 4036187"/>
              <a:gd name="connsiteY20-1742" fmla="*/ 1414561 h 4657121"/>
              <a:gd name="connsiteX21-1743" fmla="*/ 377386 w 4036187"/>
              <a:gd name="connsiteY21-1744" fmla="*/ 1136442 h 4657121"/>
              <a:gd name="connsiteX22-1745" fmla="*/ 338974 w 4036187"/>
              <a:gd name="connsiteY22-1746" fmla="*/ 1142228 h 4657121"/>
              <a:gd name="connsiteX23-1747" fmla="*/ 348453 w 4036187"/>
              <a:gd name="connsiteY23-1748" fmla="*/ 1165655 h 4657121"/>
              <a:gd name="connsiteX24-1749" fmla="*/ 360621 w 4036187"/>
              <a:gd name="connsiteY24-1750" fmla="*/ 1174557 h 4657121"/>
              <a:gd name="connsiteX25-1751" fmla="*/ 390959 w 4036187"/>
              <a:gd name="connsiteY25-1752" fmla="*/ 1169988 h 4657121"/>
              <a:gd name="connsiteX26-1753" fmla="*/ 377386 w 4036187"/>
              <a:gd name="connsiteY26-1754" fmla="*/ 1136442 h 4657121"/>
              <a:gd name="connsiteX27-1755" fmla="*/ 1160386 w 4036187"/>
              <a:gd name="connsiteY27-1756" fmla="*/ 41755 h 4657121"/>
              <a:gd name="connsiteX28-1757" fmla="*/ 1127909 w 4036187"/>
              <a:gd name="connsiteY28-1758" fmla="*/ 54182 h 4657121"/>
              <a:gd name="connsiteX29-1759" fmla="*/ 452868 w 4036187"/>
              <a:gd name="connsiteY29-1760" fmla="*/ 957816 h 4657121"/>
              <a:gd name="connsiteX30-1761" fmla="*/ 478765 w 4036187"/>
              <a:gd name="connsiteY30-1762" fmla="*/ 974831 h 4657121"/>
              <a:gd name="connsiteX31-1763" fmla="*/ 1160386 w 4036187"/>
              <a:gd name="connsiteY31-1764" fmla="*/ 41755 h 4657121"/>
              <a:gd name="connsiteX32-1765" fmla="*/ 1244295 w 4036187"/>
              <a:gd name="connsiteY32-1766" fmla="*/ 0 h 4657121"/>
              <a:gd name="connsiteX33-1767" fmla="*/ 492571 w 4036187"/>
              <a:gd name="connsiteY33-1768" fmla="*/ 1045306 h 4657121"/>
              <a:gd name="connsiteX34-1769" fmla="*/ 542034 w 4036187"/>
              <a:gd name="connsiteY34-1770" fmla="*/ 1105827 h 4657121"/>
              <a:gd name="connsiteX35-1771" fmla="*/ 474644 w 4036187"/>
              <a:gd name="connsiteY35-1772" fmla="*/ 1099925 h 4657121"/>
              <a:gd name="connsiteX36-1773" fmla="*/ 402847 w 4036187"/>
              <a:gd name="connsiteY36-1774" fmla="*/ 1207107 h 4657121"/>
              <a:gd name="connsiteX37-1775" fmla="*/ 414246 w 4036187"/>
              <a:gd name="connsiteY37-1776" fmla="*/ 1216441 h 4657121"/>
              <a:gd name="connsiteX38-1777" fmla="*/ 479016 w 4036187"/>
              <a:gd name="connsiteY38-1778" fmla="*/ 1300261 h 4657121"/>
              <a:gd name="connsiteX39-1779" fmla="*/ 780006 w 4036187"/>
              <a:gd name="connsiteY39-1780" fmla="*/ 1399321 h 4657121"/>
              <a:gd name="connsiteX40-1781" fmla="*/ 863826 w 4036187"/>
              <a:gd name="connsiteY40-1782" fmla="*/ 1418371 h 4657121"/>
              <a:gd name="connsiteX41-1783" fmla="*/ 806676 w 4036187"/>
              <a:gd name="connsiteY41-1784" fmla="*/ 1254541 h 4657121"/>
              <a:gd name="connsiteX42-1785" fmla="*/ 793453 w 4036187"/>
              <a:gd name="connsiteY42-1786" fmla="*/ 1072782 h 4657121"/>
              <a:gd name="connsiteX43-1787" fmla="*/ 938682 w 4036187"/>
              <a:gd name="connsiteY43-1788" fmla="*/ 925088 h 4657121"/>
              <a:gd name="connsiteX44-1789" fmla="*/ 995065 w 4036187"/>
              <a:gd name="connsiteY44-1790" fmla="*/ 919520 h 4657121"/>
              <a:gd name="connsiteX45-1791" fmla="*/ 1138146 w 4036187"/>
              <a:gd name="connsiteY45-1792" fmla="*/ 972153 h 4657121"/>
              <a:gd name="connsiteX46-1793" fmla="*/ 1210536 w 4036187"/>
              <a:gd name="connsiteY46-1794" fmla="*/ 1121191 h 4657121"/>
              <a:gd name="connsiteX47-1795" fmla="*/ 1230931 w 4036187"/>
              <a:gd name="connsiteY47-1796" fmla="*/ 1323121 h 4657121"/>
              <a:gd name="connsiteX48-1797" fmla="*/ 1244826 w 4036187"/>
              <a:gd name="connsiteY48-1798" fmla="*/ 1475521 h 4657121"/>
              <a:gd name="connsiteX49-1799" fmla="*/ 1421879 w 4036187"/>
              <a:gd name="connsiteY49-1800" fmla="*/ 1551721 h 4657121"/>
              <a:gd name="connsiteX50-1801" fmla="*/ 1488666 w 4036187"/>
              <a:gd name="connsiteY50-1802" fmla="*/ 1765081 h 4657121"/>
              <a:gd name="connsiteX51-1803" fmla="*/ 1549626 w 4036187"/>
              <a:gd name="connsiteY51-1804" fmla="*/ 1917481 h 4657121"/>
              <a:gd name="connsiteX52-1805" fmla="*/ 1696616 w 4036187"/>
              <a:gd name="connsiteY52-1806" fmla="*/ 2554802 h 4657121"/>
              <a:gd name="connsiteX53-1807" fmla="*/ 1909529 w 4036187"/>
              <a:gd name="connsiteY53-1808" fmla="*/ 2760034 h 4657121"/>
              <a:gd name="connsiteX54-1809" fmla="*/ 2077616 w 4036187"/>
              <a:gd name="connsiteY54-1810" fmla="*/ 2954136 h 4657121"/>
              <a:gd name="connsiteX55-1811" fmla="*/ 2484197 w 4036187"/>
              <a:gd name="connsiteY55-1812" fmla="*/ 3330319 h 4657121"/>
              <a:gd name="connsiteX56-1813" fmla="*/ 3122932 w 4036187"/>
              <a:gd name="connsiteY56-1814" fmla="*/ 3655289 h 4657121"/>
              <a:gd name="connsiteX57-1815" fmla="*/ 3561306 w 4036187"/>
              <a:gd name="connsiteY57-1816" fmla="*/ 4020601 h 4657121"/>
              <a:gd name="connsiteX58-1817" fmla="*/ 3995646 w 4036187"/>
              <a:gd name="connsiteY58-1818" fmla="*/ 4371121 h 4657121"/>
              <a:gd name="connsiteX59-1819" fmla="*/ 3988026 w 4036187"/>
              <a:gd name="connsiteY59-1820" fmla="*/ 4653061 h 4657121"/>
              <a:gd name="connsiteX60-1821" fmla="*/ 3896586 w 4036187"/>
              <a:gd name="connsiteY60-1822" fmla="*/ 4614961 h 4657121"/>
              <a:gd name="connsiteX61-1823" fmla="*/ 3690846 w 4036187"/>
              <a:gd name="connsiteY61-1824" fmla="*/ 4393981 h 4657121"/>
              <a:gd name="connsiteX62-1825" fmla="*/ 3496760 w 4036187"/>
              <a:gd name="connsiteY62-1826" fmla="*/ 4247856 h 4657121"/>
              <a:gd name="connsiteX63-1827" fmla="*/ 3422801 w 4036187"/>
              <a:gd name="connsiteY63-1828" fmla="*/ 4165381 h 4657121"/>
              <a:gd name="connsiteX64-1829" fmla="*/ 3201373 w 4036187"/>
              <a:gd name="connsiteY64-1830" fmla="*/ 4031806 h 4657121"/>
              <a:gd name="connsiteX65-1831" fmla="*/ 2490920 w 4036187"/>
              <a:gd name="connsiteY65-1832" fmla="*/ 3691148 h 4657121"/>
              <a:gd name="connsiteX66-1833" fmla="*/ 2333141 w 4036187"/>
              <a:gd name="connsiteY66-1834" fmla="*/ 3652151 h 4657121"/>
              <a:gd name="connsiteX67-1835" fmla="*/ 2006826 w 4036187"/>
              <a:gd name="connsiteY67-1836" fmla="*/ 3487201 h 4657121"/>
              <a:gd name="connsiteX68-1837" fmla="*/ 1580106 w 4036187"/>
              <a:gd name="connsiteY68-1838" fmla="*/ 3311941 h 4657121"/>
              <a:gd name="connsiteX69-1839" fmla="*/ 1011366 w 4036187"/>
              <a:gd name="connsiteY69-1840" fmla="*/ 3356336 h 4657121"/>
              <a:gd name="connsiteX70-1841" fmla="*/ 1161935 w 4036187"/>
              <a:gd name="connsiteY70-1842" fmla="*/ 3484045 h 4657121"/>
              <a:gd name="connsiteX71-1843" fmla="*/ 1296398 w 4036187"/>
              <a:gd name="connsiteY71-1844" fmla="*/ 3668256 h 4657121"/>
              <a:gd name="connsiteX72-1845" fmla="*/ 1425496 w 4036187"/>
              <a:gd name="connsiteY72-1846" fmla="*/ 3716685 h 4657121"/>
              <a:gd name="connsiteX73-1847" fmla="*/ 1459531 w 4036187"/>
              <a:gd name="connsiteY73-1848" fmla="*/ 3884337 h 4657121"/>
              <a:gd name="connsiteX74-1849" fmla="*/ 1530352 w 4036187"/>
              <a:gd name="connsiteY74-1850" fmla="*/ 4226340 h 4657121"/>
              <a:gd name="connsiteX75-1851" fmla="*/ 1481046 w 4036187"/>
              <a:gd name="connsiteY75-1852" fmla="*/ 4302541 h 4657121"/>
              <a:gd name="connsiteX76-1853" fmla="*/ 1214346 w 4036187"/>
              <a:gd name="connsiteY76-1854" fmla="*/ 3952021 h 4657121"/>
              <a:gd name="connsiteX77-1855" fmla="*/ 947646 w 4036187"/>
              <a:gd name="connsiteY77-1856" fmla="*/ 3715801 h 4657121"/>
              <a:gd name="connsiteX78-1857" fmla="*/ 437106 w 4036187"/>
              <a:gd name="connsiteY78-1858" fmla="*/ 3342421 h 4657121"/>
              <a:gd name="connsiteX79-1859" fmla="*/ 429486 w 4036187"/>
              <a:gd name="connsiteY79-1860" fmla="*/ 3075721 h 4657121"/>
              <a:gd name="connsiteX80-1861" fmla="*/ 1196417 w 4036187"/>
              <a:gd name="connsiteY80-1862" fmla="*/ 2814399 h 4657121"/>
              <a:gd name="connsiteX81-1863" fmla="*/ 1169074 w 4036187"/>
              <a:gd name="connsiteY81-1864" fmla="*/ 2637795 h 4657121"/>
              <a:gd name="connsiteX82-1865" fmla="*/ 1023846 w 4036187"/>
              <a:gd name="connsiteY82-1866" fmla="*/ 2290861 h 4657121"/>
              <a:gd name="connsiteX83-1867" fmla="*/ 924786 w 4036187"/>
              <a:gd name="connsiteY83-1868" fmla="*/ 2001301 h 4657121"/>
              <a:gd name="connsiteX84-1869" fmla="*/ 798383 w 4036187"/>
              <a:gd name="connsiteY84-1870" fmla="*/ 2064054 h 4657121"/>
              <a:gd name="connsiteX85-1871" fmla="*/ 589506 w 4036187"/>
              <a:gd name="connsiteY85-1872" fmla="*/ 2077501 h 4657121"/>
              <a:gd name="connsiteX86-1873" fmla="*/ 368526 w 4036187"/>
              <a:gd name="connsiteY86-1874" fmla="*/ 2115601 h 4657121"/>
              <a:gd name="connsiteX87-1875" fmla="*/ 208506 w 4036187"/>
              <a:gd name="connsiteY87-1876" fmla="*/ 1841281 h 4657121"/>
              <a:gd name="connsiteX88-1877" fmla="*/ 164691 w 4036187"/>
              <a:gd name="connsiteY88-1878" fmla="*/ 1620301 h 4657121"/>
              <a:gd name="connsiteX89-1879" fmla="*/ 151103 w 4036187"/>
              <a:gd name="connsiteY89-1880" fmla="*/ 1592976 h 4657121"/>
              <a:gd name="connsiteX90-1881" fmla="*/ 151043 w 4036187"/>
              <a:gd name="connsiteY90-1882" fmla="*/ 1592915 h 4657121"/>
              <a:gd name="connsiteX91-1883" fmla="*/ 95320 w 4036187"/>
              <a:gd name="connsiteY91-1884" fmla="*/ 1680262 h 4657121"/>
              <a:gd name="connsiteX92-1885" fmla="*/ 93100 w 4036187"/>
              <a:gd name="connsiteY92-1886" fmla="*/ 1679167 h 4657121"/>
              <a:gd name="connsiteX93-1887" fmla="*/ 26784 w 4036187"/>
              <a:gd name="connsiteY93-1888" fmla="*/ 1697126 h 4657121"/>
              <a:gd name="connsiteX94-1889" fmla="*/ 5823 w 4036187"/>
              <a:gd name="connsiteY94-1890" fmla="*/ 1637185 h 4657121"/>
              <a:gd name="connsiteX95-1891" fmla="*/ 6401 w 4036187"/>
              <a:gd name="connsiteY95-1892" fmla="*/ 1636398 h 4657121"/>
              <a:gd name="connsiteX96-1893" fmla="*/ 5456 w 4036187"/>
              <a:gd name="connsiteY96-1894" fmla="*/ 1635932 h 4657121"/>
              <a:gd name="connsiteX97-1895" fmla="*/ 88087 w 4036187"/>
              <a:gd name="connsiteY97-1896" fmla="*/ 1498257 h 4657121"/>
              <a:gd name="connsiteX98-1897" fmla="*/ 82613 w 4036187"/>
              <a:gd name="connsiteY98-1898" fmla="*/ 1479391 h 4657121"/>
              <a:gd name="connsiteX99-1899" fmla="*/ 78966 w 4036187"/>
              <a:gd name="connsiteY99-1900" fmla="*/ 1460281 h 4657121"/>
              <a:gd name="connsiteX100-1901" fmla="*/ 96745 w 4036187"/>
              <a:gd name="connsiteY100-1902" fmla="*/ 1429801 h 4657121"/>
              <a:gd name="connsiteX101-1903" fmla="*/ 101826 w 4036187"/>
              <a:gd name="connsiteY101-1904" fmla="*/ 1406941 h 4657121"/>
              <a:gd name="connsiteX102-1905" fmla="*/ 122145 w 4036187"/>
              <a:gd name="connsiteY102-1906" fmla="*/ 1389161 h 4657121"/>
              <a:gd name="connsiteX103-1907" fmla="*/ 127226 w 4036187"/>
              <a:gd name="connsiteY103-1908" fmla="*/ 1361221 h 4657121"/>
              <a:gd name="connsiteX104-1909" fmla="*/ 152625 w 4036187"/>
              <a:gd name="connsiteY104-1910" fmla="*/ 1335821 h 4657121"/>
              <a:gd name="connsiteX105-1911" fmla="*/ 157706 w 4036187"/>
              <a:gd name="connsiteY105-1912" fmla="*/ 1310421 h 4657121"/>
              <a:gd name="connsiteX106-1913" fmla="*/ 178025 w 4036187"/>
              <a:gd name="connsiteY106-1914" fmla="*/ 1295181 h 4657121"/>
              <a:gd name="connsiteX107-1915" fmla="*/ 180565 w 4036187"/>
              <a:gd name="connsiteY107-1916" fmla="*/ 1272321 h 4657121"/>
              <a:gd name="connsiteX108-1917" fmla="*/ 197075 w 4036187"/>
              <a:gd name="connsiteY108-1918" fmla="*/ 1258351 h 4657121"/>
              <a:gd name="connsiteX109-1919" fmla="*/ 203426 w 4036187"/>
              <a:gd name="connsiteY109-1920" fmla="*/ 1236761 h 4657121"/>
              <a:gd name="connsiteX110-1921" fmla="*/ 223745 w 4036187"/>
              <a:gd name="connsiteY110-1922" fmla="*/ 1218981 h 4657121"/>
              <a:gd name="connsiteX111-1923" fmla="*/ 221205 w 4036187"/>
              <a:gd name="connsiteY111-1924" fmla="*/ 1196121 h 4657121"/>
              <a:gd name="connsiteX112-1925" fmla="*/ 241525 w 4036187"/>
              <a:gd name="connsiteY112-1926" fmla="*/ 1180881 h 4657121"/>
              <a:gd name="connsiteX113-1927" fmla="*/ 241526 w 4036187"/>
              <a:gd name="connsiteY113-1928" fmla="*/ 1160561 h 4657121"/>
              <a:gd name="connsiteX114-1929" fmla="*/ 264385 w 4036187"/>
              <a:gd name="connsiteY114-1930" fmla="*/ 1142781 h 4657121"/>
              <a:gd name="connsiteX115-1931" fmla="*/ 284706 w 4036187"/>
              <a:gd name="connsiteY115-1932" fmla="*/ 1125001 h 4657121"/>
              <a:gd name="connsiteX116-1933" fmla="*/ 309167 w 4036187"/>
              <a:gd name="connsiteY116-1934" fmla="*/ 1139328 h 4657121"/>
              <a:gd name="connsiteX117-1935" fmla="*/ 369954 w 4036187"/>
              <a:gd name="connsiteY117-1936" fmla="*/ 1042635 h 4657121"/>
              <a:gd name="connsiteX118-1937" fmla="*/ 331087 w 4036187"/>
              <a:gd name="connsiteY118-1938" fmla="*/ 990018 h 4657121"/>
              <a:gd name="connsiteX119-1939" fmla="*/ 416424 w 4036187"/>
              <a:gd name="connsiteY119-1940" fmla="*/ 1003067 h 4657121"/>
              <a:gd name="connsiteX120-1941" fmla="*/ 1126344 w 4036187"/>
              <a:gd name="connsiteY120-1942" fmla="*/ 47041 h 4657121"/>
              <a:gd name="connsiteX121-1943" fmla="*/ 1244295 w 4036187"/>
              <a:gd name="connsiteY121-1944" fmla="*/ 0 h 4657121"/>
              <a:gd name="connsiteX0-1945" fmla="*/ 93291 w 4036187"/>
              <a:gd name="connsiteY0-1946" fmla="*/ 1584790 h 4657121"/>
              <a:gd name="connsiteX1-1947" fmla="*/ 54878 w 4036187"/>
              <a:gd name="connsiteY1-1948" fmla="*/ 1590575 h 4657121"/>
              <a:gd name="connsiteX2-1949" fmla="*/ 68452 w 4036187"/>
              <a:gd name="connsiteY2-1950" fmla="*/ 1624121 h 4657121"/>
              <a:gd name="connsiteX3-1951" fmla="*/ 106864 w 4036187"/>
              <a:gd name="connsiteY3-1952" fmla="*/ 1618336 h 4657121"/>
              <a:gd name="connsiteX4-1953" fmla="*/ 93291 w 4036187"/>
              <a:gd name="connsiteY4-1954" fmla="*/ 1584790 h 4657121"/>
              <a:gd name="connsiteX5-1955" fmla="*/ 103049 w 4036187"/>
              <a:gd name="connsiteY5-1956" fmla="*/ 1536183 h 4657121"/>
              <a:gd name="connsiteX6-1957" fmla="*/ 84080 w 4036187"/>
              <a:gd name="connsiteY6-1958" fmla="*/ 1539040 h 4657121"/>
              <a:gd name="connsiteX7-1959" fmla="*/ 97653 w 4036187"/>
              <a:gd name="connsiteY7-1960" fmla="*/ 1572586 h 4657121"/>
              <a:gd name="connsiteX8-1961" fmla="*/ 124029 w 4036187"/>
              <a:gd name="connsiteY8-1962" fmla="*/ 1568613 h 4657121"/>
              <a:gd name="connsiteX9-1963" fmla="*/ 121784 w 4036187"/>
              <a:gd name="connsiteY9-1964" fmla="*/ 1566902 h 4657121"/>
              <a:gd name="connsiteX10-1965" fmla="*/ 109446 w 4036187"/>
              <a:gd name="connsiteY10-1966" fmla="*/ 1551721 h 4657121"/>
              <a:gd name="connsiteX11-1967" fmla="*/ 103049 w 4036187"/>
              <a:gd name="connsiteY11-1968" fmla="*/ 1536183 h 4657121"/>
              <a:gd name="connsiteX12-1969" fmla="*/ 330425 w 4036187"/>
              <a:gd name="connsiteY12-1970" fmla="*/ 1414561 h 4657121"/>
              <a:gd name="connsiteX13-1971" fmla="*/ 303755 w 4036187"/>
              <a:gd name="connsiteY13-1972" fmla="*/ 1509811 h 4657121"/>
              <a:gd name="connsiteX14-1973" fmla="*/ 467585 w 4036187"/>
              <a:gd name="connsiteY14-1974" fmla="*/ 1848901 h 4657121"/>
              <a:gd name="connsiteX15-1975" fmla="*/ 629398 w 4036187"/>
              <a:gd name="connsiteY15-1976" fmla="*/ 1781666 h 4657121"/>
              <a:gd name="connsiteX16-1977" fmla="*/ 795245 w 4036187"/>
              <a:gd name="connsiteY16-1978" fmla="*/ 1757461 h 4657121"/>
              <a:gd name="connsiteX17-1979" fmla="*/ 886685 w 4036187"/>
              <a:gd name="connsiteY17-1980" fmla="*/ 1666021 h 4657121"/>
              <a:gd name="connsiteX18-1981" fmla="*/ 612365 w 4036187"/>
              <a:gd name="connsiteY18-1982" fmla="*/ 1589821 h 4657121"/>
              <a:gd name="connsiteX19-1983" fmla="*/ 429485 w 4036187"/>
              <a:gd name="connsiteY19-1984" fmla="*/ 1471711 h 4657121"/>
              <a:gd name="connsiteX20-1985" fmla="*/ 330425 w 4036187"/>
              <a:gd name="connsiteY20-1986" fmla="*/ 1414561 h 4657121"/>
              <a:gd name="connsiteX21-1987" fmla="*/ 377386 w 4036187"/>
              <a:gd name="connsiteY21-1988" fmla="*/ 1136442 h 4657121"/>
              <a:gd name="connsiteX22-1989" fmla="*/ 338974 w 4036187"/>
              <a:gd name="connsiteY22-1990" fmla="*/ 1142228 h 4657121"/>
              <a:gd name="connsiteX23-1991" fmla="*/ 348453 w 4036187"/>
              <a:gd name="connsiteY23-1992" fmla="*/ 1165655 h 4657121"/>
              <a:gd name="connsiteX24-1993" fmla="*/ 360621 w 4036187"/>
              <a:gd name="connsiteY24-1994" fmla="*/ 1174557 h 4657121"/>
              <a:gd name="connsiteX25-1995" fmla="*/ 390959 w 4036187"/>
              <a:gd name="connsiteY25-1996" fmla="*/ 1169988 h 4657121"/>
              <a:gd name="connsiteX26-1997" fmla="*/ 377386 w 4036187"/>
              <a:gd name="connsiteY26-1998" fmla="*/ 1136442 h 4657121"/>
              <a:gd name="connsiteX27-1999" fmla="*/ 1160386 w 4036187"/>
              <a:gd name="connsiteY27-2000" fmla="*/ 41755 h 4657121"/>
              <a:gd name="connsiteX28-2001" fmla="*/ 1127909 w 4036187"/>
              <a:gd name="connsiteY28-2002" fmla="*/ 54182 h 4657121"/>
              <a:gd name="connsiteX29-2003" fmla="*/ 452868 w 4036187"/>
              <a:gd name="connsiteY29-2004" fmla="*/ 957816 h 4657121"/>
              <a:gd name="connsiteX30-2005" fmla="*/ 478765 w 4036187"/>
              <a:gd name="connsiteY30-2006" fmla="*/ 974831 h 4657121"/>
              <a:gd name="connsiteX31-2007" fmla="*/ 1160386 w 4036187"/>
              <a:gd name="connsiteY31-2008" fmla="*/ 41755 h 4657121"/>
              <a:gd name="connsiteX32-2009" fmla="*/ 1244295 w 4036187"/>
              <a:gd name="connsiteY32-2010" fmla="*/ 0 h 4657121"/>
              <a:gd name="connsiteX33-2011" fmla="*/ 492571 w 4036187"/>
              <a:gd name="connsiteY33-2012" fmla="*/ 1045306 h 4657121"/>
              <a:gd name="connsiteX34-2013" fmla="*/ 542034 w 4036187"/>
              <a:gd name="connsiteY34-2014" fmla="*/ 1105827 h 4657121"/>
              <a:gd name="connsiteX35-2015" fmla="*/ 474644 w 4036187"/>
              <a:gd name="connsiteY35-2016" fmla="*/ 1099925 h 4657121"/>
              <a:gd name="connsiteX36-2017" fmla="*/ 402847 w 4036187"/>
              <a:gd name="connsiteY36-2018" fmla="*/ 1207107 h 4657121"/>
              <a:gd name="connsiteX37-2019" fmla="*/ 414246 w 4036187"/>
              <a:gd name="connsiteY37-2020" fmla="*/ 1216441 h 4657121"/>
              <a:gd name="connsiteX38-2021" fmla="*/ 479016 w 4036187"/>
              <a:gd name="connsiteY38-2022" fmla="*/ 1300261 h 4657121"/>
              <a:gd name="connsiteX39-2023" fmla="*/ 780006 w 4036187"/>
              <a:gd name="connsiteY39-2024" fmla="*/ 1399321 h 4657121"/>
              <a:gd name="connsiteX40-2025" fmla="*/ 863826 w 4036187"/>
              <a:gd name="connsiteY40-2026" fmla="*/ 1418371 h 4657121"/>
              <a:gd name="connsiteX41-2027" fmla="*/ 806676 w 4036187"/>
              <a:gd name="connsiteY41-2028" fmla="*/ 1254541 h 4657121"/>
              <a:gd name="connsiteX42-2029" fmla="*/ 793453 w 4036187"/>
              <a:gd name="connsiteY42-2030" fmla="*/ 1072782 h 4657121"/>
              <a:gd name="connsiteX43-2031" fmla="*/ 938682 w 4036187"/>
              <a:gd name="connsiteY43-2032" fmla="*/ 925088 h 4657121"/>
              <a:gd name="connsiteX44-2033" fmla="*/ 995065 w 4036187"/>
              <a:gd name="connsiteY44-2034" fmla="*/ 919520 h 4657121"/>
              <a:gd name="connsiteX45-2035" fmla="*/ 1138146 w 4036187"/>
              <a:gd name="connsiteY45-2036" fmla="*/ 972153 h 4657121"/>
              <a:gd name="connsiteX46-2037" fmla="*/ 1210536 w 4036187"/>
              <a:gd name="connsiteY46-2038" fmla="*/ 1121191 h 4657121"/>
              <a:gd name="connsiteX47-2039" fmla="*/ 1230931 w 4036187"/>
              <a:gd name="connsiteY47-2040" fmla="*/ 1323121 h 4657121"/>
              <a:gd name="connsiteX48-2041" fmla="*/ 1244826 w 4036187"/>
              <a:gd name="connsiteY48-2042" fmla="*/ 1475521 h 4657121"/>
              <a:gd name="connsiteX49-2043" fmla="*/ 1421879 w 4036187"/>
              <a:gd name="connsiteY49-2044" fmla="*/ 1551721 h 4657121"/>
              <a:gd name="connsiteX50-2045" fmla="*/ 1488666 w 4036187"/>
              <a:gd name="connsiteY50-2046" fmla="*/ 1765081 h 4657121"/>
              <a:gd name="connsiteX51-2047" fmla="*/ 1549626 w 4036187"/>
              <a:gd name="connsiteY51-2048" fmla="*/ 1917481 h 4657121"/>
              <a:gd name="connsiteX52-2049" fmla="*/ 1708709 w 4036187"/>
              <a:gd name="connsiteY52-2050" fmla="*/ 2635421 h 4657121"/>
              <a:gd name="connsiteX53-2051" fmla="*/ 1909529 w 4036187"/>
              <a:gd name="connsiteY53-2052" fmla="*/ 2760034 h 4657121"/>
              <a:gd name="connsiteX54-2053" fmla="*/ 2077616 w 4036187"/>
              <a:gd name="connsiteY54-2054" fmla="*/ 2954136 h 4657121"/>
              <a:gd name="connsiteX55-2055" fmla="*/ 2484197 w 4036187"/>
              <a:gd name="connsiteY55-2056" fmla="*/ 3330319 h 4657121"/>
              <a:gd name="connsiteX56-2057" fmla="*/ 3122932 w 4036187"/>
              <a:gd name="connsiteY56-2058" fmla="*/ 3655289 h 4657121"/>
              <a:gd name="connsiteX57-2059" fmla="*/ 3561306 w 4036187"/>
              <a:gd name="connsiteY57-2060" fmla="*/ 4020601 h 4657121"/>
              <a:gd name="connsiteX58-2061" fmla="*/ 3995646 w 4036187"/>
              <a:gd name="connsiteY58-2062" fmla="*/ 4371121 h 4657121"/>
              <a:gd name="connsiteX59-2063" fmla="*/ 3988026 w 4036187"/>
              <a:gd name="connsiteY59-2064" fmla="*/ 4653061 h 4657121"/>
              <a:gd name="connsiteX60-2065" fmla="*/ 3896586 w 4036187"/>
              <a:gd name="connsiteY60-2066" fmla="*/ 4614961 h 4657121"/>
              <a:gd name="connsiteX61-2067" fmla="*/ 3690846 w 4036187"/>
              <a:gd name="connsiteY61-2068" fmla="*/ 4393981 h 4657121"/>
              <a:gd name="connsiteX62-2069" fmla="*/ 3496760 w 4036187"/>
              <a:gd name="connsiteY62-2070" fmla="*/ 4247856 h 4657121"/>
              <a:gd name="connsiteX63-2071" fmla="*/ 3422801 w 4036187"/>
              <a:gd name="connsiteY63-2072" fmla="*/ 4165381 h 4657121"/>
              <a:gd name="connsiteX64-2073" fmla="*/ 3201373 w 4036187"/>
              <a:gd name="connsiteY64-2074" fmla="*/ 4031806 h 4657121"/>
              <a:gd name="connsiteX65-2075" fmla="*/ 2490920 w 4036187"/>
              <a:gd name="connsiteY65-2076" fmla="*/ 3691148 h 4657121"/>
              <a:gd name="connsiteX66-2077" fmla="*/ 2333141 w 4036187"/>
              <a:gd name="connsiteY66-2078" fmla="*/ 3652151 h 4657121"/>
              <a:gd name="connsiteX67-2079" fmla="*/ 2006826 w 4036187"/>
              <a:gd name="connsiteY67-2080" fmla="*/ 3487201 h 4657121"/>
              <a:gd name="connsiteX68-2081" fmla="*/ 1580106 w 4036187"/>
              <a:gd name="connsiteY68-2082" fmla="*/ 3311941 h 4657121"/>
              <a:gd name="connsiteX69-2083" fmla="*/ 1011366 w 4036187"/>
              <a:gd name="connsiteY69-2084" fmla="*/ 3356336 h 4657121"/>
              <a:gd name="connsiteX70-2085" fmla="*/ 1161935 w 4036187"/>
              <a:gd name="connsiteY70-2086" fmla="*/ 3484045 h 4657121"/>
              <a:gd name="connsiteX71-2087" fmla="*/ 1296398 w 4036187"/>
              <a:gd name="connsiteY71-2088" fmla="*/ 3668256 h 4657121"/>
              <a:gd name="connsiteX72-2089" fmla="*/ 1425496 w 4036187"/>
              <a:gd name="connsiteY72-2090" fmla="*/ 3716685 h 4657121"/>
              <a:gd name="connsiteX73-2091" fmla="*/ 1459531 w 4036187"/>
              <a:gd name="connsiteY73-2092" fmla="*/ 3884337 h 4657121"/>
              <a:gd name="connsiteX74-2093" fmla="*/ 1530352 w 4036187"/>
              <a:gd name="connsiteY74-2094" fmla="*/ 4226340 h 4657121"/>
              <a:gd name="connsiteX75-2095" fmla="*/ 1481046 w 4036187"/>
              <a:gd name="connsiteY75-2096" fmla="*/ 4302541 h 4657121"/>
              <a:gd name="connsiteX76-2097" fmla="*/ 1214346 w 4036187"/>
              <a:gd name="connsiteY76-2098" fmla="*/ 3952021 h 4657121"/>
              <a:gd name="connsiteX77-2099" fmla="*/ 947646 w 4036187"/>
              <a:gd name="connsiteY77-2100" fmla="*/ 3715801 h 4657121"/>
              <a:gd name="connsiteX78-2101" fmla="*/ 437106 w 4036187"/>
              <a:gd name="connsiteY78-2102" fmla="*/ 3342421 h 4657121"/>
              <a:gd name="connsiteX79-2103" fmla="*/ 429486 w 4036187"/>
              <a:gd name="connsiteY79-2104" fmla="*/ 3075721 h 4657121"/>
              <a:gd name="connsiteX80-2105" fmla="*/ 1196417 w 4036187"/>
              <a:gd name="connsiteY80-2106" fmla="*/ 2814399 h 4657121"/>
              <a:gd name="connsiteX81-2107" fmla="*/ 1169074 w 4036187"/>
              <a:gd name="connsiteY81-2108" fmla="*/ 2637795 h 4657121"/>
              <a:gd name="connsiteX82-2109" fmla="*/ 1023846 w 4036187"/>
              <a:gd name="connsiteY82-2110" fmla="*/ 2290861 h 4657121"/>
              <a:gd name="connsiteX83-2111" fmla="*/ 924786 w 4036187"/>
              <a:gd name="connsiteY83-2112" fmla="*/ 2001301 h 4657121"/>
              <a:gd name="connsiteX84-2113" fmla="*/ 798383 w 4036187"/>
              <a:gd name="connsiteY84-2114" fmla="*/ 2064054 h 4657121"/>
              <a:gd name="connsiteX85-2115" fmla="*/ 589506 w 4036187"/>
              <a:gd name="connsiteY85-2116" fmla="*/ 2077501 h 4657121"/>
              <a:gd name="connsiteX86-2117" fmla="*/ 368526 w 4036187"/>
              <a:gd name="connsiteY86-2118" fmla="*/ 2115601 h 4657121"/>
              <a:gd name="connsiteX87-2119" fmla="*/ 208506 w 4036187"/>
              <a:gd name="connsiteY87-2120" fmla="*/ 1841281 h 4657121"/>
              <a:gd name="connsiteX88-2121" fmla="*/ 164691 w 4036187"/>
              <a:gd name="connsiteY88-2122" fmla="*/ 1620301 h 4657121"/>
              <a:gd name="connsiteX89-2123" fmla="*/ 151103 w 4036187"/>
              <a:gd name="connsiteY89-2124" fmla="*/ 1592976 h 4657121"/>
              <a:gd name="connsiteX90-2125" fmla="*/ 151043 w 4036187"/>
              <a:gd name="connsiteY90-2126" fmla="*/ 1592915 h 4657121"/>
              <a:gd name="connsiteX91-2127" fmla="*/ 95320 w 4036187"/>
              <a:gd name="connsiteY91-2128" fmla="*/ 1680262 h 4657121"/>
              <a:gd name="connsiteX92-2129" fmla="*/ 93100 w 4036187"/>
              <a:gd name="connsiteY92-2130" fmla="*/ 1679167 h 4657121"/>
              <a:gd name="connsiteX93-2131" fmla="*/ 26784 w 4036187"/>
              <a:gd name="connsiteY93-2132" fmla="*/ 1697126 h 4657121"/>
              <a:gd name="connsiteX94-2133" fmla="*/ 5823 w 4036187"/>
              <a:gd name="connsiteY94-2134" fmla="*/ 1637185 h 4657121"/>
              <a:gd name="connsiteX95-2135" fmla="*/ 6401 w 4036187"/>
              <a:gd name="connsiteY95-2136" fmla="*/ 1636398 h 4657121"/>
              <a:gd name="connsiteX96-2137" fmla="*/ 5456 w 4036187"/>
              <a:gd name="connsiteY96-2138" fmla="*/ 1635932 h 4657121"/>
              <a:gd name="connsiteX97-2139" fmla="*/ 88087 w 4036187"/>
              <a:gd name="connsiteY97-2140" fmla="*/ 1498257 h 4657121"/>
              <a:gd name="connsiteX98-2141" fmla="*/ 82613 w 4036187"/>
              <a:gd name="connsiteY98-2142" fmla="*/ 1479391 h 4657121"/>
              <a:gd name="connsiteX99-2143" fmla="*/ 78966 w 4036187"/>
              <a:gd name="connsiteY99-2144" fmla="*/ 1460281 h 4657121"/>
              <a:gd name="connsiteX100-2145" fmla="*/ 96745 w 4036187"/>
              <a:gd name="connsiteY100-2146" fmla="*/ 1429801 h 4657121"/>
              <a:gd name="connsiteX101-2147" fmla="*/ 101826 w 4036187"/>
              <a:gd name="connsiteY101-2148" fmla="*/ 1406941 h 4657121"/>
              <a:gd name="connsiteX102-2149" fmla="*/ 122145 w 4036187"/>
              <a:gd name="connsiteY102-2150" fmla="*/ 1389161 h 4657121"/>
              <a:gd name="connsiteX103-2151" fmla="*/ 127226 w 4036187"/>
              <a:gd name="connsiteY103-2152" fmla="*/ 1361221 h 4657121"/>
              <a:gd name="connsiteX104-2153" fmla="*/ 152625 w 4036187"/>
              <a:gd name="connsiteY104-2154" fmla="*/ 1335821 h 4657121"/>
              <a:gd name="connsiteX105-2155" fmla="*/ 157706 w 4036187"/>
              <a:gd name="connsiteY105-2156" fmla="*/ 1310421 h 4657121"/>
              <a:gd name="connsiteX106-2157" fmla="*/ 178025 w 4036187"/>
              <a:gd name="connsiteY106-2158" fmla="*/ 1295181 h 4657121"/>
              <a:gd name="connsiteX107-2159" fmla="*/ 180565 w 4036187"/>
              <a:gd name="connsiteY107-2160" fmla="*/ 1272321 h 4657121"/>
              <a:gd name="connsiteX108-2161" fmla="*/ 197075 w 4036187"/>
              <a:gd name="connsiteY108-2162" fmla="*/ 1258351 h 4657121"/>
              <a:gd name="connsiteX109-2163" fmla="*/ 203426 w 4036187"/>
              <a:gd name="connsiteY109-2164" fmla="*/ 1236761 h 4657121"/>
              <a:gd name="connsiteX110-2165" fmla="*/ 223745 w 4036187"/>
              <a:gd name="connsiteY110-2166" fmla="*/ 1218981 h 4657121"/>
              <a:gd name="connsiteX111-2167" fmla="*/ 221205 w 4036187"/>
              <a:gd name="connsiteY111-2168" fmla="*/ 1196121 h 4657121"/>
              <a:gd name="connsiteX112-2169" fmla="*/ 241525 w 4036187"/>
              <a:gd name="connsiteY112-2170" fmla="*/ 1180881 h 4657121"/>
              <a:gd name="connsiteX113-2171" fmla="*/ 241526 w 4036187"/>
              <a:gd name="connsiteY113-2172" fmla="*/ 1160561 h 4657121"/>
              <a:gd name="connsiteX114-2173" fmla="*/ 264385 w 4036187"/>
              <a:gd name="connsiteY114-2174" fmla="*/ 1142781 h 4657121"/>
              <a:gd name="connsiteX115-2175" fmla="*/ 284706 w 4036187"/>
              <a:gd name="connsiteY115-2176" fmla="*/ 1125001 h 4657121"/>
              <a:gd name="connsiteX116-2177" fmla="*/ 309167 w 4036187"/>
              <a:gd name="connsiteY116-2178" fmla="*/ 1139328 h 4657121"/>
              <a:gd name="connsiteX117-2179" fmla="*/ 369954 w 4036187"/>
              <a:gd name="connsiteY117-2180" fmla="*/ 1042635 h 4657121"/>
              <a:gd name="connsiteX118-2181" fmla="*/ 331087 w 4036187"/>
              <a:gd name="connsiteY118-2182" fmla="*/ 990018 h 4657121"/>
              <a:gd name="connsiteX119-2183" fmla="*/ 416424 w 4036187"/>
              <a:gd name="connsiteY119-2184" fmla="*/ 1003067 h 4657121"/>
              <a:gd name="connsiteX120-2185" fmla="*/ 1126344 w 4036187"/>
              <a:gd name="connsiteY120-2186" fmla="*/ 47041 h 4657121"/>
              <a:gd name="connsiteX121-2187" fmla="*/ 1244295 w 4036187"/>
              <a:gd name="connsiteY121-2188" fmla="*/ 0 h 4657121"/>
              <a:gd name="connsiteX0-2189" fmla="*/ 93291 w 4036187"/>
              <a:gd name="connsiteY0-2190" fmla="*/ 1584790 h 4657121"/>
              <a:gd name="connsiteX1-2191" fmla="*/ 54878 w 4036187"/>
              <a:gd name="connsiteY1-2192" fmla="*/ 1590575 h 4657121"/>
              <a:gd name="connsiteX2-2193" fmla="*/ 68452 w 4036187"/>
              <a:gd name="connsiteY2-2194" fmla="*/ 1624121 h 4657121"/>
              <a:gd name="connsiteX3-2195" fmla="*/ 106864 w 4036187"/>
              <a:gd name="connsiteY3-2196" fmla="*/ 1618336 h 4657121"/>
              <a:gd name="connsiteX4-2197" fmla="*/ 93291 w 4036187"/>
              <a:gd name="connsiteY4-2198" fmla="*/ 1584790 h 4657121"/>
              <a:gd name="connsiteX5-2199" fmla="*/ 103049 w 4036187"/>
              <a:gd name="connsiteY5-2200" fmla="*/ 1536183 h 4657121"/>
              <a:gd name="connsiteX6-2201" fmla="*/ 84080 w 4036187"/>
              <a:gd name="connsiteY6-2202" fmla="*/ 1539040 h 4657121"/>
              <a:gd name="connsiteX7-2203" fmla="*/ 97653 w 4036187"/>
              <a:gd name="connsiteY7-2204" fmla="*/ 1572586 h 4657121"/>
              <a:gd name="connsiteX8-2205" fmla="*/ 124029 w 4036187"/>
              <a:gd name="connsiteY8-2206" fmla="*/ 1568613 h 4657121"/>
              <a:gd name="connsiteX9-2207" fmla="*/ 121784 w 4036187"/>
              <a:gd name="connsiteY9-2208" fmla="*/ 1566902 h 4657121"/>
              <a:gd name="connsiteX10-2209" fmla="*/ 109446 w 4036187"/>
              <a:gd name="connsiteY10-2210" fmla="*/ 1551721 h 4657121"/>
              <a:gd name="connsiteX11-2211" fmla="*/ 103049 w 4036187"/>
              <a:gd name="connsiteY11-2212" fmla="*/ 1536183 h 4657121"/>
              <a:gd name="connsiteX12-2213" fmla="*/ 330425 w 4036187"/>
              <a:gd name="connsiteY12-2214" fmla="*/ 1414561 h 4657121"/>
              <a:gd name="connsiteX13-2215" fmla="*/ 303755 w 4036187"/>
              <a:gd name="connsiteY13-2216" fmla="*/ 1509811 h 4657121"/>
              <a:gd name="connsiteX14-2217" fmla="*/ 467585 w 4036187"/>
              <a:gd name="connsiteY14-2218" fmla="*/ 1848901 h 4657121"/>
              <a:gd name="connsiteX15-2219" fmla="*/ 629398 w 4036187"/>
              <a:gd name="connsiteY15-2220" fmla="*/ 1781666 h 4657121"/>
              <a:gd name="connsiteX16-2221" fmla="*/ 795245 w 4036187"/>
              <a:gd name="connsiteY16-2222" fmla="*/ 1757461 h 4657121"/>
              <a:gd name="connsiteX17-2223" fmla="*/ 886685 w 4036187"/>
              <a:gd name="connsiteY17-2224" fmla="*/ 1666021 h 4657121"/>
              <a:gd name="connsiteX18-2225" fmla="*/ 612365 w 4036187"/>
              <a:gd name="connsiteY18-2226" fmla="*/ 1589821 h 4657121"/>
              <a:gd name="connsiteX19-2227" fmla="*/ 429485 w 4036187"/>
              <a:gd name="connsiteY19-2228" fmla="*/ 1471711 h 4657121"/>
              <a:gd name="connsiteX20-2229" fmla="*/ 330425 w 4036187"/>
              <a:gd name="connsiteY20-2230" fmla="*/ 1414561 h 4657121"/>
              <a:gd name="connsiteX21-2231" fmla="*/ 377386 w 4036187"/>
              <a:gd name="connsiteY21-2232" fmla="*/ 1136442 h 4657121"/>
              <a:gd name="connsiteX22-2233" fmla="*/ 338974 w 4036187"/>
              <a:gd name="connsiteY22-2234" fmla="*/ 1142228 h 4657121"/>
              <a:gd name="connsiteX23-2235" fmla="*/ 348453 w 4036187"/>
              <a:gd name="connsiteY23-2236" fmla="*/ 1165655 h 4657121"/>
              <a:gd name="connsiteX24-2237" fmla="*/ 360621 w 4036187"/>
              <a:gd name="connsiteY24-2238" fmla="*/ 1174557 h 4657121"/>
              <a:gd name="connsiteX25-2239" fmla="*/ 390959 w 4036187"/>
              <a:gd name="connsiteY25-2240" fmla="*/ 1169988 h 4657121"/>
              <a:gd name="connsiteX26-2241" fmla="*/ 377386 w 4036187"/>
              <a:gd name="connsiteY26-2242" fmla="*/ 1136442 h 4657121"/>
              <a:gd name="connsiteX27-2243" fmla="*/ 1160386 w 4036187"/>
              <a:gd name="connsiteY27-2244" fmla="*/ 41755 h 4657121"/>
              <a:gd name="connsiteX28-2245" fmla="*/ 1127909 w 4036187"/>
              <a:gd name="connsiteY28-2246" fmla="*/ 54182 h 4657121"/>
              <a:gd name="connsiteX29-2247" fmla="*/ 452868 w 4036187"/>
              <a:gd name="connsiteY29-2248" fmla="*/ 957816 h 4657121"/>
              <a:gd name="connsiteX30-2249" fmla="*/ 478765 w 4036187"/>
              <a:gd name="connsiteY30-2250" fmla="*/ 974831 h 4657121"/>
              <a:gd name="connsiteX31-2251" fmla="*/ 1160386 w 4036187"/>
              <a:gd name="connsiteY31-2252" fmla="*/ 41755 h 4657121"/>
              <a:gd name="connsiteX32-2253" fmla="*/ 1244295 w 4036187"/>
              <a:gd name="connsiteY32-2254" fmla="*/ 0 h 4657121"/>
              <a:gd name="connsiteX33-2255" fmla="*/ 492571 w 4036187"/>
              <a:gd name="connsiteY33-2256" fmla="*/ 1045306 h 4657121"/>
              <a:gd name="connsiteX34-2257" fmla="*/ 542034 w 4036187"/>
              <a:gd name="connsiteY34-2258" fmla="*/ 1105827 h 4657121"/>
              <a:gd name="connsiteX35-2259" fmla="*/ 474644 w 4036187"/>
              <a:gd name="connsiteY35-2260" fmla="*/ 1099925 h 4657121"/>
              <a:gd name="connsiteX36-2261" fmla="*/ 402847 w 4036187"/>
              <a:gd name="connsiteY36-2262" fmla="*/ 1207107 h 4657121"/>
              <a:gd name="connsiteX37-2263" fmla="*/ 414246 w 4036187"/>
              <a:gd name="connsiteY37-2264" fmla="*/ 1216441 h 4657121"/>
              <a:gd name="connsiteX38-2265" fmla="*/ 479016 w 4036187"/>
              <a:gd name="connsiteY38-2266" fmla="*/ 1300261 h 4657121"/>
              <a:gd name="connsiteX39-2267" fmla="*/ 780006 w 4036187"/>
              <a:gd name="connsiteY39-2268" fmla="*/ 1399321 h 4657121"/>
              <a:gd name="connsiteX40-2269" fmla="*/ 863826 w 4036187"/>
              <a:gd name="connsiteY40-2270" fmla="*/ 1418371 h 4657121"/>
              <a:gd name="connsiteX41-2271" fmla="*/ 806676 w 4036187"/>
              <a:gd name="connsiteY41-2272" fmla="*/ 1254541 h 4657121"/>
              <a:gd name="connsiteX42-2273" fmla="*/ 793453 w 4036187"/>
              <a:gd name="connsiteY42-2274" fmla="*/ 1072782 h 4657121"/>
              <a:gd name="connsiteX43-2275" fmla="*/ 938682 w 4036187"/>
              <a:gd name="connsiteY43-2276" fmla="*/ 925088 h 4657121"/>
              <a:gd name="connsiteX44-2277" fmla="*/ 995065 w 4036187"/>
              <a:gd name="connsiteY44-2278" fmla="*/ 919520 h 4657121"/>
              <a:gd name="connsiteX45-2279" fmla="*/ 1138146 w 4036187"/>
              <a:gd name="connsiteY45-2280" fmla="*/ 972153 h 4657121"/>
              <a:gd name="connsiteX46-2281" fmla="*/ 1210536 w 4036187"/>
              <a:gd name="connsiteY46-2282" fmla="*/ 1121191 h 4657121"/>
              <a:gd name="connsiteX47-2283" fmla="*/ 1230931 w 4036187"/>
              <a:gd name="connsiteY47-2284" fmla="*/ 1323121 h 4657121"/>
              <a:gd name="connsiteX48-2285" fmla="*/ 1244826 w 4036187"/>
              <a:gd name="connsiteY48-2286" fmla="*/ 1475521 h 4657121"/>
              <a:gd name="connsiteX49-2287" fmla="*/ 1421879 w 4036187"/>
              <a:gd name="connsiteY49-2288" fmla="*/ 1551721 h 4657121"/>
              <a:gd name="connsiteX50-2289" fmla="*/ 1488666 w 4036187"/>
              <a:gd name="connsiteY50-2290" fmla="*/ 1765081 h 4657121"/>
              <a:gd name="connsiteX51-2291" fmla="*/ 1549626 w 4036187"/>
              <a:gd name="connsiteY51-2292" fmla="*/ 1917481 h 4657121"/>
              <a:gd name="connsiteX52-2293" fmla="*/ 1708709 w 4036187"/>
              <a:gd name="connsiteY52-2294" fmla="*/ 2635421 h 4657121"/>
              <a:gd name="connsiteX53-2295" fmla="*/ 1929683 w 4036187"/>
              <a:gd name="connsiteY53-2296" fmla="*/ 2824529 h 4657121"/>
              <a:gd name="connsiteX54-2297" fmla="*/ 2077616 w 4036187"/>
              <a:gd name="connsiteY54-2298" fmla="*/ 2954136 h 4657121"/>
              <a:gd name="connsiteX55-2299" fmla="*/ 2484197 w 4036187"/>
              <a:gd name="connsiteY55-2300" fmla="*/ 3330319 h 4657121"/>
              <a:gd name="connsiteX56-2301" fmla="*/ 3122932 w 4036187"/>
              <a:gd name="connsiteY56-2302" fmla="*/ 3655289 h 4657121"/>
              <a:gd name="connsiteX57-2303" fmla="*/ 3561306 w 4036187"/>
              <a:gd name="connsiteY57-2304" fmla="*/ 4020601 h 4657121"/>
              <a:gd name="connsiteX58-2305" fmla="*/ 3995646 w 4036187"/>
              <a:gd name="connsiteY58-2306" fmla="*/ 4371121 h 4657121"/>
              <a:gd name="connsiteX59-2307" fmla="*/ 3988026 w 4036187"/>
              <a:gd name="connsiteY59-2308" fmla="*/ 4653061 h 4657121"/>
              <a:gd name="connsiteX60-2309" fmla="*/ 3896586 w 4036187"/>
              <a:gd name="connsiteY60-2310" fmla="*/ 4614961 h 4657121"/>
              <a:gd name="connsiteX61-2311" fmla="*/ 3690846 w 4036187"/>
              <a:gd name="connsiteY61-2312" fmla="*/ 4393981 h 4657121"/>
              <a:gd name="connsiteX62-2313" fmla="*/ 3496760 w 4036187"/>
              <a:gd name="connsiteY62-2314" fmla="*/ 4247856 h 4657121"/>
              <a:gd name="connsiteX63-2315" fmla="*/ 3422801 w 4036187"/>
              <a:gd name="connsiteY63-2316" fmla="*/ 4165381 h 4657121"/>
              <a:gd name="connsiteX64-2317" fmla="*/ 3201373 w 4036187"/>
              <a:gd name="connsiteY64-2318" fmla="*/ 4031806 h 4657121"/>
              <a:gd name="connsiteX65-2319" fmla="*/ 2490920 w 4036187"/>
              <a:gd name="connsiteY65-2320" fmla="*/ 3691148 h 4657121"/>
              <a:gd name="connsiteX66-2321" fmla="*/ 2333141 w 4036187"/>
              <a:gd name="connsiteY66-2322" fmla="*/ 3652151 h 4657121"/>
              <a:gd name="connsiteX67-2323" fmla="*/ 2006826 w 4036187"/>
              <a:gd name="connsiteY67-2324" fmla="*/ 3487201 h 4657121"/>
              <a:gd name="connsiteX68-2325" fmla="*/ 1580106 w 4036187"/>
              <a:gd name="connsiteY68-2326" fmla="*/ 3311941 h 4657121"/>
              <a:gd name="connsiteX69-2327" fmla="*/ 1011366 w 4036187"/>
              <a:gd name="connsiteY69-2328" fmla="*/ 3356336 h 4657121"/>
              <a:gd name="connsiteX70-2329" fmla="*/ 1161935 w 4036187"/>
              <a:gd name="connsiteY70-2330" fmla="*/ 3484045 h 4657121"/>
              <a:gd name="connsiteX71-2331" fmla="*/ 1296398 w 4036187"/>
              <a:gd name="connsiteY71-2332" fmla="*/ 3668256 h 4657121"/>
              <a:gd name="connsiteX72-2333" fmla="*/ 1425496 w 4036187"/>
              <a:gd name="connsiteY72-2334" fmla="*/ 3716685 h 4657121"/>
              <a:gd name="connsiteX73-2335" fmla="*/ 1459531 w 4036187"/>
              <a:gd name="connsiteY73-2336" fmla="*/ 3884337 h 4657121"/>
              <a:gd name="connsiteX74-2337" fmla="*/ 1530352 w 4036187"/>
              <a:gd name="connsiteY74-2338" fmla="*/ 4226340 h 4657121"/>
              <a:gd name="connsiteX75-2339" fmla="*/ 1481046 w 4036187"/>
              <a:gd name="connsiteY75-2340" fmla="*/ 4302541 h 4657121"/>
              <a:gd name="connsiteX76-2341" fmla="*/ 1214346 w 4036187"/>
              <a:gd name="connsiteY76-2342" fmla="*/ 3952021 h 4657121"/>
              <a:gd name="connsiteX77-2343" fmla="*/ 947646 w 4036187"/>
              <a:gd name="connsiteY77-2344" fmla="*/ 3715801 h 4657121"/>
              <a:gd name="connsiteX78-2345" fmla="*/ 437106 w 4036187"/>
              <a:gd name="connsiteY78-2346" fmla="*/ 3342421 h 4657121"/>
              <a:gd name="connsiteX79-2347" fmla="*/ 429486 w 4036187"/>
              <a:gd name="connsiteY79-2348" fmla="*/ 3075721 h 4657121"/>
              <a:gd name="connsiteX80-2349" fmla="*/ 1196417 w 4036187"/>
              <a:gd name="connsiteY80-2350" fmla="*/ 2814399 h 4657121"/>
              <a:gd name="connsiteX81-2351" fmla="*/ 1169074 w 4036187"/>
              <a:gd name="connsiteY81-2352" fmla="*/ 2637795 h 4657121"/>
              <a:gd name="connsiteX82-2353" fmla="*/ 1023846 w 4036187"/>
              <a:gd name="connsiteY82-2354" fmla="*/ 2290861 h 4657121"/>
              <a:gd name="connsiteX83-2355" fmla="*/ 924786 w 4036187"/>
              <a:gd name="connsiteY83-2356" fmla="*/ 2001301 h 4657121"/>
              <a:gd name="connsiteX84-2357" fmla="*/ 798383 w 4036187"/>
              <a:gd name="connsiteY84-2358" fmla="*/ 2064054 h 4657121"/>
              <a:gd name="connsiteX85-2359" fmla="*/ 589506 w 4036187"/>
              <a:gd name="connsiteY85-2360" fmla="*/ 2077501 h 4657121"/>
              <a:gd name="connsiteX86-2361" fmla="*/ 368526 w 4036187"/>
              <a:gd name="connsiteY86-2362" fmla="*/ 2115601 h 4657121"/>
              <a:gd name="connsiteX87-2363" fmla="*/ 208506 w 4036187"/>
              <a:gd name="connsiteY87-2364" fmla="*/ 1841281 h 4657121"/>
              <a:gd name="connsiteX88-2365" fmla="*/ 164691 w 4036187"/>
              <a:gd name="connsiteY88-2366" fmla="*/ 1620301 h 4657121"/>
              <a:gd name="connsiteX89-2367" fmla="*/ 151103 w 4036187"/>
              <a:gd name="connsiteY89-2368" fmla="*/ 1592976 h 4657121"/>
              <a:gd name="connsiteX90-2369" fmla="*/ 151043 w 4036187"/>
              <a:gd name="connsiteY90-2370" fmla="*/ 1592915 h 4657121"/>
              <a:gd name="connsiteX91-2371" fmla="*/ 95320 w 4036187"/>
              <a:gd name="connsiteY91-2372" fmla="*/ 1680262 h 4657121"/>
              <a:gd name="connsiteX92-2373" fmla="*/ 93100 w 4036187"/>
              <a:gd name="connsiteY92-2374" fmla="*/ 1679167 h 4657121"/>
              <a:gd name="connsiteX93-2375" fmla="*/ 26784 w 4036187"/>
              <a:gd name="connsiteY93-2376" fmla="*/ 1697126 h 4657121"/>
              <a:gd name="connsiteX94-2377" fmla="*/ 5823 w 4036187"/>
              <a:gd name="connsiteY94-2378" fmla="*/ 1637185 h 4657121"/>
              <a:gd name="connsiteX95-2379" fmla="*/ 6401 w 4036187"/>
              <a:gd name="connsiteY95-2380" fmla="*/ 1636398 h 4657121"/>
              <a:gd name="connsiteX96-2381" fmla="*/ 5456 w 4036187"/>
              <a:gd name="connsiteY96-2382" fmla="*/ 1635932 h 4657121"/>
              <a:gd name="connsiteX97-2383" fmla="*/ 88087 w 4036187"/>
              <a:gd name="connsiteY97-2384" fmla="*/ 1498257 h 4657121"/>
              <a:gd name="connsiteX98-2385" fmla="*/ 82613 w 4036187"/>
              <a:gd name="connsiteY98-2386" fmla="*/ 1479391 h 4657121"/>
              <a:gd name="connsiteX99-2387" fmla="*/ 78966 w 4036187"/>
              <a:gd name="connsiteY99-2388" fmla="*/ 1460281 h 4657121"/>
              <a:gd name="connsiteX100-2389" fmla="*/ 96745 w 4036187"/>
              <a:gd name="connsiteY100-2390" fmla="*/ 1429801 h 4657121"/>
              <a:gd name="connsiteX101-2391" fmla="*/ 101826 w 4036187"/>
              <a:gd name="connsiteY101-2392" fmla="*/ 1406941 h 4657121"/>
              <a:gd name="connsiteX102-2393" fmla="*/ 122145 w 4036187"/>
              <a:gd name="connsiteY102-2394" fmla="*/ 1389161 h 4657121"/>
              <a:gd name="connsiteX103-2395" fmla="*/ 127226 w 4036187"/>
              <a:gd name="connsiteY103-2396" fmla="*/ 1361221 h 4657121"/>
              <a:gd name="connsiteX104-2397" fmla="*/ 152625 w 4036187"/>
              <a:gd name="connsiteY104-2398" fmla="*/ 1335821 h 4657121"/>
              <a:gd name="connsiteX105-2399" fmla="*/ 157706 w 4036187"/>
              <a:gd name="connsiteY105-2400" fmla="*/ 1310421 h 4657121"/>
              <a:gd name="connsiteX106-2401" fmla="*/ 178025 w 4036187"/>
              <a:gd name="connsiteY106-2402" fmla="*/ 1295181 h 4657121"/>
              <a:gd name="connsiteX107-2403" fmla="*/ 180565 w 4036187"/>
              <a:gd name="connsiteY107-2404" fmla="*/ 1272321 h 4657121"/>
              <a:gd name="connsiteX108-2405" fmla="*/ 197075 w 4036187"/>
              <a:gd name="connsiteY108-2406" fmla="*/ 1258351 h 4657121"/>
              <a:gd name="connsiteX109-2407" fmla="*/ 203426 w 4036187"/>
              <a:gd name="connsiteY109-2408" fmla="*/ 1236761 h 4657121"/>
              <a:gd name="connsiteX110-2409" fmla="*/ 223745 w 4036187"/>
              <a:gd name="connsiteY110-2410" fmla="*/ 1218981 h 4657121"/>
              <a:gd name="connsiteX111-2411" fmla="*/ 221205 w 4036187"/>
              <a:gd name="connsiteY111-2412" fmla="*/ 1196121 h 4657121"/>
              <a:gd name="connsiteX112-2413" fmla="*/ 241525 w 4036187"/>
              <a:gd name="connsiteY112-2414" fmla="*/ 1180881 h 4657121"/>
              <a:gd name="connsiteX113-2415" fmla="*/ 241526 w 4036187"/>
              <a:gd name="connsiteY113-2416" fmla="*/ 1160561 h 4657121"/>
              <a:gd name="connsiteX114-2417" fmla="*/ 264385 w 4036187"/>
              <a:gd name="connsiteY114-2418" fmla="*/ 1142781 h 4657121"/>
              <a:gd name="connsiteX115-2419" fmla="*/ 284706 w 4036187"/>
              <a:gd name="connsiteY115-2420" fmla="*/ 1125001 h 4657121"/>
              <a:gd name="connsiteX116-2421" fmla="*/ 309167 w 4036187"/>
              <a:gd name="connsiteY116-2422" fmla="*/ 1139328 h 4657121"/>
              <a:gd name="connsiteX117-2423" fmla="*/ 369954 w 4036187"/>
              <a:gd name="connsiteY117-2424" fmla="*/ 1042635 h 4657121"/>
              <a:gd name="connsiteX118-2425" fmla="*/ 331087 w 4036187"/>
              <a:gd name="connsiteY118-2426" fmla="*/ 990018 h 4657121"/>
              <a:gd name="connsiteX119-2427" fmla="*/ 416424 w 4036187"/>
              <a:gd name="connsiteY119-2428" fmla="*/ 1003067 h 4657121"/>
              <a:gd name="connsiteX120-2429" fmla="*/ 1126344 w 4036187"/>
              <a:gd name="connsiteY120-2430" fmla="*/ 47041 h 4657121"/>
              <a:gd name="connsiteX121-2431" fmla="*/ 1244295 w 4036187"/>
              <a:gd name="connsiteY121-2432" fmla="*/ 0 h 4657121"/>
              <a:gd name="connsiteX0-2433" fmla="*/ 93291 w 4036187"/>
              <a:gd name="connsiteY0-2434" fmla="*/ 1584790 h 4657121"/>
              <a:gd name="connsiteX1-2435" fmla="*/ 54878 w 4036187"/>
              <a:gd name="connsiteY1-2436" fmla="*/ 1590575 h 4657121"/>
              <a:gd name="connsiteX2-2437" fmla="*/ 68452 w 4036187"/>
              <a:gd name="connsiteY2-2438" fmla="*/ 1624121 h 4657121"/>
              <a:gd name="connsiteX3-2439" fmla="*/ 106864 w 4036187"/>
              <a:gd name="connsiteY3-2440" fmla="*/ 1618336 h 4657121"/>
              <a:gd name="connsiteX4-2441" fmla="*/ 93291 w 4036187"/>
              <a:gd name="connsiteY4-2442" fmla="*/ 1584790 h 4657121"/>
              <a:gd name="connsiteX5-2443" fmla="*/ 103049 w 4036187"/>
              <a:gd name="connsiteY5-2444" fmla="*/ 1536183 h 4657121"/>
              <a:gd name="connsiteX6-2445" fmla="*/ 84080 w 4036187"/>
              <a:gd name="connsiteY6-2446" fmla="*/ 1539040 h 4657121"/>
              <a:gd name="connsiteX7-2447" fmla="*/ 97653 w 4036187"/>
              <a:gd name="connsiteY7-2448" fmla="*/ 1572586 h 4657121"/>
              <a:gd name="connsiteX8-2449" fmla="*/ 124029 w 4036187"/>
              <a:gd name="connsiteY8-2450" fmla="*/ 1568613 h 4657121"/>
              <a:gd name="connsiteX9-2451" fmla="*/ 121784 w 4036187"/>
              <a:gd name="connsiteY9-2452" fmla="*/ 1566902 h 4657121"/>
              <a:gd name="connsiteX10-2453" fmla="*/ 109446 w 4036187"/>
              <a:gd name="connsiteY10-2454" fmla="*/ 1551721 h 4657121"/>
              <a:gd name="connsiteX11-2455" fmla="*/ 103049 w 4036187"/>
              <a:gd name="connsiteY11-2456" fmla="*/ 1536183 h 4657121"/>
              <a:gd name="connsiteX12-2457" fmla="*/ 330425 w 4036187"/>
              <a:gd name="connsiteY12-2458" fmla="*/ 1414561 h 4657121"/>
              <a:gd name="connsiteX13-2459" fmla="*/ 303755 w 4036187"/>
              <a:gd name="connsiteY13-2460" fmla="*/ 1509811 h 4657121"/>
              <a:gd name="connsiteX14-2461" fmla="*/ 467585 w 4036187"/>
              <a:gd name="connsiteY14-2462" fmla="*/ 1848901 h 4657121"/>
              <a:gd name="connsiteX15-2463" fmla="*/ 629398 w 4036187"/>
              <a:gd name="connsiteY15-2464" fmla="*/ 1781666 h 4657121"/>
              <a:gd name="connsiteX16-2465" fmla="*/ 795245 w 4036187"/>
              <a:gd name="connsiteY16-2466" fmla="*/ 1757461 h 4657121"/>
              <a:gd name="connsiteX17-2467" fmla="*/ 886685 w 4036187"/>
              <a:gd name="connsiteY17-2468" fmla="*/ 1666021 h 4657121"/>
              <a:gd name="connsiteX18-2469" fmla="*/ 612365 w 4036187"/>
              <a:gd name="connsiteY18-2470" fmla="*/ 1589821 h 4657121"/>
              <a:gd name="connsiteX19-2471" fmla="*/ 429485 w 4036187"/>
              <a:gd name="connsiteY19-2472" fmla="*/ 1471711 h 4657121"/>
              <a:gd name="connsiteX20-2473" fmla="*/ 330425 w 4036187"/>
              <a:gd name="connsiteY20-2474" fmla="*/ 1414561 h 4657121"/>
              <a:gd name="connsiteX21-2475" fmla="*/ 377386 w 4036187"/>
              <a:gd name="connsiteY21-2476" fmla="*/ 1136442 h 4657121"/>
              <a:gd name="connsiteX22-2477" fmla="*/ 338974 w 4036187"/>
              <a:gd name="connsiteY22-2478" fmla="*/ 1142228 h 4657121"/>
              <a:gd name="connsiteX23-2479" fmla="*/ 348453 w 4036187"/>
              <a:gd name="connsiteY23-2480" fmla="*/ 1165655 h 4657121"/>
              <a:gd name="connsiteX24-2481" fmla="*/ 360621 w 4036187"/>
              <a:gd name="connsiteY24-2482" fmla="*/ 1174557 h 4657121"/>
              <a:gd name="connsiteX25-2483" fmla="*/ 390959 w 4036187"/>
              <a:gd name="connsiteY25-2484" fmla="*/ 1169988 h 4657121"/>
              <a:gd name="connsiteX26-2485" fmla="*/ 377386 w 4036187"/>
              <a:gd name="connsiteY26-2486" fmla="*/ 1136442 h 4657121"/>
              <a:gd name="connsiteX27-2487" fmla="*/ 1160386 w 4036187"/>
              <a:gd name="connsiteY27-2488" fmla="*/ 41755 h 4657121"/>
              <a:gd name="connsiteX28-2489" fmla="*/ 1127909 w 4036187"/>
              <a:gd name="connsiteY28-2490" fmla="*/ 54182 h 4657121"/>
              <a:gd name="connsiteX29-2491" fmla="*/ 452868 w 4036187"/>
              <a:gd name="connsiteY29-2492" fmla="*/ 957816 h 4657121"/>
              <a:gd name="connsiteX30-2493" fmla="*/ 478765 w 4036187"/>
              <a:gd name="connsiteY30-2494" fmla="*/ 974831 h 4657121"/>
              <a:gd name="connsiteX31-2495" fmla="*/ 1160386 w 4036187"/>
              <a:gd name="connsiteY31-2496" fmla="*/ 41755 h 4657121"/>
              <a:gd name="connsiteX32-2497" fmla="*/ 1244295 w 4036187"/>
              <a:gd name="connsiteY32-2498" fmla="*/ 0 h 4657121"/>
              <a:gd name="connsiteX33-2499" fmla="*/ 492571 w 4036187"/>
              <a:gd name="connsiteY33-2500" fmla="*/ 1045306 h 4657121"/>
              <a:gd name="connsiteX34-2501" fmla="*/ 542034 w 4036187"/>
              <a:gd name="connsiteY34-2502" fmla="*/ 1105827 h 4657121"/>
              <a:gd name="connsiteX35-2503" fmla="*/ 474644 w 4036187"/>
              <a:gd name="connsiteY35-2504" fmla="*/ 1099925 h 4657121"/>
              <a:gd name="connsiteX36-2505" fmla="*/ 402847 w 4036187"/>
              <a:gd name="connsiteY36-2506" fmla="*/ 1207107 h 4657121"/>
              <a:gd name="connsiteX37-2507" fmla="*/ 414246 w 4036187"/>
              <a:gd name="connsiteY37-2508" fmla="*/ 1216441 h 4657121"/>
              <a:gd name="connsiteX38-2509" fmla="*/ 479016 w 4036187"/>
              <a:gd name="connsiteY38-2510" fmla="*/ 1300261 h 4657121"/>
              <a:gd name="connsiteX39-2511" fmla="*/ 780006 w 4036187"/>
              <a:gd name="connsiteY39-2512" fmla="*/ 1399321 h 4657121"/>
              <a:gd name="connsiteX40-2513" fmla="*/ 863826 w 4036187"/>
              <a:gd name="connsiteY40-2514" fmla="*/ 1418371 h 4657121"/>
              <a:gd name="connsiteX41-2515" fmla="*/ 806676 w 4036187"/>
              <a:gd name="connsiteY41-2516" fmla="*/ 1254541 h 4657121"/>
              <a:gd name="connsiteX42-2517" fmla="*/ 793453 w 4036187"/>
              <a:gd name="connsiteY42-2518" fmla="*/ 1072782 h 4657121"/>
              <a:gd name="connsiteX43-2519" fmla="*/ 938682 w 4036187"/>
              <a:gd name="connsiteY43-2520" fmla="*/ 925088 h 4657121"/>
              <a:gd name="connsiteX44-2521" fmla="*/ 995065 w 4036187"/>
              <a:gd name="connsiteY44-2522" fmla="*/ 919520 h 4657121"/>
              <a:gd name="connsiteX45-2523" fmla="*/ 1138146 w 4036187"/>
              <a:gd name="connsiteY45-2524" fmla="*/ 972153 h 4657121"/>
              <a:gd name="connsiteX46-2525" fmla="*/ 1210536 w 4036187"/>
              <a:gd name="connsiteY46-2526" fmla="*/ 1121191 h 4657121"/>
              <a:gd name="connsiteX47-2527" fmla="*/ 1230931 w 4036187"/>
              <a:gd name="connsiteY47-2528" fmla="*/ 1323121 h 4657121"/>
              <a:gd name="connsiteX48-2529" fmla="*/ 1244826 w 4036187"/>
              <a:gd name="connsiteY48-2530" fmla="*/ 1475521 h 4657121"/>
              <a:gd name="connsiteX49-2531" fmla="*/ 1421879 w 4036187"/>
              <a:gd name="connsiteY49-2532" fmla="*/ 1551721 h 4657121"/>
              <a:gd name="connsiteX50-2533" fmla="*/ 1488666 w 4036187"/>
              <a:gd name="connsiteY50-2534" fmla="*/ 1765081 h 4657121"/>
              <a:gd name="connsiteX51-2535" fmla="*/ 1549626 w 4036187"/>
              <a:gd name="connsiteY51-2536" fmla="*/ 1917481 h 4657121"/>
              <a:gd name="connsiteX52-2537" fmla="*/ 1708709 w 4036187"/>
              <a:gd name="connsiteY52-2538" fmla="*/ 2635421 h 4657121"/>
              <a:gd name="connsiteX53-2539" fmla="*/ 1929683 w 4036187"/>
              <a:gd name="connsiteY53-2540" fmla="*/ 2824529 h 4657121"/>
              <a:gd name="connsiteX54-2541" fmla="*/ 2077616 w 4036187"/>
              <a:gd name="connsiteY54-2542" fmla="*/ 2954136 h 4657121"/>
              <a:gd name="connsiteX55-2543" fmla="*/ 2484197 w 4036187"/>
              <a:gd name="connsiteY55-2544" fmla="*/ 3330319 h 4657121"/>
              <a:gd name="connsiteX56-2545" fmla="*/ 3122932 w 4036187"/>
              <a:gd name="connsiteY56-2546" fmla="*/ 3655289 h 4657121"/>
              <a:gd name="connsiteX57-2547" fmla="*/ 3561306 w 4036187"/>
              <a:gd name="connsiteY57-2548" fmla="*/ 4020601 h 4657121"/>
              <a:gd name="connsiteX58-2549" fmla="*/ 3995646 w 4036187"/>
              <a:gd name="connsiteY58-2550" fmla="*/ 4371121 h 4657121"/>
              <a:gd name="connsiteX59-2551" fmla="*/ 3988026 w 4036187"/>
              <a:gd name="connsiteY59-2552" fmla="*/ 4653061 h 4657121"/>
              <a:gd name="connsiteX60-2553" fmla="*/ 3896586 w 4036187"/>
              <a:gd name="connsiteY60-2554" fmla="*/ 4614961 h 4657121"/>
              <a:gd name="connsiteX61-2555" fmla="*/ 3690846 w 4036187"/>
              <a:gd name="connsiteY61-2556" fmla="*/ 4393981 h 4657121"/>
              <a:gd name="connsiteX62-2557" fmla="*/ 3496760 w 4036187"/>
              <a:gd name="connsiteY62-2558" fmla="*/ 4247856 h 4657121"/>
              <a:gd name="connsiteX63-2559" fmla="*/ 3422801 w 4036187"/>
              <a:gd name="connsiteY63-2560" fmla="*/ 4165381 h 4657121"/>
              <a:gd name="connsiteX64-2561" fmla="*/ 3201373 w 4036187"/>
              <a:gd name="connsiteY64-2562" fmla="*/ 4031806 h 4657121"/>
              <a:gd name="connsiteX65-2563" fmla="*/ 2490920 w 4036187"/>
              <a:gd name="connsiteY65-2564" fmla="*/ 3691148 h 4657121"/>
              <a:gd name="connsiteX66-2565" fmla="*/ 2333141 w 4036187"/>
              <a:gd name="connsiteY66-2566" fmla="*/ 3652151 h 4657121"/>
              <a:gd name="connsiteX67-2567" fmla="*/ 2006826 w 4036187"/>
              <a:gd name="connsiteY67-2568" fmla="*/ 3487201 h 4657121"/>
              <a:gd name="connsiteX68-2569" fmla="*/ 1580106 w 4036187"/>
              <a:gd name="connsiteY68-2570" fmla="*/ 3311941 h 4657121"/>
              <a:gd name="connsiteX69-2571" fmla="*/ 1011366 w 4036187"/>
              <a:gd name="connsiteY69-2572" fmla="*/ 3356336 h 4657121"/>
              <a:gd name="connsiteX70-2573" fmla="*/ 1161935 w 4036187"/>
              <a:gd name="connsiteY70-2574" fmla="*/ 3484045 h 4657121"/>
              <a:gd name="connsiteX71-2575" fmla="*/ 1296398 w 4036187"/>
              <a:gd name="connsiteY71-2576" fmla="*/ 3668256 h 4657121"/>
              <a:gd name="connsiteX72-2577" fmla="*/ 1425496 w 4036187"/>
              <a:gd name="connsiteY72-2578" fmla="*/ 3716685 h 4657121"/>
              <a:gd name="connsiteX73-2579" fmla="*/ 1459531 w 4036187"/>
              <a:gd name="connsiteY73-2580" fmla="*/ 3884337 h 4657121"/>
              <a:gd name="connsiteX74-2581" fmla="*/ 1530352 w 4036187"/>
              <a:gd name="connsiteY74-2582" fmla="*/ 4226340 h 4657121"/>
              <a:gd name="connsiteX75-2583" fmla="*/ 1481046 w 4036187"/>
              <a:gd name="connsiteY75-2584" fmla="*/ 4302541 h 4657121"/>
              <a:gd name="connsiteX76-2585" fmla="*/ 1214346 w 4036187"/>
              <a:gd name="connsiteY76-2586" fmla="*/ 3952021 h 4657121"/>
              <a:gd name="connsiteX77-2587" fmla="*/ 947646 w 4036187"/>
              <a:gd name="connsiteY77-2588" fmla="*/ 3715801 h 4657121"/>
              <a:gd name="connsiteX78-2589" fmla="*/ 437106 w 4036187"/>
              <a:gd name="connsiteY78-2590" fmla="*/ 3342421 h 4657121"/>
              <a:gd name="connsiteX79-2591" fmla="*/ 429486 w 4036187"/>
              <a:gd name="connsiteY79-2592" fmla="*/ 3075721 h 4657121"/>
              <a:gd name="connsiteX80-2593" fmla="*/ 1196417 w 4036187"/>
              <a:gd name="connsiteY80-2594" fmla="*/ 2814399 h 4657121"/>
              <a:gd name="connsiteX81-2595" fmla="*/ 1169074 w 4036187"/>
              <a:gd name="connsiteY81-2596" fmla="*/ 2637795 h 4657121"/>
              <a:gd name="connsiteX82-2597" fmla="*/ 1023846 w 4036187"/>
              <a:gd name="connsiteY82-2598" fmla="*/ 2290861 h 4657121"/>
              <a:gd name="connsiteX83-2599" fmla="*/ 924786 w 4036187"/>
              <a:gd name="connsiteY83-2600" fmla="*/ 2001301 h 4657121"/>
              <a:gd name="connsiteX84-2601" fmla="*/ 798383 w 4036187"/>
              <a:gd name="connsiteY84-2602" fmla="*/ 2064054 h 4657121"/>
              <a:gd name="connsiteX85-2603" fmla="*/ 589506 w 4036187"/>
              <a:gd name="connsiteY85-2604" fmla="*/ 2077501 h 4657121"/>
              <a:gd name="connsiteX86-2605" fmla="*/ 368526 w 4036187"/>
              <a:gd name="connsiteY86-2606" fmla="*/ 2115601 h 4657121"/>
              <a:gd name="connsiteX87-2607" fmla="*/ 208506 w 4036187"/>
              <a:gd name="connsiteY87-2608" fmla="*/ 1841281 h 4657121"/>
              <a:gd name="connsiteX88-2609" fmla="*/ 164691 w 4036187"/>
              <a:gd name="connsiteY88-2610" fmla="*/ 1620301 h 4657121"/>
              <a:gd name="connsiteX89-2611" fmla="*/ 151103 w 4036187"/>
              <a:gd name="connsiteY89-2612" fmla="*/ 1592976 h 4657121"/>
              <a:gd name="connsiteX90-2613" fmla="*/ 151043 w 4036187"/>
              <a:gd name="connsiteY90-2614" fmla="*/ 1592915 h 4657121"/>
              <a:gd name="connsiteX91-2615" fmla="*/ 95320 w 4036187"/>
              <a:gd name="connsiteY91-2616" fmla="*/ 1680262 h 4657121"/>
              <a:gd name="connsiteX92-2617" fmla="*/ 93100 w 4036187"/>
              <a:gd name="connsiteY92-2618" fmla="*/ 1679167 h 4657121"/>
              <a:gd name="connsiteX93-2619" fmla="*/ 26784 w 4036187"/>
              <a:gd name="connsiteY93-2620" fmla="*/ 1697126 h 4657121"/>
              <a:gd name="connsiteX94-2621" fmla="*/ 5823 w 4036187"/>
              <a:gd name="connsiteY94-2622" fmla="*/ 1637185 h 4657121"/>
              <a:gd name="connsiteX95-2623" fmla="*/ 6401 w 4036187"/>
              <a:gd name="connsiteY95-2624" fmla="*/ 1636398 h 4657121"/>
              <a:gd name="connsiteX96-2625" fmla="*/ 5456 w 4036187"/>
              <a:gd name="connsiteY96-2626" fmla="*/ 1635932 h 4657121"/>
              <a:gd name="connsiteX97-2627" fmla="*/ 88087 w 4036187"/>
              <a:gd name="connsiteY97-2628" fmla="*/ 1498257 h 4657121"/>
              <a:gd name="connsiteX98-2629" fmla="*/ 82613 w 4036187"/>
              <a:gd name="connsiteY98-2630" fmla="*/ 1479391 h 4657121"/>
              <a:gd name="connsiteX99-2631" fmla="*/ 78966 w 4036187"/>
              <a:gd name="connsiteY99-2632" fmla="*/ 1460281 h 4657121"/>
              <a:gd name="connsiteX100-2633" fmla="*/ 96745 w 4036187"/>
              <a:gd name="connsiteY100-2634" fmla="*/ 1429801 h 4657121"/>
              <a:gd name="connsiteX101-2635" fmla="*/ 101826 w 4036187"/>
              <a:gd name="connsiteY101-2636" fmla="*/ 1406941 h 4657121"/>
              <a:gd name="connsiteX102-2637" fmla="*/ 122145 w 4036187"/>
              <a:gd name="connsiteY102-2638" fmla="*/ 1389161 h 4657121"/>
              <a:gd name="connsiteX103-2639" fmla="*/ 127226 w 4036187"/>
              <a:gd name="connsiteY103-2640" fmla="*/ 1361221 h 4657121"/>
              <a:gd name="connsiteX104-2641" fmla="*/ 152625 w 4036187"/>
              <a:gd name="connsiteY104-2642" fmla="*/ 1335821 h 4657121"/>
              <a:gd name="connsiteX105-2643" fmla="*/ 157706 w 4036187"/>
              <a:gd name="connsiteY105-2644" fmla="*/ 1310421 h 4657121"/>
              <a:gd name="connsiteX106-2645" fmla="*/ 178025 w 4036187"/>
              <a:gd name="connsiteY106-2646" fmla="*/ 1295181 h 4657121"/>
              <a:gd name="connsiteX107-2647" fmla="*/ 180565 w 4036187"/>
              <a:gd name="connsiteY107-2648" fmla="*/ 1272321 h 4657121"/>
              <a:gd name="connsiteX108-2649" fmla="*/ 197075 w 4036187"/>
              <a:gd name="connsiteY108-2650" fmla="*/ 1258351 h 4657121"/>
              <a:gd name="connsiteX109-2651" fmla="*/ 203426 w 4036187"/>
              <a:gd name="connsiteY109-2652" fmla="*/ 1236761 h 4657121"/>
              <a:gd name="connsiteX110-2653" fmla="*/ 223745 w 4036187"/>
              <a:gd name="connsiteY110-2654" fmla="*/ 1218981 h 4657121"/>
              <a:gd name="connsiteX111-2655" fmla="*/ 221205 w 4036187"/>
              <a:gd name="connsiteY111-2656" fmla="*/ 1196121 h 4657121"/>
              <a:gd name="connsiteX112-2657" fmla="*/ 241525 w 4036187"/>
              <a:gd name="connsiteY112-2658" fmla="*/ 1180881 h 4657121"/>
              <a:gd name="connsiteX113-2659" fmla="*/ 241526 w 4036187"/>
              <a:gd name="connsiteY113-2660" fmla="*/ 1160561 h 4657121"/>
              <a:gd name="connsiteX114-2661" fmla="*/ 264385 w 4036187"/>
              <a:gd name="connsiteY114-2662" fmla="*/ 1142781 h 4657121"/>
              <a:gd name="connsiteX115-2663" fmla="*/ 284706 w 4036187"/>
              <a:gd name="connsiteY115-2664" fmla="*/ 1125001 h 4657121"/>
              <a:gd name="connsiteX116-2665" fmla="*/ 309167 w 4036187"/>
              <a:gd name="connsiteY116-2666" fmla="*/ 1139328 h 4657121"/>
              <a:gd name="connsiteX117-2667" fmla="*/ 369954 w 4036187"/>
              <a:gd name="connsiteY117-2668" fmla="*/ 1042635 h 4657121"/>
              <a:gd name="connsiteX118-2669" fmla="*/ 331087 w 4036187"/>
              <a:gd name="connsiteY118-2670" fmla="*/ 990018 h 4657121"/>
              <a:gd name="connsiteX119-2671" fmla="*/ 416424 w 4036187"/>
              <a:gd name="connsiteY119-2672" fmla="*/ 1003067 h 4657121"/>
              <a:gd name="connsiteX120-2673" fmla="*/ 1126344 w 4036187"/>
              <a:gd name="connsiteY120-2674" fmla="*/ 47041 h 4657121"/>
              <a:gd name="connsiteX121-2675" fmla="*/ 1244295 w 4036187"/>
              <a:gd name="connsiteY121-2676" fmla="*/ 0 h 4657121"/>
              <a:gd name="connsiteX0-2677" fmla="*/ 93291 w 4036187"/>
              <a:gd name="connsiteY0-2678" fmla="*/ 1584790 h 4657121"/>
              <a:gd name="connsiteX1-2679" fmla="*/ 54878 w 4036187"/>
              <a:gd name="connsiteY1-2680" fmla="*/ 1590575 h 4657121"/>
              <a:gd name="connsiteX2-2681" fmla="*/ 68452 w 4036187"/>
              <a:gd name="connsiteY2-2682" fmla="*/ 1624121 h 4657121"/>
              <a:gd name="connsiteX3-2683" fmla="*/ 106864 w 4036187"/>
              <a:gd name="connsiteY3-2684" fmla="*/ 1618336 h 4657121"/>
              <a:gd name="connsiteX4-2685" fmla="*/ 93291 w 4036187"/>
              <a:gd name="connsiteY4-2686" fmla="*/ 1584790 h 4657121"/>
              <a:gd name="connsiteX5-2687" fmla="*/ 103049 w 4036187"/>
              <a:gd name="connsiteY5-2688" fmla="*/ 1536183 h 4657121"/>
              <a:gd name="connsiteX6-2689" fmla="*/ 84080 w 4036187"/>
              <a:gd name="connsiteY6-2690" fmla="*/ 1539040 h 4657121"/>
              <a:gd name="connsiteX7-2691" fmla="*/ 97653 w 4036187"/>
              <a:gd name="connsiteY7-2692" fmla="*/ 1572586 h 4657121"/>
              <a:gd name="connsiteX8-2693" fmla="*/ 124029 w 4036187"/>
              <a:gd name="connsiteY8-2694" fmla="*/ 1568613 h 4657121"/>
              <a:gd name="connsiteX9-2695" fmla="*/ 121784 w 4036187"/>
              <a:gd name="connsiteY9-2696" fmla="*/ 1566902 h 4657121"/>
              <a:gd name="connsiteX10-2697" fmla="*/ 109446 w 4036187"/>
              <a:gd name="connsiteY10-2698" fmla="*/ 1551721 h 4657121"/>
              <a:gd name="connsiteX11-2699" fmla="*/ 103049 w 4036187"/>
              <a:gd name="connsiteY11-2700" fmla="*/ 1536183 h 4657121"/>
              <a:gd name="connsiteX12-2701" fmla="*/ 330425 w 4036187"/>
              <a:gd name="connsiteY12-2702" fmla="*/ 1414561 h 4657121"/>
              <a:gd name="connsiteX13-2703" fmla="*/ 303755 w 4036187"/>
              <a:gd name="connsiteY13-2704" fmla="*/ 1509811 h 4657121"/>
              <a:gd name="connsiteX14-2705" fmla="*/ 467585 w 4036187"/>
              <a:gd name="connsiteY14-2706" fmla="*/ 1848901 h 4657121"/>
              <a:gd name="connsiteX15-2707" fmla="*/ 629398 w 4036187"/>
              <a:gd name="connsiteY15-2708" fmla="*/ 1781666 h 4657121"/>
              <a:gd name="connsiteX16-2709" fmla="*/ 795245 w 4036187"/>
              <a:gd name="connsiteY16-2710" fmla="*/ 1757461 h 4657121"/>
              <a:gd name="connsiteX17-2711" fmla="*/ 886685 w 4036187"/>
              <a:gd name="connsiteY17-2712" fmla="*/ 1666021 h 4657121"/>
              <a:gd name="connsiteX18-2713" fmla="*/ 612365 w 4036187"/>
              <a:gd name="connsiteY18-2714" fmla="*/ 1589821 h 4657121"/>
              <a:gd name="connsiteX19-2715" fmla="*/ 429485 w 4036187"/>
              <a:gd name="connsiteY19-2716" fmla="*/ 1471711 h 4657121"/>
              <a:gd name="connsiteX20-2717" fmla="*/ 330425 w 4036187"/>
              <a:gd name="connsiteY20-2718" fmla="*/ 1414561 h 4657121"/>
              <a:gd name="connsiteX21-2719" fmla="*/ 377386 w 4036187"/>
              <a:gd name="connsiteY21-2720" fmla="*/ 1136442 h 4657121"/>
              <a:gd name="connsiteX22-2721" fmla="*/ 338974 w 4036187"/>
              <a:gd name="connsiteY22-2722" fmla="*/ 1142228 h 4657121"/>
              <a:gd name="connsiteX23-2723" fmla="*/ 348453 w 4036187"/>
              <a:gd name="connsiteY23-2724" fmla="*/ 1165655 h 4657121"/>
              <a:gd name="connsiteX24-2725" fmla="*/ 360621 w 4036187"/>
              <a:gd name="connsiteY24-2726" fmla="*/ 1174557 h 4657121"/>
              <a:gd name="connsiteX25-2727" fmla="*/ 390959 w 4036187"/>
              <a:gd name="connsiteY25-2728" fmla="*/ 1169988 h 4657121"/>
              <a:gd name="connsiteX26-2729" fmla="*/ 377386 w 4036187"/>
              <a:gd name="connsiteY26-2730" fmla="*/ 1136442 h 4657121"/>
              <a:gd name="connsiteX27-2731" fmla="*/ 1160386 w 4036187"/>
              <a:gd name="connsiteY27-2732" fmla="*/ 41755 h 4657121"/>
              <a:gd name="connsiteX28-2733" fmla="*/ 1127909 w 4036187"/>
              <a:gd name="connsiteY28-2734" fmla="*/ 54182 h 4657121"/>
              <a:gd name="connsiteX29-2735" fmla="*/ 452868 w 4036187"/>
              <a:gd name="connsiteY29-2736" fmla="*/ 957816 h 4657121"/>
              <a:gd name="connsiteX30-2737" fmla="*/ 478765 w 4036187"/>
              <a:gd name="connsiteY30-2738" fmla="*/ 974831 h 4657121"/>
              <a:gd name="connsiteX31-2739" fmla="*/ 1160386 w 4036187"/>
              <a:gd name="connsiteY31-2740" fmla="*/ 41755 h 4657121"/>
              <a:gd name="connsiteX32-2741" fmla="*/ 1244295 w 4036187"/>
              <a:gd name="connsiteY32-2742" fmla="*/ 0 h 4657121"/>
              <a:gd name="connsiteX33-2743" fmla="*/ 492571 w 4036187"/>
              <a:gd name="connsiteY33-2744" fmla="*/ 1045306 h 4657121"/>
              <a:gd name="connsiteX34-2745" fmla="*/ 542034 w 4036187"/>
              <a:gd name="connsiteY34-2746" fmla="*/ 1105827 h 4657121"/>
              <a:gd name="connsiteX35-2747" fmla="*/ 474644 w 4036187"/>
              <a:gd name="connsiteY35-2748" fmla="*/ 1099925 h 4657121"/>
              <a:gd name="connsiteX36-2749" fmla="*/ 402847 w 4036187"/>
              <a:gd name="connsiteY36-2750" fmla="*/ 1207107 h 4657121"/>
              <a:gd name="connsiteX37-2751" fmla="*/ 414246 w 4036187"/>
              <a:gd name="connsiteY37-2752" fmla="*/ 1216441 h 4657121"/>
              <a:gd name="connsiteX38-2753" fmla="*/ 479016 w 4036187"/>
              <a:gd name="connsiteY38-2754" fmla="*/ 1300261 h 4657121"/>
              <a:gd name="connsiteX39-2755" fmla="*/ 780006 w 4036187"/>
              <a:gd name="connsiteY39-2756" fmla="*/ 1399321 h 4657121"/>
              <a:gd name="connsiteX40-2757" fmla="*/ 863826 w 4036187"/>
              <a:gd name="connsiteY40-2758" fmla="*/ 1418371 h 4657121"/>
              <a:gd name="connsiteX41-2759" fmla="*/ 806676 w 4036187"/>
              <a:gd name="connsiteY41-2760" fmla="*/ 1254541 h 4657121"/>
              <a:gd name="connsiteX42-2761" fmla="*/ 793453 w 4036187"/>
              <a:gd name="connsiteY42-2762" fmla="*/ 1072782 h 4657121"/>
              <a:gd name="connsiteX43-2763" fmla="*/ 938682 w 4036187"/>
              <a:gd name="connsiteY43-2764" fmla="*/ 925088 h 4657121"/>
              <a:gd name="connsiteX44-2765" fmla="*/ 995065 w 4036187"/>
              <a:gd name="connsiteY44-2766" fmla="*/ 919520 h 4657121"/>
              <a:gd name="connsiteX45-2767" fmla="*/ 1138146 w 4036187"/>
              <a:gd name="connsiteY45-2768" fmla="*/ 972153 h 4657121"/>
              <a:gd name="connsiteX46-2769" fmla="*/ 1210536 w 4036187"/>
              <a:gd name="connsiteY46-2770" fmla="*/ 1121191 h 4657121"/>
              <a:gd name="connsiteX47-2771" fmla="*/ 1230931 w 4036187"/>
              <a:gd name="connsiteY47-2772" fmla="*/ 1323121 h 4657121"/>
              <a:gd name="connsiteX48-2773" fmla="*/ 1244826 w 4036187"/>
              <a:gd name="connsiteY48-2774" fmla="*/ 1475521 h 4657121"/>
              <a:gd name="connsiteX49-2775" fmla="*/ 1421879 w 4036187"/>
              <a:gd name="connsiteY49-2776" fmla="*/ 1551721 h 4657121"/>
              <a:gd name="connsiteX50-2777" fmla="*/ 1488666 w 4036187"/>
              <a:gd name="connsiteY50-2778" fmla="*/ 1765081 h 4657121"/>
              <a:gd name="connsiteX51-2779" fmla="*/ 1549626 w 4036187"/>
              <a:gd name="connsiteY51-2780" fmla="*/ 1917481 h 4657121"/>
              <a:gd name="connsiteX52-2781" fmla="*/ 1708709 w 4036187"/>
              <a:gd name="connsiteY52-2782" fmla="*/ 2635421 h 4657121"/>
              <a:gd name="connsiteX53-2783" fmla="*/ 1929683 w 4036187"/>
              <a:gd name="connsiteY53-2784" fmla="*/ 2824529 h 4657121"/>
              <a:gd name="connsiteX54-2785" fmla="*/ 2077616 w 4036187"/>
              <a:gd name="connsiteY54-2786" fmla="*/ 2954136 h 4657121"/>
              <a:gd name="connsiteX55-2787" fmla="*/ 2484197 w 4036187"/>
              <a:gd name="connsiteY55-2788" fmla="*/ 3330319 h 4657121"/>
              <a:gd name="connsiteX56-2789" fmla="*/ 3122932 w 4036187"/>
              <a:gd name="connsiteY56-2790" fmla="*/ 3655289 h 4657121"/>
              <a:gd name="connsiteX57-2791" fmla="*/ 3561306 w 4036187"/>
              <a:gd name="connsiteY57-2792" fmla="*/ 4020601 h 4657121"/>
              <a:gd name="connsiteX58-2793" fmla="*/ 3995646 w 4036187"/>
              <a:gd name="connsiteY58-2794" fmla="*/ 4371121 h 4657121"/>
              <a:gd name="connsiteX59-2795" fmla="*/ 3988026 w 4036187"/>
              <a:gd name="connsiteY59-2796" fmla="*/ 4653061 h 4657121"/>
              <a:gd name="connsiteX60-2797" fmla="*/ 3896586 w 4036187"/>
              <a:gd name="connsiteY60-2798" fmla="*/ 4614961 h 4657121"/>
              <a:gd name="connsiteX61-2799" fmla="*/ 3690846 w 4036187"/>
              <a:gd name="connsiteY61-2800" fmla="*/ 4393981 h 4657121"/>
              <a:gd name="connsiteX62-2801" fmla="*/ 3496760 w 4036187"/>
              <a:gd name="connsiteY62-2802" fmla="*/ 4247856 h 4657121"/>
              <a:gd name="connsiteX63-2803" fmla="*/ 3422801 w 4036187"/>
              <a:gd name="connsiteY63-2804" fmla="*/ 4165381 h 4657121"/>
              <a:gd name="connsiteX64-2805" fmla="*/ 3201373 w 4036187"/>
              <a:gd name="connsiteY64-2806" fmla="*/ 4031806 h 4657121"/>
              <a:gd name="connsiteX65-2807" fmla="*/ 2490920 w 4036187"/>
              <a:gd name="connsiteY65-2808" fmla="*/ 3691148 h 4657121"/>
              <a:gd name="connsiteX66-2809" fmla="*/ 2333141 w 4036187"/>
              <a:gd name="connsiteY66-2810" fmla="*/ 3652151 h 4657121"/>
              <a:gd name="connsiteX67-2811" fmla="*/ 2006826 w 4036187"/>
              <a:gd name="connsiteY67-2812" fmla="*/ 3487201 h 4657121"/>
              <a:gd name="connsiteX68-2813" fmla="*/ 1580106 w 4036187"/>
              <a:gd name="connsiteY68-2814" fmla="*/ 3311941 h 4657121"/>
              <a:gd name="connsiteX69-2815" fmla="*/ 1011366 w 4036187"/>
              <a:gd name="connsiteY69-2816" fmla="*/ 3356336 h 4657121"/>
              <a:gd name="connsiteX70-2817" fmla="*/ 1161935 w 4036187"/>
              <a:gd name="connsiteY70-2818" fmla="*/ 3484045 h 4657121"/>
              <a:gd name="connsiteX71-2819" fmla="*/ 1296398 w 4036187"/>
              <a:gd name="connsiteY71-2820" fmla="*/ 3668256 h 4657121"/>
              <a:gd name="connsiteX72-2821" fmla="*/ 1425496 w 4036187"/>
              <a:gd name="connsiteY72-2822" fmla="*/ 3716685 h 4657121"/>
              <a:gd name="connsiteX73-2823" fmla="*/ 1459531 w 4036187"/>
              <a:gd name="connsiteY73-2824" fmla="*/ 3884337 h 4657121"/>
              <a:gd name="connsiteX74-2825" fmla="*/ 1530352 w 4036187"/>
              <a:gd name="connsiteY74-2826" fmla="*/ 4226340 h 4657121"/>
              <a:gd name="connsiteX75-2827" fmla="*/ 1481046 w 4036187"/>
              <a:gd name="connsiteY75-2828" fmla="*/ 4302541 h 4657121"/>
              <a:gd name="connsiteX76-2829" fmla="*/ 1214346 w 4036187"/>
              <a:gd name="connsiteY76-2830" fmla="*/ 3952021 h 4657121"/>
              <a:gd name="connsiteX77-2831" fmla="*/ 947646 w 4036187"/>
              <a:gd name="connsiteY77-2832" fmla="*/ 3715801 h 4657121"/>
              <a:gd name="connsiteX78-2833" fmla="*/ 437106 w 4036187"/>
              <a:gd name="connsiteY78-2834" fmla="*/ 3342421 h 4657121"/>
              <a:gd name="connsiteX79-2835" fmla="*/ 429486 w 4036187"/>
              <a:gd name="connsiteY79-2836" fmla="*/ 3075721 h 4657121"/>
              <a:gd name="connsiteX80-2837" fmla="*/ 1196417 w 4036187"/>
              <a:gd name="connsiteY80-2838" fmla="*/ 2814399 h 4657121"/>
              <a:gd name="connsiteX81-2839" fmla="*/ 1169074 w 4036187"/>
              <a:gd name="connsiteY81-2840" fmla="*/ 2637795 h 4657121"/>
              <a:gd name="connsiteX82-2841" fmla="*/ 1023846 w 4036187"/>
              <a:gd name="connsiteY82-2842" fmla="*/ 2290861 h 4657121"/>
              <a:gd name="connsiteX83-2843" fmla="*/ 924786 w 4036187"/>
              <a:gd name="connsiteY83-2844" fmla="*/ 2001301 h 4657121"/>
              <a:gd name="connsiteX84-2845" fmla="*/ 798383 w 4036187"/>
              <a:gd name="connsiteY84-2846" fmla="*/ 2064054 h 4657121"/>
              <a:gd name="connsiteX85-2847" fmla="*/ 589506 w 4036187"/>
              <a:gd name="connsiteY85-2848" fmla="*/ 2077501 h 4657121"/>
              <a:gd name="connsiteX86-2849" fmla="*/ 368526 w 4036187"/>
              <a:gd name="connsiteY86-2850" fmla="*/ 2115601 h 4657121"/>
              <a:gd name="connsiteX87-2851" fmla="*/ 208506 w 4036187"/>
              <a:gd name="connsiteY87-2852" fmla="*/ 1841281 h 4657121"/>
              <a:gd name="connsiteX88-2853" fmla="*/ 164691 w 4036187"/>
              <a:gd name="connsiteY88-2854" fmla="*/ 1620301 h 4657121"/>
              <a:gd name="connsiteX89-2855" fmla="*/ 151103 w 4036187"/>
              <a:gd name="connsiteY89-2856" fmla="*/ 1592976 h 4657121"/>
              <a:gd name="connsiteX90-2857" fmla="*/ 151043 w 4036187"/>
              <a:gd name="connsiteY90-2858" fmla="*/ 1592915 h 4657121"/>
              <a:gd name="connsiteX91-2859" fmla="*/ 95320 w 4036187"/>
              <a:gd name="connsiteY91-2860" fmla="*/ 1680262 h 4657121"/>
              <a:gd name="connsiteX92-2861" fmla="*/ 93100 w 4036187"/>
              <a:gd name="connsiteY92-2862" fmla="*/ 1679167 h 4657121"/>
              <a:gd name="connsiteX93-2863" fmla="*/ 26784 w 4036187"/>
              <a:gd name="connsiteY93-2864" fmla="*/ 1697126 h 4657121"/>
              <a:gd name="connsiteX94-2865" fmla="*/ 5823 w 4036187"/>
              <a:gd name="connsiteY94-2866" fmla="*/ 1637185 h 4657121"/>
              <a:gd name="connsiteX95-2867" fmla="*/ 6401 w 4036187"/>
              <a:gd name="connsiteY95-2868" fmla="*/ 1636398 h 4657121"/>
              <a:gd name="connsiteX96-2869" fmla="*/ 5456 w 4036187"/>
              <a:gd name="connsiteY96-2870" fmla="*/ 1635932 h 4657121"/>
              <a:gd name="connsiteX97-2871" fmla="*/ 88087 w 4036187"/>
              <a:gd name="connsiteY97-2872" fmla="*/ 1498257 h 4657121"/>
              <a:gd name="connsiteX98-2873" fmla="*/ 82613 w 4036187"/>
              <a:gd name="connsiteY98-2874" fmla="*/ 1479391 h 4657121"/>
              <a:gd name="connsiteX99-2875" fmla="*/ 78966 w 4036187"/>
              <a:gd name="connsiteY99-2876" fmla="*/ 1460281 h 4657121"/>
              <a:gd name="connsiteX100-2877" fmla="*/ 96745 w 4036187"/>
              <a:gd name="connsiteY100-2878" fmla="*/ 1429801 h 4657121"/>
              <a:gd name="connsiteX101-2879" fmla="*/ 101826 w 4036187"/>
              <a:gd name="connsiteY101-2880" fmla="*/ 1406941 h 4657121"/>
              <a:gd name="connsiteX102-2881" fmla="*/ 122145 w 4036187"/>
              <a:gd name="connsiteY102-2882" fmla="*/ 1389161 h 4657121"/>
              <a:gd name="connsiteX103-2883" fmla="*/ 127226 w 4036187"/>
              <a:gd name="connsiteY103-2884" fmla="*/ 1361221 h 4657121"/>
              <a:gd name="connsiteX104-2885" fmla="*/ 152625 w 4036187"/>
              <a:gd name="connsiteY104-2886" fmla="*/ 1335821 h 4657121"/>
              <a:gd name="connsiteX105-2887" fmla="*/ 157706 w 4036187"/>
              <a:gd name="connsiteY105-2888" fmla="*/ 1310421 h 4657121"/>
              <a:gd name="connsiteX106-2889" fmla="*/ 178025 w 4036187"/>
              <a:gd name="connsiteY106-2890" fmla="*/ 1295181 h 4657121"/>
              <a:gd name="connsiteX107-2891" fmla="*/ 180565 w 4036187"/>
              <a:gd name="connsiteY107-2892" fmla="*/ 1272321 h 4657121"/>
              <a:gd name="connsiteX108-2893" fmla="*/ 197075 w 4036187"/>
              <a:gd name="connsiteY108-2894" fmla="*/ 1258351 h 4657121"/>
              <a:gd name="connsiteX109-2895" fmla="*/ 203426 w 4036187"/>
              <a:gd name="connsiteY109-2896" fmla="*/ 1236761 h 4657121"/>
              <a:gd name="connsiteX110-2897" fmla="*/ 223745 w 4036187"/>
              <a:gd name="connsiteY110-2898" fmla="*/ 1218981 h 4657121"/>
              <a:gd name="connsiteX111-2899" fmla="*/ 221205 w 4036187"/>
              <a:gd name="connsiteY111-2900" fmla="*/ 1196121 h 4657121"/>
              <a:gd name="connsiteX112-2901" fmla="*/ 241525 w 4036187"/>
              <a:gd name="connsiteY112-2902" fmla="*/ 1180881 h 4657121"/>
              <a:gd name="connsiteX113-2903" fmla="*/ 241526 w 4036187"/>
              <a:gd name="connsiteY113-2904" fmla="*/ 1160561 h 4657121"/>
              <a:gd name="connsiteX114-2905" fmla="*/ 264385 w 4036187"/>
              <a:gd name="connsiteY114-2906" fmla="*/ 1142781 h 4657121"/>
              <a:gd name="connsiteX115-2907" fmla="*/ 284706 w 4036187"/>
              <a:gd name="connsiteY115-2908" fmla="*/ 1125001 h 4657121"/>
              <a:gd name="connsiteX116-2909" fmla="*/ 309167 w 4036187"/>
              <a:gd name="connsiteY116-2910" fmla="*/ 1139328 h 4657121"/>
              <a:gd name="connsiteX117-2911" fmla="*/ 369954 w 4036187"/>
              <a:gd name="connsiteY117-2912" fmla="*/ 1042635 h 4657121"/>
              <a:gd name="connsiteX118-2913" fmla="*/ 331087 w 4036187"/>
              <a:gd name="connsiteY118-2914" fmla="*/ 990018 h 4657121"/>
              <a:gd name="connsiteX119-2915" fmla="*/ 416424 w 4036187"/>
              <a:gd name="connsiteY119-2916" fmla="*/ 1003067 h 4657121"/>
              <a:gd name="connsiteX120-2917" fmla="*/ 1126344 w 4036187"/>
              <a:gd name="connsiteY120-2918" fmla="*/ 47041 h 4657121"/>
              <a:gd name="connsiteX121-2919" fmla="*/ 1244295 w 4036187"/>
              <a:gd name="connsiteY121-2920" fmla="*/ 0 h 4657121"/>
              <a:gd name="connsiteX0-2921" fmla="*/ 93291 w 4036187"/>
              <a:gd name="connsiteY0-2922" fmla="*/ 1584790 h 4657121"/>
              <a:gd name="connsiteX1-2923" fmla="*/ 54878 w 4036187"/>
              <a:gd name="connsiteY1-2924" fmla="*/ 1590575 h 4657121"/>
              <a:gd name="connsiteX2-2925" fmla="*/ 68452 w 4036187"/>
              <a:gd name="connsiteY2-2926" fmla="*/ 1624121 h 4657121"/>
              <a:gd name="connsiteX3-2927" fmla="*/ 106864 w 4036187"/>
              <a:gd name="connsiteY3-2928" fmla="*/ 1618336 h 4657121"/>
              <a:gd name="connsiteX4-2929" fmla="*/ 93291 w 4036187"/>
              <a:gd name="connsiteY4-2930" fmla="*/ 1584790 h 4657121"/>
              <a:gd name="connsiteX5-2931" fmla="*/ 103049 w 4036187"/>
              <a:gd name="connsiteY5-2932" fmla="*/ 1536183 h 4657121"/>
              <a:gd name="connsiteX6-2933" fmla="*/ 84080 w 4036187"/>
              <a:gd name="connsiteY6-2934" fmla="*/ 1539040 h 4657121"/>
              <a:gd name="connsiteX7-2935" fmla="*/ 97653 w 4036187"/>
              <a:gd name="connsiteY7-2936" fmla="*/ 1572586 h 4657121"/>
              <a:gd name="connsiteX8-2937" fmla="*/ 124029 w 4036187"/>
              <a:gd name="connsiteY8-2938" fmla="*/ 1568613 h 4657121"/>
              <a:gd name="connsiteX9-2939" fmla="*/ 121784 w 4036187"/>
              <a:gd name="connsiteY9-2940" fmla="*/ 1566902 h 4657121"/>
              <a:gd name="connsiteX10-2941" fmla="*/ 109446 w 4036187"/>
              <a:gd name="connsiteY10-2942" fmla="*/ 1551721 h 4657121"/>
              <a:gd name="connsiteX11-2943" fmla="*/ 103049 w 4036187"/>
              <a:gd name="connsiteY11-2944" fmla="*/ 1536183 h 4657121"/>
              <a:gd name="connsiteX12-2945" fmla="*/ 330425 w 4036187"/>
              <a:gd name="connsiteY12-2946" fmla="*/ 1414561 h 4657121"/>
              <a:gd name="connsiteX13-2947" fmla="*/ 303755 w 4036187"/>
              <a:gd name="connsiteY13-2948" fmla="*/ 1509811 h 4657121"/>
              <a:gd name="connsiteX14-2949" fmla="*/ 467585 w 4036187"/>
              <a:gd name="connsiteY14-2950" fmla="*/ 1848901 h 4657121"/>
              <a:gd name="connsiteX15-2951" fmla="*/ 629398 w 4036187"/>
              <a:gd name="connsiteY15-2952" fmla="*/ 1781666 h 4657121"/>
              <a:gd name="connsiteX16-2953" fmla="*/ 795245 w 4036187"/>
              <a:gd name="connsiteY16-2954" fmla="*/ 1757461 h 4657121"/>
              <a:gd name="connsiteX17-2955" fmla="*/ 886685 w 4036187"/>
              <a:gd name="connsiteY17-2956" fmla="*/ 1666021 h 4657121"/>
              <a:gd name="connsiteX18-2957" fmla="*/ 612365 w 4036187"/>
              <a:gd name="connsiteY18-2958" fmla="*/ 1589821 h 4657121"/>
              <a:gd name="connsiteX19-2959" fmla="*/ 429485 w 4036187"/>
              <a:gd name="connsiteY19-2960" fmla="*/ 1471711 h 4657121"/>
              <a:gd name="connsiteX20-2961" fmla="*/ 330425 w 4036187"/>
              <a:gd name="connsiteY20-2962" fmla="*/ 1414561 h 4657121"/>
              <a:gd name="connsiteX21-2963" fmla="*/ 377386 w 4036187"/>
              <a:gd name="connsiteY21-2964" fmla="*/ 1136442 h 4657121"/>
              <a:gd name="connsiteX22-2965" fmla="*/ 338974 w 4036187"/>
              <a:gd name="connsiteY22-2966" fmla="*/ 1142228 h 4657121"/>
              <a:gd name="connsiteX23-2967" fmla="*/ 348453 w 4036187"/>
              <a:gd name="connsiteY23-2968" fmla="*/ 1165655 h 4657121"/>
              <a:gd name="connsiteX24-2969" fmla="*/ 360621 w 4036187"/>
              <a:gd name="connsiteY24-2970" fmla="*/ 1174557 h 4657121"/>
              <a:gd name="connsiteX25-2971" fmla="*/ 390959 w 4036187"/>
              <a:gd name="connsiteY25-2972" fmla="*/ 1169988 h 4657121"/>
              <a:gd name="connsiteX26-2973" fmla="*/ 377386 w 4036187"/>
              <a:gd name="connsiteY26-2974" fmla="*/ 1136442 h 4657121"/>
              <a:gd name="connsiteX27-2975" fmla="*/ 1160386 w 4036187"/>
              <a:gd name="connsiteY27-2976" fmla="*/ 41755 h 4657121"/>
              <a:gd name="connsiteX28-2977" fmla="*/ 1127909 w 4036187"/>
              <a:gd name="connsiteY28-2978" fmla="*/ 54182 h 4657121"/>
              <a:gd name="connsiteX29-2979" fmla="*/ 452868 w 4036187"/>
              <a:gd name="connsiteY29-2980" fmla="*/ 957816 h 4657121"/>
              <a:gd name="connsiteX30-2981" fmla="*/ 478765 w 4036187"/>
              <a:gd name="connsiteY30-2982" fmla="*/ 974831 h 4657121"/>
              <a:gd name="connsiteX31-2983" fmla="*/ 1160386 w 4036187"/>
              <a:gd name="connsiteY31-2984" fmla="*/ 41755 h 4657121"/>
              <a:gd name="connsiteX32-2985" fmla="*/ 1244295 w 4036187"/>
              <a:gd name="connsiteY32-2986" fmla="*/ 0 h 4657121"/>
              <a:gd name="connsiteX33-2987" fmla="*/ 492571 w 4036187"/>
              <a:gd name="connsiteY33-2988" fmla="*/ 1045306 h 4657121"/>
              <a:gd name="connsiteX34-2989" fmla="*/ 542034 w 4036187"/>
              <a:gd name="connsiteY34-2990" fmla="*/ 1105827 h 4657121"/>
              <a:gd name="connsiteX35-2991" fmla="*/ 474644 w 4036187"/>
              <a:gd name="connsiteY35-2992" fmla="*/ 1099925 h 4657121"/>
              <a:gd name="connsiteX36-2993" fmla="*/ 402847 w 4036187"/>
              <a:gd name="connsiteY36-2994" fmla="*/ 1207107 h 4657121"/>
              <a:gd name="connsiteX37-2995" fmla="*/ 414246 w 4036187"/>
              <a:gd name="connsiteY37-2996" fmla="*/ 1216441 h 4657121"/>
              <a:gd name="connsiteX38-2997" fmla="*/ 479016 w 4036187"/>
              <a:gd name="connsiteY38-2998" fmla="*/ 1300261 h 4657121"/>
              <a:gd name="connsiteX39-2999" fmla="*/ 780006 w 4036187"/>
              <a:gd name="connsiteY39-3000" fmla="*/ 1399321 h 4657121"/>
              <a:gd name="connsiteX40-3001" fmla="*/ 863826 w 4036187"/>
              <a:gd name="connsiteY40-3002" fmla="*/ 1418371 h 4657121"/>
              <a:gd name="connsiteX41-3003" fmla="*/ 806676 w 4036187"/>
              <a:gd name="connsiteY41-3004" fmla="*/ 1254541 h 4657121"/>
              <a:gd name="connsiteX42-3005" fmla="*/ 793453 w 4036187"/>
              <a:gd name="connsiteY42-3006" fmla="*/ 1072782 h 4657121"/>
              <a:gd name="connsiteX43-3007" fmla="*/ 938682 w 4036187"/>
              <a:gd name="connsiteY43-3008" fmla="*/ 925088 h 4657121"/>
              <a:gd name="connsiteX44-3009" fmla="*/ 995065 w 4036187"/>
              <a:gd name="connsiteY44-3010" fmla="*/ 919520 h 4657121"/>
              <a:gd name="connsiteX45-3011" fmla="*/ 1138146 w 4036187"/>
              <a:gd name="connsiteY45-3012" fmla="*/ 972153 h 4657121"/>
              <a:gd name="connsiteX46-3013" fmla="*/ 1210536 w 4036187"/>
              <a:gd name="connsiteY46-3014" fmla="*/ 1121191 h 4657121"/>
              <a:gd name="connsiteX47-3015" fmla="*/ 1230931 w 4036187"/>
              <a:gd name="connsiteY47-3016" fmla="*/ 1323121 h 4657121"/>
              <a:gd name="connsiteX48-3017" fmla="*/ 1244826 w 4036187"/>
              <a:gd name="connsiteY48-3018" fmla="*/ 1475521 h 4657121"/>
              <a:gd name="connsiteX49-3019" fmla="*/ 1421879 w 4036187"/>
              <a:gd name="connsiteY49-3020" fmla="*/ 1551721 h 4657121"/>
              <a:gd name="connsiteX50-3021" fmla="*/ 1488666 w 4036187"/>
              <a:gd name="connsiteY50-3022" fmla="*/ 1765081 h 4657121"/>
              <a:gd name="connsiteX51-3023" fmla="*/ 1549626 w 4036187"/>
              <a:gd name="connsiteY51-3024" fmla="*/ 1917481 h 4657121"/>
              <a:gd name="connsiteX52-3025" fmla="*/ 1708709 w 4036187"/>
              <a:gd name="connsiteY52-3026" fmla="*/ 2635421 h 4657121"/>
              <a:gd name="connsiteX53-3027" fmla="*/ 1909529 w 4036187"/>
              <a:gd name="connsiteY53-3028" fmla="*/ 2796312 h 4657121"/>
              <a:gd name="connsiteX54-3029" fmla="*/ 2077616 w 4036187"/>
              <a:gd name="connsiteY54-3030" fmla="*/ 2954136 h 4657121"/>
              <a:gd name="connsiteX55-3031" fmla="*/ 2484197 w 4036187"/>
              <a:gd name="connsiteY55-3032" fmla="*/ 3330319 h 4657121"/>
              <a:gd name="connsiteX56-3033" fmla="*/ 3122932 w 4036187"/>
              <a:gd name="connsiteY56-3034" fmla="*/ 3655289 h 4657121"/>
              <a:gd name="connsiteX57-3035" fmla="*/ 3561306 w 4036187"/>
              <a:gd name="connsiteY57-3036" fmla="*/ 4020601 h 4657121"/>
              <a:gd name="connsiteX58-3037" fmla="*/ 3995646 w 4036187"/>
              <a:gd name="connsiteY58-3038" fmla="*/ 4371121 h 4657121"/>
              <a:gd name="connsiteX59-3039" fmla="*/ 3988026 w 4036187"/>
              <a:gd name="connsiteY59-3040" fmla="*/ 4653061 h 4657121"/>
              <a:gd name="connsiteX60-3041" fmla="*/ 3896586 w 4036187"/>
              <a:gd name="connsiteY60-3042" fmla="*/ 4614961 h 4657121"/>
              <a:gd name="connsiteX61-3043" fmla="*/ 3690846 w 4036187"/>
              <a:gd name="connsiteY61-3044" fmla="*/ 4393981 h 4657121"/>
              <a:gd name="connsiteX62-3045" fmla="*/ 3496760 w 4036187"/>
              <a:gd name="connsiteY62-3046" fmla="*/ 4247856 h 4657121"/>
              <a:gd name="connsiteX63-3047" fmla="*/ 3422801 w 4036187"/>
              <a:gd name="connsiteY63-3048" fmla="*/ 4165381 h 4657121"/>
              <a:gd name="connsiteX64-3049" fmla="*/ 3201373 w 4036187"/>
              <a:gd name="connsiteY64-3050" fmla="*/ 4031806 h 4657121"/>
              <a:gd name="connsiteX65-3051" fmla="*/ 2490920 w 4036187"/>
              <a:gd name="connsiteY65-3052" fmla="*/ 3691148 h 4657121"/>
              <a:gd name="connsiteX66-3053" fmla="*/ 2333141 w 4036187"/>
              <a:gd name="connsiteY66-3054" fmla="*/ 3652151 h 4657121"/>
              <a:gd name="connsiteX67-3055" fmla="*/ 2006826 w 4036187"/>
              <a:gd name="connsiteY67-3056" fmla="*/ 3487201 h 4657121"/>
              <a:gd name="connsiteX68-3057" fmla="*/ 1580106 w 4036187"/>
              <a:gd name="connsiteY68-3058" fmla="*/ 3311941 h 4657121"/>
              <a:gd name="connsiteX69-3059" fmla="*/ 1011366 w 4036187"/>
              <a:gd name="connsiteY69-3060" fmla="*/ 3356336 h 4657121"/>
              <a:gd name="connsiteX70-3061" fmla="*/ 1161935 w 4036187"/>
              <a:gd name="connsiteY70-3062" fmla="*/ 3484045 h 4657121"/>
              <a:gd name="connsiteX71-3063" fmla="*/ 1296398 w 4036187"/>
              <a:gd name="connsiteY71-3064" fmla="*/ 3668256 h 4657121"/>
              <a:gd name="connsiteX72-3065" fmla="*/ 1425496 w 4036187"/>
              <a:gd name="connsiteY72-3066" fmla="*/ 3716685 h 4657121"/>
              <a:gd name="connsiteX73-3067" fmla="*/ 1459531 w 4036187"/>
              <a:gd name="connsiteY73-3068" fmla="*/ 3884337 h 4657121"/>
              <a:gd name="connsiteX74-3069" fmla="*/ 1530352 w 4036187"/>
              <a:gd name="connsiteY74-3070" fmla="*/ 4226340 h 4657121"/>
              <a:gd name="connsiteX75-3071" fmla="*/ 1481046 w 4036187"/>
              <a:gd name="connsiteY75-3072" fmla="*/ 4302541 h 4657121"/>
              <a:gd name="connsiteX76-3073" fmla="*/ 1214346 w 4036187"/>
              <a:gd name="connsiteY76-3074" fmla="*/ 3952021 h 4657121"/>
              <a:gd name="connsiteX77-3075" fmla="*/ 947646 w 4036187"/>
              <a:gd name="connsiteY77-3076" fmla="*/ 3715801 h 4657121"/>
              <a:gd name="connsiteX78-3077" fmla="*/ 437106 w 4036187"/>
              <a:gd name="connsiteY78-3078" fmla="*/ 3342421 h 4657121"/>
              <a:gd name="connsiteX79-3079" fmla="*/ 429486 w 4036187"/>
              <a:gd name="connsiteY79-3080" fmla="*/ 3075721 h 4657121"/>
              <a:gd name="connsiteX80-3081" fmla="*/ 1196417 w 4036187"/>
              <a:gd name="connsiteY80-3082" fmla="*/ 2814399 h 4657121"/>
              <a:gd name="connsiteX81-3083" fmla="*/ 1169074 w 4036187"/>
              <a:gd name="connsiteY81-3084" fmla="*/ 2637795 h 4657121"/>
              <a:gd name="connsiteX82-3085" fmla="*/ 1023846 w 4036187"/>
              <a:gd name="connsiteY82-3086" fmla="*/ 2290861 h 4657121"/>
              <a:gd name="connsiteX83-3087" fmla="*/ 924786 w 4036187"/>
              <a:gd name="connsiteY83-3088" fmla="*/ 2001301 h 4657121"/>
              <a:gd name="connsiteX84-3089" fmla="*/ 798383 w 4036187"/>
              <a:gd name="connsiteY84-3090" fmla="*/ 2064054 h 4657121"/>
              <a:gd name="connsiteX85-3091" fmla="*/ 589506 w 4036187"/>
              <a:gd name="connsiteY85-3092" fmla="*/ 2077501 h 4657121"/>
              <a:gd name="connsiteX86-3093" fmla="*/ 368526 w 4036187"/>
              <a:gd name="connsiteY86-3094" fmla="*/ 2115601 h 4657121"/>
              <a:gd name="connsiteX87-3095" fmla="*/ 208506 w 4036187"/>
              <a:gd name="connsiteY87-3096" fmla="*/ 1841281 h 4657121"/>
              <a:gd name="connsiteX88-3097" fmla="*/ 164691 w 4036187"/>
              <a:gd name="connsiteY88-3098" fmla="*/ 1620301 h 4657121"/>
              <a:gd name="connsiteX89-3099" fmla="*/ 151103 w 4036187"/>
              <a:gd name="connsiteY89-3100" fmla="*/ 1592976 h 4657121"/>
              <a:gd name="connsiteX90-3101" fmla="*/ 151043 w 4036187"/>
              <a:gd name="connsiteY90-3102" fmla="*/ 1592915 h 4657121"/>
              <a:gd name="connsiteX91-3103" fmla="*/ 95320 w 4036187"/>
              <a:gd name="connsiteY91-3104" fmla="*/ 1680262 h 4657121"/>
              <a:gd name="connsiteX92-3105" fmla="*/ 93100 w 4036187"/>
              <a:gd name="connsiteY92-3106" fmla="*/ 1679167 h 4657121"/>
              <a:gd name="connsiteX93-3107" fmla="*/ 26784 w 4036187"/>
              <a:gd name="connsiteY93-3108" fmla="*/ 1697126 h 4657121"/>
              <a:gd name="connsiteX94-3109" fmla="*/ 5823 w 4036187"/>
              <a:gd name="connsiteY94-3110" fmla="*/ 1637185 h 4657121"/>
              <a:gd name="connsiteX95-3111" fmla="*/ 6401 w 4036187"/>
              <a:gd name="connsiteY95-3112" fmla="*/ 1636398 h 4657121"/>
              <a:gd name="connsiteX96-3113" fmla="*/ 5456 w 4036187"/>
              <a:gd name="connsiteY96-3114" fmla="*/ 1635932 h 4657121"/>
              <a:gd name="connsiteX97-3115" fmla="*/ 88087 w 4036187"/>
              <a:gd name="connsiteY97-3116" fmla="*/ 1498257 h 4657121"/>
              <a:gd name="connsiteX98-3117" fmla="*/ 82613 w 4036187"/>
              <a:gd name="connsiteY98-3118" fmla="*/ 1479391 h 4657121"/>
              <a:gd name="connsiteX99-3119" fmla="*/ 78966 w 4036187"/>
              <a:gd name="connsiteY99-3120" fmla="*/ 1460281 h 4657121"/>
              <a:gd name="connsiteX100-3121" fmla="*/ 96745 w 4036187"/>
              <a:gd name="connsiteY100-3122" fmla="*/ 1429801 h 4657121"/>
              <a:gd name="connsiteX101-3123" fmla="*/ 101826 w 4036187"/>
              <a:gd name="connsiteY101-3124" fmla="*/ 1406941 h 4657121"/>
              <a:gd name="connsiteX102-3125" fmla="*/ 122145 w 4036187"/>
              <a:gd name="connsiteY102-3126" fmla="*/ 1389161 h 4657121"/>
              <a:gd name="connsiteX103-3127" fmla="*/ 127226 w 4036187"/>
              <a:gd name="connsiteY103-3128" fmla="*/ 1361221 h 4657121"/>
              <a:gd name="connsiteX104-3129" fmla="*/ 152625 w 4036187"/>
              <a:gd name="connsiteY104-3130" fmla="*/ 1335821 h 4657121"/>
              <a:gd name="connsiteX105-3131" fmla="*/ 157706 w 4036187"/>
              <a:gd name="connsiteY105-3132" fmla="*/ 1310421 h 4657121"/>
              <a:gd name="connsiteX106-3133" fmla="*/ 178025 w 4036187"/>
              <a:gd name="connsiteY106-3134" fmla="*/ 1295181 h 4657121"/>
              <a:gd name="connsiteX107-3135" fmla="*/ 180565 w 4036187"/>
              <a:gd name="connsiteY107-3136" fmla="*/ 1272321 h 4657121"/>
              <a:gd name="connsiteX108-3137" fmla="*/ 197075 w 4036187"/>
              <a:gd name="connsiteY108-3138" fmla="*/ 1258351 h 4657121"/>
              <a:gd name="connsiteX109-3139" fmla="*/ 203426 w 4036187"/>
              <a:gd name="connsiteY109-3140" fmla="*/ 1236761 h 4657121"/>
              <a:gd name="connsiteX110-3141" fmla="*/ 223745 w 4036187"/>
              <a:gd name="connsiteY110-3142" fmla="*/ 1218981 h 4657121"/>
              <a:gd name="connsiteX111-3143" fmla="*/ 221205 w 4036187"/>
              <a:gd name="connsiteY111-3144" fmla="*/ 1196121 h 4657121"/>
              <a:gd name="connsiteX112-3145" fmla="*/ 241525 w 4036187"/>
              <a:gd name="connsiteY112-3146" fmla="*/ 1180881 h 4657121"/>
              <a:gd name="connsiteX113-3147" fmla="*/ 241526 w 4036187"/>
              <a:gd name="connsiteY113-3148" fmla="*/ 1160561 h 4657121"/>
              <a:gd name="connsiteX114-3149" fmla="*/ 264385 w 4036187"/>
              <a:gd name="connsiteY114-3150" fmla="*/ 1142781 h 4657121"/>
              <a:gd name="connsiteX115-3151" fmla="*/ 284706 w 4036187"/>
              <a:gd name="connsiteY115-3152" fmla="*/ 1125001 h 4657121"/>
              <a:gd name="connsiteX116-3153" fmla="*/ 309167 w 4036187"/>
              <a:gd name="connsiteY116-3154" fmla="*/ 1139328 h 4657121"/>
              <a:gd name="connsiteX117-3155" fmla="*/ 369954 w 4036187"/>
              <a:gd name="connsiteY117-3156" fmla="*/ 1042635 h 4657121"/>
              <a:gd name="connsiteX118-3157" fmla="*/ 331087 w 4036187"/>
              <a:gd name="connsiteY118-3158" fmla="*/ 990018 h 4657121"/>
              <a:gd name="connsiteX119-3159" fmla="*/ 416424 w 4036187"/>
              <a:gd name="connsiteY119-3160" fmla="*/ 1003067 h 4657121"/>
              <a:gd name="connsiteX120-3161" fmla="*/ 1126344 w 4036187"/>
              <a:gd name="connsiteY120-3162" fmla="*/ 47041 h 4657121"/>
              <a:gd name="connsiteX121-3163" fmla="*/ 1244295 w 4036187"/>
              <a:gd name="connsiteY121-3164" fmla="*/ 0 h 465712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  <a:cxn ang="0">
                <a:pos x="connsiteX10-21" y="connsiteY10-22"/>
              </a:cxn>
              <a:cxn ang="0">
                <a:pos x="connsiteX11-23" y="connsiteY11-24"/>
              </a:cxn>
              <a:cxn ang="0">
                <a:pos x="connsiteX12-25" y="connsiteY12-26"/>
              </a:cxn>
              <a:cxn ang="0">
                <a:pos x="connsiteX13-27" y="connsiteY13-28"/>
              </a:cxn>
              <a:cxn ang="0">
                <a:pos x="connsiteX14-29" y="connsiteY14-30"/>
              </a:cxn>
              <a:cxn ang="0">
                <a:pos x="connsiteX15-31" y="connsiteY15-32"/>
              </a:cxn>
              <a:cxn ang="0">
                <a:pos x="connsiteX16-33" y="connsiteY16-34"/>
              </a:cxn>
              <a:cxn ang="0">
                <a:pos x="connsiteX17-35" y="connsiteY17-36"/>
              </a:cxn>
              <a:cxn ang="0">
                <a:pos x="connsiteX18-37" y="connsiteY18-38"/>
              </a:cxn>
              <a:cxn ang="0">
                <a:pos x="connsiteX19-39" y="connsiteY19-40"/>
              </a:cxn>
              <a:cxn ang="0">
                <a:pos x="connsiteX20-41" y="connsiteY20-42"/>
              </a:cxn>
              <a:cxn ang="0">
                <a:pos x="connsiteX21-43" y="connsiteY21-44"/>
              </a:cxn>
              <a:cxn ang="0">
                <a:pos x="connsiteX22-45" y="connsiteY22-46"/>
              </a:cxn>
              <a:cxn ang="0">
                <a:pos x="connsiteX23-47" y="connsiteY23-48"/>
              </a:cxn>
              <a:cxn ang="0">
                <a:pos x="connsiteX24-49" y="connsiteY24-50"/>
              </a:cxn>
              <a:cxn ang="0">
                <a:pos x="connsiteX25-51" y="connsiteY25-52"/>
              </a:cxn>
              <a:cxn ang="0">
                <a:pos x="connsiteX26-53" y="connsiteY26-54"/>
              </a:cxn>
              <a:cxn ang="0">
                <a:pos x="connsiteX27-55" y="connsiteY27-56"/>
              </a:cxn>
              <a:cxn ang="0">
                <a:pos x="connsiteX28-57" y="connsiteY28-58"/>
              </a:cxn>
              <a:cxn ang="0">
                <a:pos x="connsiteX29-59" y="connsiteY29-60"/>
              </a:cxn>
              <a:cxn ang="0">
                <a:pos x="connsiteX30-61" y="connsiteY30-62"/>
              </a:cxn>
              <a:cxn ang="0">
                <a:pos x="connsiteX31-63" y="connsiteY31-64"/>
              </a:cxn>
              <a:cxn ang="0">
                <a:pos x="connsiteX32-65" y="connsiteY32-66"/>
              </a:cxn>
              <a:cxn ang="0">
                <a:pos x="connsiteX33-67" y="connsiteY33-68"/>
              </a:cxn>
              <a:cxn ang="0">
                <a:pos x="connsiteX34-69" y="connsiteY34-70"/>
              </a:cxn>
              <a:cxn ang="0">
                <a:pos x="connsiteX35-71" y="connsiteY35-72"/>
              </a:cxn>
              <a:cxn ang="0">
                <a:pos x="connsiteX36-73" y="connsiteY36-74"/>
              </a:cxn>
              <a:cxn ang="0">
                <a:pos x="connsiteX37-75" y="connsiteY37-76"/>
              </a:cxn>
              <a:cxn ang="0">
                <a:pos x="connsiteX38-77" y="connsiteY38-78"/>
              </a:cxn>
              <a:cxn ang="0">
                <a:pos x="connsiteX39-79" y="connsiteY39-80"/>
              </a:cxn>
              <a:cxn ang="0">
                <a:pos x="connsiteX40-81" y="connsiteY40-82"/>
              </a:cxn>
              <a:cxn ang="0">
                <a:pos x="connsiteX41-83" y="connsiteY41-84"/>
              </a:cxn>
              <a:cxn ang="0">
                <a:pos x="connsiteX42-85" y="connsiteY42-86"/>
              </a:cxn>
              <a:cxn ang="0">
                <a:pos x="connsiteX43-87" y="connsiteY43-88"/>
              </a:cxn>
              <a:cxn ang="0">
                <a:pos x="connsiteX44-89" y="connsiteY44-90"/>
              </a:cxn>
              <a:cxn ang="0">
                <a:pos x="connsiteX45-91" y="connsiteY45-92"/>
              </a:cxn>
              <a:cxn ang="0">
                <a:pos x="connsiteX46-93" y="connsiteY46-94"/>
              </a:cxn>
              <a:cxn ang="0">
                <a:pos x="connsiteX47-95" y="connsiteY47-96"/>
              </a:cxn>
              <a:cxn ang="0">
                <a:pos x="connsiteX48-97" y="connsiteY48-98"/>
              </a:cxn>
              <a:cxn ang="0">
                <a:pos x="connsiteX49-99" y="connsiteY49-100"/>
              </a:cxn>
              <a:cxn ang="0">
                <a:pos x="connsiteX50-101" y="connsiteY50-102"/>
              </a:cxn>
              <a:cxn ang="0">
                <a:pos x="connsiteX51-103" y="connsiteY51-104"/>
              </a:cxn>
              <a:cxn ang="0">
                <a:pos x="connsiteX52-105" y="connsiteY52-106"/>
              </a:cxn>
              <a:cxn ang="0">
                <a:pos x="connsiteX53-107" y="connsiteY53-108"/>
              </a:cxn>
              <a:cxn ang="0">
                <a:pos x="connsiteX54-109" y="connsiteY54-110"/>
              </a:cxn>
              <a:cxn ang="0">
                <a:pos x="connsiteX55-111" y="connsiteY55-112"/>
              </a:cxn>
              <a:cxn ang="0">
                <a:pos x="connsiteX56-113" y="connsiteY56-114"/>
              </a:cxn>
              <a:cxn ang="0">
                <a:pos x="connsiteX57-115" y="connsiteY57-116"/>
              </a:cxn>
              <a:cxn ang="0">
                <a:pos x="connsiteX58-117" y="connsiteY58-118"/>
              </a:cxn>
              <a:cxn ang="0">
                <a:pos x="connsiteX59-119" y="connsiteY59-120"/>
              </a:cxn>
              <a:cxn ang="0">
                <a:pos x="connsiteX60-121" y="connsiteY60-122"/>
              </a:cxn>
              <a:cxn ang="0">
                <a:pos x="connsiteX61-123" y="connsiteY61-124"/>
              </a:cxn>
              <a:cxn ang="0">
                <a:pos x="connsiteX62-125" y="connsiteY62-126"/>
              </a:cxn>
              <a:cxn ang="0">
                <a:pos x="connsiteX63-127" y="connsiteY63-128"/>
              </a:cxn>
              <a:cxn ang="0">
                <a:pos x="connsiteX64-129" y="connsiteY64-130"/>
              </a:cxn>
              <a:cxn ang="0">
                <a:pos x="connsiteX65-131" y="connsiteY65-132"/>
              </a:cxn>
              <a:cxn ang="0">
                <a:pos x="connsiteX66-133" y="connsiteY66-134"/>
              </a:cxn>
              <a:cxn ang="0">
                <a:pos x="connsiteX67-135" y="connsiteY67-136"/>
              </a:cxn>
              <a:cxn ang="0">
                <a:pos x="connsiteX68-137" y="connsiteY68-138"/>
              </a:cxn>
              <a:cxn ang="0">
                <a:pos x="connsiteX69-139" y="connsiteY69-140"/>
              </a:cxn>
              <a:cxn ang="0">
                <a:pos x="connsiteX70-141" y="connsiteY70-142"/>
              </a:cxn>
              <a:cxn ang="0">
                <a:pos x="connsiteX71-143" y="connsiteY71-144"/>
              </a:cxn>
              <a:cxn ang="0">
                <a:pos x="connsiteX72-145" y="connsiteY72-146"/>
              </a:cxn>
              <a:cxn ang="0">
                <a:pos x="connsiteX73-147" y="connsiteY73-148"/>
              </a:cxn>
              <a:cxn ang="0">
                <a:pos x="connsiteX74-149" y="connsiteY74-150"/>
              </a:cxn>
              <a:cxn ang="0">
                <a:pos x="connsiteX75-151" y="connsiteY75-152"/>
              </a:cxn>
              <a:cxn ang="0">
                <a:pos x="connsiteX76-153" y="connsiteY76-154"/>
              </a:cxn>
              <a:cxn ang="0">
                <a:pos x="connsiteX77-155" y="connsiteY77-156"/>
              </a:cxn>
              <a:cxn ang="0">
                <a:pos x="connsiteX78-157" y="connsiteY78-158"/>
              </a:cxn>
              <a:cxn ang="0">
                <a:pos x="connsiteX79-159" y="connsiteY79-160"/>
              </a:cxn>
              <a:cxn ang="0">
                <a:pos x="connsiteX80-161" y="connsiteY80-162"/>
              </a:cxn>
              <a:cxn ang="0">
                <a:pos x="connsiteX81-163" y="connsiteY81-164"/>
              </a:cxn>
              <a:cxn ang="0">
                <a:pos x="connsiteX82-165" y="connsiteY82-166"/>
              </a:cxn>
              <a:cxn ang="0">
                <a:pos x="connsiteX83-167" y="connsiteY83-168"/>
              </a:cxn>
              <a:cxn ang="0">
                <a:pos x="connsiteX84-169" y="connsiteY84-170"/>
              </a:cxn>
              <a:cxn ang="0">
                <a:pos x="connsiteX85-171" y="connsiteY85-172"/>
              </a:cxn>
              <a:cxn ang="0">
                <a:pos x="connsiteX86-173" y="connsiteY86-174"/>
              </a:cxn>
              <a:cxn ang="0">
                <a:pos x="connsiteX87-175" y="connsiteY87-176"/>
              </a:cxn>
              <a:cxn ang="0">
                <a:pos x="connsiteX88-177" y="connsiteY88-178"/>
              </a:cxn>
              <a:cxn ang="0">
                <a:pos x="connsiteX89-179" y="connsiteY89-180"/>
              </a:cxn>
              <a:cxn ang="0">
                <a:pos x="connsiteX90-181" y="connsiteY90-182"/>
              </a:cxn>
              <a:cxn ang="0">
                <a:pos x="connsiteX91-183" y="connsiteY91-184"/>
              </a:cxn>
              <a:cxn ang="0">
                <a:pos x="connsiteX92-185" y="connsiteY92-186"/>
              </a:cxn>
              <a:cxn ang="0">
                <a:pos x="connsiteX93-187" y="connsiteY93-188"/>
              </a:cxn>
              <a:cxn ang="0">
                <a:pos x="connsiteX94-189" y="connsiteY94-190"/>
              </a:cxn>
              <a:cxn ang="0">
                <a:pos x="connsiteX95-191" y="connsiteY95-192"/>
              </a:cxn>
              <a:cxn ang="0">
                <a:pos x="connsiteX96-193" y="connsiteY96-194"/>
              </a:cxn>
              <a:cxn ang="0">
                <a:pos x="connsiteX97-195" y="connsiteY97-196"/>
              </a:cxn>
              <a:cxn ang="0">
                <a:pos x="connsiteX98-197" y="connsiteY98-198"/>
              </a:cxn>
              <a:cxn ang="0">
                <a:pos x="connsiteX99-199" y="connsiteY99-200"/>
              </a:cxn>
              <a:cxn ang="0">
                <a:pos x="connsiteX100-201" y="connsiteY100-202"/>
              </a:cxn>
              <a:cxn ang="0">
                <a:pos x="connsiteX101-203" y="connsiteY101-204"/>
              </a:cxn>
              <a:cxn ang="0">
                <a:pos x="connsiteX102-205" y="connsiteY102-206"/>
              </a:cxn>
              <a:cxn ang="0">
                <a:pos x="connsiteX103-207" y="connsiteY103-208"/>
              </a:cxn>
              <a:cxn ang="0">
                <a:pos x="connsiteX104-209" y="connsiteY104-210"/>
              </a:cxn>
              <a:cxn ang="0">
                <a:pos x="connsiteX105-211" y="connsiteY105-212"/>
              </a:cxn>
              <a:cxn ang="0">
                <a:pos x="connsiteX106-213" y="connsiteY106-214"/>
              </a:cxn>
              <a:cxn ang="0">
                <a:pos x="connsiteX107-215" y="connsiteY107-216"/>
              </a:cxn>
              <a:cxn ang="0">
                <a:pos x="connsiteX108-217" y="connsiteY108-218"/>
              </a:cxn>
              <a:cxn ang="0">
                <a:pos x="connsiteX109-219" y="connsiteY109-220"/>
              </a:cxn>
              <a:cxn ang="0">
                <a:pos x="connsiteX110-221" y="connsiteY110-222"/>
              </a:cxn>
              <a:cxn ang="0">
                <a:pos x="connsiteX111-223" y="connsiteY111-224"/>
              </a:cxn>
              <a:cxn ang="0">
                <a:pos x="connsiteX112-225" y="connsiteY112-226"/>
              </a:cxn>
              <a:cxn ang="0">
                <a:pos x="connsiteX113-227" y="connsiteY113-228"/>
              </a:cxn>
              <a:cxn ang="0">
                <a:pos x="connsiteX114-229" y="connsiteY114-230"/>
              </a:cxn>
              <a:cxn ang="0">
                <a:pos x="connsiteX115-231" y="connsiteY115-232"/>
              </a:cxn>
              <a:cxn ang="0">
                <a:pos x="connsiteX116-233" y="connsiteY116-234"/>
              </a:cxn>
              <a:cxn ang="0">
                <a:pos x="connsiteX117-235" y="connsiteY117-236"/>
              </a:cxn>
              <a:cxn ang="0">
                <a:pos x="connsiteX118-473" y="connsiteY118-474"/>
              </a:cxn>
              <a:cxn ang="0">
                <a:pos x="connsiteX119-475" y="connsiteY119-476"/>
              </a:cxn>
              <a:cxn ang="0">
                <a:pos x="connsiteX120-477" y="connsiteY120-478"/>
              </a:cxn>
              <a:cxn ang="0">
                <a:pos x="connsiteX121-479" y="connsiteY121-480"/>
              </a:cxn>
            </a:cxnLst>
            <a:rect l="l" t="t" r="r" b="b"/>
            <a:pathLst>
              <a:path w="4036187" h="4657121">
                <a:moveTo>
                  <a:pt x="93291" y="1584790"/>
                </a:moveTo>
                <a:lnTo>
                  <a:pt x="54878" y="1590575"/>
                </a:lnTo>
                <a:lnTo>
                  <a:pt x="68452" y="1624121"/>
                </a:lnTo>
                <a:lnTo>
                  <a:pt x="106864" y="1618336"/>
                </a:lnTo>
                <a:lnTo>
                  <a:pt x="93291" y="1584790"/>
                </a:lnTo>
                <a:close/>
                <a:moveTo>
                  <a:pt x="103049" y="1536183"/>
                </a:moveTo>
                <a:lnTo>
                  <a:pt x="84080" y="1539040"/>
                </a:lnTo>
                <a:lnTo>
                  <a:pt x="97653" y="1572586"/>
                </a:lnTo>
                <a:lnTo>
                  <a:pt x="124029" y="1568613"/>
                </a:lnTo>
                <a:lnTo>
                  <a:pt x="121784" y="1566902"/>
                </a:lnTo>
                <a:cubicBezTo>
                  <a:pt x="117225" y="1562992"/>
                  <a:pt x="113018" y="1558389"/>
                  <a:pt x="109446" y="1551721"/>
                </a:cubicBezTo>
                <a:lnTo>
                  <a:pt x="103049" y="1536183"/>
                </a:lnTo>
                <a:close/>
                <a:moveTo>
                  <a:pt x="330425" y="1414561"/>
                </a:moveTo>
                <a:cubicBezTo>
                  <a:pt x="305025" y="1428531"/>
                  <a:pt x="294342" y="1482244"/>
                  <a:pt x="303755" y="1509811"/>
                </a:cubicBezTo>
                <a:cubicBezTo>
                  <a:pt x="328286" y="1581652"/>
                  <a:pt x="413311" y="1803592"/>
                  <a:pt x="467585" y="1848901"/>
                </a:cubicBezTo>
                <a:cubicBezTo>
                  <a:pt x="521859" y="1894210"/>
                  <a:pt x="567307" y="1795907"/>
                  <a:pt x="629398" y="1781666"/>
                </a:cubicBezTo>
                <a:cubicBezTo>
                  <a:pt x="715384" y="1761944"/>
                  <a:pt x="752364" y="1776735"/>
                  <a:pt x="795245" y="1757461"/>
                </a:cubicBezTo>
                <a:cubicBezTo>
                  <a:pt x="838126" y="1738187"/>
                  <a:pt x="856205" y="1696501"/>
                  <a:pt x="886685" y="1666021"/>
                </a:cubicBezTo>
                <a:cubicBezTo>
                  <a:pt x="856205" y="1638081"/>
                  <a:pt x="688565" y="1622206"/>
                  <a:pt x="612365" y="1589821"/>
                </a:cubicBezTo>
                <a:cubicBezTo>
                  <a:pt x="536165" y="1557436"/>
                  <a:pt x="481591" y="1490320"/>
                  <a:pt x="429485" y="1471711"/>
                </a:cubicBezTo>
                <a:lnTo>
                  <a:pt x="330425" y="1414561"/>
                </a:lnTo>
                <a:close/>
                <a:moveTo>
                  <a:pt x="377386" y="1136442"/>
                </a:moveTo>
                <a:lnTo>
                  <a:pt x="338974" y="1142228"/>
                </a:lnTo>
                <a:lnTo>
                  <a:pt x="348453" y="1165655"/>
                </a:lnTo>
                <a:lnTo>
                  <a:pt x="360621" y="1174557"/>
                </a:lnTo>
                <a:lnTo>
                  <a:pt x="390959" y="1169988"/>
                </a:lnTo>
                <a:lnTo>
                  <a:pt x="377386" y="1136442"/>
                </a:lnTo>
                <a:close/>
                <a:moveTo>
                  <a:pt x="1160386" y="41755"/>
                </a:moveTo>
                <a:lnTo>
                  <a:pt x="1127909" y="54182"/>
                </a:lnTo>
                <a:cubicBezTo>
                  <a:pt x="887062" y="312069"/>
                  <a:pt x="776291" y="484350"/>
                  <a:pt x="452868" y="957816"/>
                </a:cubicBezTo>
                <a:lnTo>
                  <a:pt x="478765" y="974831"/>
                </a:lnTo>
                <a:cubicBezTo>
                  <a:pt x="701418" y="649690"/>
                  <a:pt x="799899" y="464879"/>
                  <a:pt x="1160386" y="41755"/>
                </a:cubicBezTo>
                <a:close/>
                <a:moveTo>
                  <a:pt x="1244295" y="0"/>
                </a:moveTo>
                <a:cubicBezTo>
                  <a:pt x="960319" y="362888"/>
                  <a:pt x="748952" y="651134"/>
                  <a:pt x="492571" y="1045306"/>
                </a:cubicBezTo>
                <a:cubicBezTo>
                  <a:pt x="528323" y="1070318"/>
                  <a:pt x="549164" y="1094673"/>
                  <a:pt x="542034" y="1105827"/>
                </a:cubicBezTo>
                <a:cubicBezTo>
                  <a:pt x="535713" y="1115715"/>
                  <a:pt x="509015" y="1112721"/>
                  <a:pt x="474644" y="1099925"/>
                </a:cubicBezTo>
                <a:lnTo>
                  <a:pt x="402847" y="1207107"/>
                </a:lnTo>
                <a:lnTo>
                  <a:pt x="414246" y="1216441"/>
                </a:lnTo>
                <a:cubicBezTo>
                  <a:pt x="446631" y="1245651"/>
                  <a:pt x="418056" y="1269781"/>
                  <a:pt x="479016" y="1300261"/>
                </a:cubicBezTo>
                <a:cubicBezTo>
                  <a:pt x="539976" y="1330741"/>
                  <a:pt x="715871" y="1379636"/>
                  <a:pt x="780006" y="1399321"/>
                </a:cubicBezTo>
                <a:cubicBezTo>
                  <a:pt x="844141" y="1419006"/>
                  <a:pt x="861286" y="1442501"/>
                  <a:pt x="863826" y="1418371"/>
                </a:cubicBezTo>
                <a:lnTo>
                  <a:pt x="806676" y="1254541"/>
                </a:lnTo>
                <a:cubicBezTo>
                  <a:pt x="790166" y="1179611"/>
                  <a:pt x="769547" y="1127691"/>
                  <a:pt x="793453" y="1072782"/>
                </a:cubicBezTo>
                <a:cubicBezTo>
                  <a:pt x="817359" y="1017873"/>
                  <a:pt x="873613" y="945035"/>
                  <a:pt x="938682" y="925088"/>
                </a:cubicBezTo>
                <a:cubicBezTo>
                  <a:pt x="954950" y="920101"/>
                  <a:pt x="974345" y="918546"/>
                  <a:pt x="995065" y="919520"/>
                </a:cubicBezTo>
                <a:cubicBezTo>
                  <a:pt x="1057226" y="922441"/>
                  <a:pt x="1102234" y="938541"/>
                  <a:pt x="1138146" y="972153"/>
                </a:cubicBezTo>
                <a:cubicBezTo>
                  <a:pt x="1174058" y="1005765"/>
                  <a:pt x="1195072" y="1062696"/>
                  <a:pt x="1210536" y="1121191"/>
                </a:cubicBezTo>
                <a:cubicBezTo>
                  <a:pt x="1226000" y="1179686"/>
                  <a:pt x="1225216" y="1264066"/>
                  <a:pt x="1230931" y="1323121"/>
                </a:cubicBezTo>
                <a:cubicBezTo>
                  <a:pt x="1236646" y="1382176"/>
                  <a:pt x="1209266" y="1437421"/>
                  <a:pt x="1244826" y="1475521"/>
                </a:cubicBezTo>
                <a:cubicBezTo>
                  <a:pt x="1280386" y="1513621"/>
                  <a:pt x="1381239" y="1503461"/>
                  <a:pt x="1421879" y="1551721"/>
                </a:cubicBezTo>
                <a:cubicBezTo>
                  <a:pt x="1462519" y="1599981"/>
                  <a:pt x="1467375" y="1704121"/>
                  <a:pt x="1488666" y="1765081"/>
                </a:cubicBezTo>
                <a:cubicBezTo>
                  <a:pt x="1509957" y="1826041"/>
                  <a:pt x="1512952" y="1772424"/>
                  <a:pt x="1549626" y="1917481"/>
                </a:cubicBezTo>
                <a:cubicBezTo>
                  <a:pt x="1586300" y="2062538"/>
                  <a:pt x="1645366" y="2484246"/>
                  <a:pt x="1708709" y="2635421"/>
                </a:cubicBezTo>
                <a:cubicBezTo>
                  <a:pt x="1788177" y="2722100"/>
                  <a:pt x="1848045" y="2743193"/>
                  <a:pt x="1909529" y="2796312"/>
                </a:cubicBezTo>
                <a:cubicBezTo>
                  <a:pt x="1971014" y="2849431"/>
                  <a:pt x="1981838" y="2865135"/>
                  <a:pt x="2077616" y="2954136"/>
                </a:cubicBezTo>
                <a:cubicBezTo>
                  <a:pt x="2173394" y="3043137"/>
                  <a:pt x="2309978" y="3213460"/>
                  <a:pt x="2484197" y="3330319"/>
                </a:cubicBezTo>
                <a:cubicBezTo>
                  <a:pt x="2658416" y="3447178"/>
                  <a:pt x="2943414" y="3540242"/>
                  <a:pt x="3122932" y="3655289"/>
                </a:cubicBezTo>
                <a:cubicBezTo>
                  <a:pt x="3302450" y="3770336"/>
                  <a:pt x="3415854" y="3901296"/>
                  <a:pt x="3561306" y="4020601"/>
                </a:cubicBezTo>
                <a:cubicBezTo>
                  <a:pt x="3706758" y="4139906"/>
                  <a:pt x="3924526" y="4265711"/>
                  <a:pt x="3995646" y="4371121"/>
                </a:cubicBezTo>
                <a:cubicBezTo>
                  <a:pt x="4066766" y="4476531"/>
                  <a:pt x="4031321" y="4646007"/>
                  <a:pt x="3988026" y="4653061"/>
                </a:cubicBezTo>
                <a:cubicBezTo>
                  <a:pt x="3931174" y="4662324"/>
                  <a:pt x="3946116" y="4658141"/>
                  <a:pt x="3896586" y="4614961"/>
                </a:cubicBezTo>
                <a:cubicBezTo>
                  <a:pt x="3847056" y="4571781"/>
                  <a:pt x="3757484" y="4455165"/>
                  <a:pt x="3690846" y="4393981"/>
                </a:cubicBezTo>
                <a:cubicBezTo>
                  <a:pt x="3624208" y="4332797"/>
                  <a:pt x="3541434" y="4285956"/>
                  <a:pt x="3496760" y="4247856"/>
                </a:cubicBezTo>
                <a:cubicBezTo>
                  <a:pt x="3452086" y="4209756"/>
                  <a:pt x="3472032" y="4201389"/>
                  <a:pt x="3422801" y="4165381"/>
                </a:cubicBezTo>
                <a:cubicBezTo>
                  <a:pt x="3373570" y="4129373"/>
                  <a:pt x="3356686" y="4110845"/>
                  <a:pt x="3201373" y="4031806"/>
                </a:cubicBezTo>
                <a:cubicBezTo>
                  <a:pt x="3046060" y="3952767"/>
                  <a:pt x="2634756" y="3756375"/>
                  <a:pt x="2490920" y="3691148"/>
                </a:cubicBezTo>
                <a:cubicBezTo>
                  <a:pt x="2440345" y="3668213"/>
                  <a:pt x="2413823" y="3686142"/>
                  <a:pt x="2333141" y="3652151"/>
                </a:cubicBezTo>
                <a:cubicBezTo>
                  <a:pt x="2252459" y="3618160"/>
                  <a:pt x="2132332" y="3543903"/>
                  <a:pt x="2006826" y="3487201"/>
                </a:cubicBezTo>
                <a:cubicBezTo>
                  <a:pt x="1881320" y="3430499"/>
                  <a:pt x="1731236" y="3329721"/>
                  <a:pt x="1580106" y="3311941"/>
                </a:cubicBezTo>
                <a:cubicBezTo>
                  <a:pt x="1433458" y="3325537"/>
                  <a:pt x="1079092" y="3314010"/>
                  <a:pt x="1011366" y="3356336"/>
                </a:cubicBezTo>
                <a:cubicBezTo>
                  <a:pt x="1060448" y="3403400"/>
                  <a:pt x="1114430" y="3432059"/>
                  <a:pt x="1161935" y="3484045"/>
                </a:cubicBezTo>
                <a:cubicBezTo>
                  <a:pt x="1209440" y="3536031"/>
                  <a:pt x="1252471" y="3629483"/>
                  <a:pt x="1296398" y="3668256"/>
                </a:cubicBezTo>
                <a:cubicBezTo>
                  <a:pt x="1340325" y="3707029"/>
                  <a:pt x="1398307" y="3680672"/>
                  <a:pt x="1425496" y="3716685"/>
                </a:cubicBezTo>
                <a:cubicBezTo>
                  <a:pt x="1452685" y="3752698"/>
                  <a:pt x="1442055" y="3799395"/>
                  <a:pt x="1459531" y="3884337"/>
                </a:cubicBezTo>
                <a:cubicBezTo>
                  <a:pt x="1477007" y="3969279"/>
                  <a:pt x="1526766" y="4156639"/>
                  <a:pt x="1530352" y="4226340"/>
                </a:cubicBezTo>
                <a:cubicBezTo>
                  <a:pt x="1533938" y="4296041"/>
                  <a:pt x="1533714" y="4348261"/>
                  <a:pt x="1481046" y="4302541"/>
                </a:cubicBezTo>
                <a:cubicBezTo>
                  <a:pt x="1428378" y="4256821"/>
                  <a:pt x="1303246" y="4049811"/>
                  <a:pt x="1214346" y="3952021"/>
                </a:cubicBezTo>
                <a:cubicBezTo>
                  <a:pt x="1125446" y="3854231"/>
                  <a:pt x="1077186" y="3817401"/>
                  <a:pt x="947646" y="3715801"/>
                </a:cubicBezTo>
                <a:cubicBezTo>
                  <a:pt x="818106" y="3614201"/>
                  <a:pt x="523466" y="3449101"/>
                  <a:pt x="437106" y="3342421"/>
                </a:cubicBezTo>
                <a:cubicBezTo>
                  <a:pt x="350746" y="3235741"/>
                  <a:pt x="379134" y="3168207"/>
                  <a:pt x="429486" y="3075721"/>
                </a:cubicBezTo>
                <a:cubicBezTo>
                  <a:pt x="503191" y="2940341"/>
                  <a:pt x="939429" y="2994963"/>
                  <a:pt x="1196417" y="2814399"/>
                </a:cubicBezTo>
                <a:cubicBezTo>
                  <a:pt x="1211358" y="2786234"/>
                  <a:pt x="1197836" y="2725051"/>
                  <a:pt x="1169074" y="2637795"/>
                </a:cubicBezTo>
                <a:cubicBezTo>
                  <a:pt x="1140312" y="2550539"/>
                  <a:pt x="1084915" y="2386682"/>
                  <a:pt x="1023846" y="2290861"/>
                </a:cubicBezTo>
                <a:cubicBezTo>
                  <a:pt x="956237" y="2184779"/>
                  <a:pt x="948169" y="2050308"/>
                  <a:pt x="924786" y="2001301"/>
                </a:cubicBezTo>
                <a:cubicBezTo>
                  <a:pt x="878991" y="2037459"/>
                  <a:pt x="854263" y="2051354"/>
                  <a:pt x="798383" y="2064054"/>
                </a:cubicBezTo>
                <a:cubicBezTo>
                  <a:pt x="742503" y="2076754"/>
                  <a:pt x="661149" y="2068910"/>
                  <a:pt x="589506" y="2077501"/>
                </a:cubicBezTo>
                <a:cubicBezTo>
                  <a:pt x="517863" y="2086092"/>
                  <a:pt x="432026" y="2154971"/>
                  <a:pt x="368526" y="2115601"/>
                </a:cubicBezTo>
                <a:cubicBezTo>
                  <a:pt x="305026" y="2076231"/>
                  <a:pt x="242478" y="1923831"/>
                  <a:pt x="208506" y="1841281"/>
                </a:cubicBezTo>
                <a:cubicBezTo>
                  <a:pt x="174534" y="1758731"/>
                  <a:pt x="181201" y="1668561"/>
                  <a:pt x="164691" y="1620301"/>
                </a:cubicBezTo>
                <a:cubicBezTo>
                  <a:pt x="160564" y="1608236"/>
                  <a:pt x="155940" y="1599584"/>
                  <a:pt x="151103" y="1592976"/>
                </a:cubicBezTo>
                <a:cubicBezTo>
                  <a:pt x="151083" y="1592956"/>
                  <a:pt x="151063" y="1592935"/>
                  <a:pt x="151043" y="1592915"/>
                </a:cubicBezTo>
                <a:lnTo>
                  <a:pt x="95320" y="1680262"/>
                </a:lnTo>
                <a:lnTo>
                  <a:pt x="93100" y="1679167"/>
                </a:lnTo>
                <a:cubicBezTo>
                  <a:pt x="79631" y="1699736"/>
                  <a:pt x="50476" y="1707757"/>
                  <a:pt x="26784" y="1697126"/>
                </a:cubicBezTo>
                <a:cubicBezTo>
                  <a:pt x="2252" y="1686118"/>
                  <a:pt x="-7132" y="1659281"/>
                  <a:pt x="5823" y="1637185"/>
                </a:cubicBezTo>
                <a:cubicBezTo>
                  <a:pt x="5985" y="1636907"/>
                  <a:pt x="6151" y="1636631"/>
                  <a:pt x="6401" y="1636398"/>
                </a:cubicBezTo>
                <a:lnTo>
                  <a:pt x="5456" y="1635932"/>
                </a:lnTo>
                <a:lnTo>
                  <a:pt x="88087" y="1498257"/>
                </a:lnTo>
                <a:lnTo>
                  <a:pt x="82613" y="1479391"/>
                </a:lnTo>
                <a:cubicBezTo>
                  <a:pt x="80772" y="1471949"/>
                  <a:pt x="79496" y="1465361"/>
                  <a:pt x="78966" y="1460281"/>
                </a:cubicBezTo>
                <a:cubicBezTo>
                  <a:pt x="76849" y="1439961"/>
                  <a:pt x="92935" y="1438691"/>
                  <a:pt x="96745" y="1429801"/>
                </a:cubicBezTo>
                <a:cubicBezTo>
                  <a:pt x="100555" y="1420911"/>
                  <a:pt x="98863" y="1414561"/>
                  <a:pt x="101826" y="1406941"/>
                </a:cubicBezTo>
                <a:cubicBezTo>
                  <a:pt x="104789" y="1399321"/>
                  <a:pt x="117912" y="1396781"/>
                  <a:pt x="122145" y="1389161"/>
                </a:cubicBezTo>
                <a:cubicBezTo>
                  <a:pt x="126378" y="1381541"/>
                  <a:pt x="123416" y="1370111"/>
                  <a:pt x="127226" y="1361221"/>
                </a:cubicBezTo>
                <a:cubicBezTo>
                  <a:pt x="131036" y="1352331"/>
                  <a:pt x="147545" y="1344288"/>
                  <a:pt x="152625" y="1335821"/>
                </a:cubicBezTo>
                <a:cubicBezTo>
                  <a:pt x="157705" y="1327354"/>
                  <a:pt x="154743" y="1318041"/>
                  <a:pt x="157706" y="1310421"/>
                </a:cubicBezTo>
                <a:cubicBezTo>
                  <a:pt x="160669" y="1302801"/>
                  <a:pt x="172945" y="1301954"/>
                  <a:pt x="178025" y="1295181"/>
                </a:cubicBezTo>
                <a:cubicBezTo>
                  <a:pt x="183105" y="1288408"/>
                  <a:pt x="178660" y="1279729"/>
                  <a:pt x="180565" y="1272321"/>
                </a:cubicBezTo>
                <a:cubicBezTo>
                  <a:pt x="182470" y="1264913"/>
                  <a:pt x="193265" y="1264278"/>
                  <a:pt x="197075" y="1258351"/>
                </a:cubicBezTo>
                <a:cubicBezTo>
                  <a:pt x="200885" y="1252424"/>
                  <a:pt x="197711" y="1242052"/>
                  <a:pt x="203426" y="1236761"/>
                </a:cubicBezTo>
                <a:cubicBezTo>
                  <a:pt x="209141" y="1231470"/>
                  <a:pt x="220782" y="1225754"/>
                  <a:pt x="223745" y="1218981"/>
                </a:cubicBezTo>
                <a:cubicBezTo>
                  <a:pt x="226708" y="1212208"/>
                  <a:pt x="219935" y="1202894"/>
                  <a:pt x="221205" y="1196121"/>
                </a:cubicBezTo>
                <a:cubicBezTo>
                  <a:pt x="222475" y="1189348"/>
                  <a:pt x="238138" y="1186808"/>
                  <a:pt x="241525" y="1180881"/>
                </a:cubicBezTo>
                <a:cubicBezTo>
                  <a:pt x="244912" y="1174954"/>
                  <a:pt x="238986" y="1167334"/>
                  <a:pt x="241526" y="1160561"/>
                </a:cubicBezTo>
                <a:cubicBezTo>
                  <a:pt x="244066" y="1153788"/>
                  <a:pt x="257188" y="1148708"/>
                  <a:pt x="264385" y="1142781"/>
                </a:cubicBezTo>
                <a:cubicBezTo>
                  <a:pt x="271582" y="1136854"/>
                  <a:pt x="259729" y="1112724"/>
                  <a:pt x="284706" y="1125001"/>
                </a:cubicBezTo>
                <a:lnTo>
                  <a:pt x="309167" y="1139328"/>
                </a:lnTo>
                <a:lnTo>
                  <a:pt x="369954" y="1042635"/>
                </a:lnTo>
                <a:cubicBezTo>
                  <a:pt x="340756" y="1020592"/>
                  <a:pt x="324700" y="1000009"/>
                  <a:pt x="331087" y="990018"/>
                </a:cubicBezTo>
                <a:cubicBezTo>
                  <a:pt x="338468" y="978471"/>
                  <a:pt x="373640" y="984491"/>
                  <a:pt x="416424" y="1003067"/>
                </a:cubicBezTo>
                <a:cubicBezTo>
                  <a:pt x="636501" y="682969"/>
                  <a:pt x="843533" y="355820"/>
                  <a:pt x="1126344" y="47041"/>
                </a:cubicBezTo>
                <a:cubicBezTo>
                  <a:pt x="1170833" y="17653"/>
                  <a:pt x="1197239" y="6564"/>
                  <a:pt x="1244295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noAutofit/>
          </a:bodyPr>
          <a:lstStyle/>
          <a:p>
            <a:pPr marL="0" marR="0" lvl="0" indent="0" algn="ctr" defTabSz="93218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3" name="Picture 2" descr="http://fasttrack.office.com/Media/Default/images/src/pilotIcon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37" y="1793865"/>
            <a:ext cx="941561" cy="472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6" descr="http://fasttrack.office.com/Media/Default/images/src/EnhanceIc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507" y="1793865"/>
            <a:ext cx="942548" cy="57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9" grpId="0" animBg="1"/>
      <p:bldP spid="7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5F8B0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4" name="Freeform 14"/>
          <p:cNvSpPr>
            <a:spLocks noEditPoints="1"/>
          </p:cNvSpPr>
          <p:nvPr/>
        </p:nvSpPr>
        <p:spPr bwMode="black">
          <a:xfrm>
            <a:off x="487752" y="600796"/>
            <a:ext cx="627864" cy="557653"/>
          </a:xfrm>
          <a:custGeom>
            <a:avLst/>
            <a:gdLst>
              <a:gd name="T0" fmla="*/ 195 w 300"/>
              <a:gd name="T1" fmla="*/ 217 h 266"/>
              <a:gd name="T2" fmla="*/ 196 w 300"/>
              <a:gd name="T3" fmla="*/ 227 h 266"/>
              <a:gd name="T4" fmla="*/ 149 w 300"/>
              <a:gd name="T5" fmla="*/ 266 h 266"/>
              <a:gd name="T6" fmla="*/ 8 w 300"/>
              <a:gd name="T7" fmla="*/ 116 h 266"/>
              <a:gd name="T8" fmla="*/ 0 w 300"/>
              <a:gd name="T9" fmla="*/ 78 h 266"/>
              <a:gd name="T10" fmla="*/ 78 w 300"/>
              <a:gd name="T11" fmla="*/ 0 h 266"/>
              <a:gd name="T12" fmla="*/ 150 w 300"/>
              <a:gd name="T13" fmla="*/ 48 h 266"/>
              <a:gd name="T14" fmla="*/ 222 w 300"/>
              <a:gd name="T15" fmla="*/ 0 h 266"/>
              <a:gd name="T16" fmla="*/ 300 w 300"/>
              <a:gd name="T17" fmla="*/ 78 h 266"/>
              <a:gd name="T18" fmla="*/ 292 w 300"/>
              <a:gd name="T19" fmla="*/ 116 h 266"/>
              <a:gd name="T20" fmla="*/ 262 w 300"/>
              <a:gd name="T21" fmla="*/ 162 h 266"/>
              <a:gd name="T22" fmla="*/ 251 w 300"/>
              <a:gd name="T23" fmla="*/ 161 h 266"/>
              <a:gd name="T24" fmla="*/ 195 w 300"/>
              <a:gd name="T25" fmla="*/ 217 h 266"/>
              <a:gd name="T26" fmla="*/ 257 w 300"/>
              <a:gd name="T27" fmla="*/ 211 h 266"/>
              <a:gd name="T28" fmla="*/ 275 w 300"/>
              <a:gd name="T29" fmla="*/ 211 h 266"/>
              <a:gd name="T30" fmla="*/ 275 w 300"/>
              <a:gd name="T31" fmla="*/ 223 h 266"/>
              <a:gd name="T32" fmla="*/ 257 w 300"/>
              <a:gd name="T33" fmla="*/ 223 h 266"/>
              <a:gd name="T34" fmla="*/ 257 w 300"/>
              <a:gd name="T35" fmla="*/ 241 h 266"/>
              <a:gd name="T36" fmla="*/ 245 w 300"/>
              <a:gd name="T37" fmla="*/ 241 h 266"/>
              <a:gd name="T38" fmla="*/ 245 w 300"/>
              <a:gd name="T39" fmla="*/ 223 h 266"/>
              <a:gd name="T40" fmla="*/ 227 w 300"/>
              <a:gd name="T41" fmla="*/ 223 h 266"/>
              <a:gd name="T42" fmla="*/ 227 w 300"/>
              <a:gd name="T43" fmla="*/ 211 h 266"/>
              <a:gd name="T44" fmla="*/ 245 w 300"/>
              <a:gd name="T45" fmla="*/ 211 h 266"/>
              <a:gd name="T46" fmla="*/ 245 w 300"/>
              <a:gd name="T47" fmla="*/ 193 h 266"/>
              <a:gd name="T48" fmla="*/ 257 w 300"/>
              <a:gd name="T49" fmla="*/ 193 h 266"/>
              <a:gd name="T50" fmla="*/ 257 w 300"/>
              <a:gd name="T51" fmla="*/ 211 h 266"/>
              <a:gd name="T52" fmla="*/ 251 w 300"/>
              <a:gd name="T53" fmla="*/ 258 h 266"/>
              <a:gd name="T54" fmla="*/ 210 w 300"/>
              <a:gd name="T55" fmla="*/ 217 h 266"/>
              <a:gd name="T56" fmla="*/ 251 w 300"/>
              <a:gd name="T57" fmla="*/ 176 h 266"/>
              <a:gd name="T58" fmla="*/ 293 w 300"/>
              <a:gd name="T59" fmla="*/ 217 h 266"/>
              <a:gd name="T60" fmla="*/ 251 w 300"/>
              <a:gd name="T61" fmla="*/ 258 h 266"/>
              <a:gd name="T62" fmla="*/ 251 w 300"/>
              <a:gd name="T63" fmla="*/ 168 h 266"/>
              <a:gd name="T64" fmla="*/ 203 w 300"/>
              <a:gd name="T65" fmla="*/ 217 h 266"/>
              <a:gd name="T66" fmla="*/ 251 w 300"/>
              <a:gd name="T67" fmla="*/ 266 h 266"/>
              <a:gd name="T68" fmla="*/ 300 w 300"/>
              <a:gd name="T69" fmla="*/ 217 h 266"/>
              <a:gd name="T70" fmla="*/ 251 w 300"/>
              <a:gd name="T71" fmla="*/ 168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00" h="266">
                <a:moveTo>
                  <a:pt x="195" y="217"/>
                </a:moveTo>
                <a:cubicBezTo>
                  <a:pt x="195" y="221"/>
                  <a:pt x="195" y="224"/>
                  <a:pt x="196" y="227"/>
                </a:cubicBezTo>
                <a:cubicBezTo>
                  <a:pt x="170" y="250"/>
                  <a:pt x="149" y="266"/>
                  <a:pt x="149" y="266"/>
                </a:cubicBezTo>
                <a:cubicBezTo>
                  <a:pt x="149" y="266"/>
                  <a:pt x="32" y="176"/>
                  <a:pt x="8" y="116"/>
                </a:cubicBezTo>
                <a:cubicBezTo>
                  <a:pt x="4" y="106"/>
                  <a:pt x="0" y="90"/>
                  <a:pt x="0" y="78"/>
                </a:cubicBezTo>
                <a:cubicBezTo>
                  <a:pt x="0" y="35"/>
                  <a:pt x="35" y="0"/>
                  <a:pt x="78" y="0"/>
                </a:cubicBezTo>
                <a:cubicBezTo>
                  <a:pt x="110" y="0"/>
                  <a:pt x="138" y="20"/>
                  <a:pt x="150" y="48"/>
                </a:cubicBezTo>
                <a:cubicBezTo>
                  <a:pt x="162" y="20"/>
                  <a:pt x="190" y="0"/>
                  <a:pt x="222" y="0"/>
                </a:cubicBezTo>
                <a:cubicBezTo>
                  <a:pt x="265" y="0"/>
                  <a:pt x="300" y="35"/>
                  <a:pt x="300" y="78"/>
                </a:cubicBezTo>
                <a:cubicBezTo>
                  <a:pt x="300" y="91"/>
                  <a:pt x="296" y="106"/>
                  <a:pt x="292" y="116"/>
                </a:cubicBezTo>
                <a:cubicBezTo>
                  <a:pt x="287" y="130"/>
                  <a:pt x="275" y="146"/>
                  <a:pt x="262" y="162"/>
                </a:cubicBezTo>
                <a:cubicBezTo>
                  <a:pt x="258" y="161"/>
                  <a:pt x="255" y="161"/>
                  <a:pt x="251" y="161"/>
                </a:cubicBezTo>
                <a:cubicBezTo>
                  <a:pt x="220" y="161"/>
                  <a:pt x="195" y="186"/>
                  <a:pt x="195" y="217"/>
                </a:cubicBezTo>
                <a:close/>
                <a:moveTo>
                  <a:pt x="257" y="211"/>
                </a:moveTo>
                <a:cubicBezTo>
                  <a:pt x="275" y="211"/>
                  <a:pt x="275" y="211"/>
                  <a:pt x="275" y="211"/>
                </a:cubicBezTo>
                <a:cubicBezTo>
                  <a:pt x="275" y="223"/>
                  <a:pt x="275" y="223"/>
                  <a:pt x="275" y="223"/>
                </a:cubicBezTo>
                <a:cubicBezTo>
                  <a:pt x="257" y="223"/>
                  <a:pt x="257" y="223"/>
                  <a:pt x="257" y="223"/>
                </a:cubicBezTo>
                <a:cubicBezTo>
                  <a:pt x="257" y="241"/>
                  <a:pt x="257" y="241"/>
                  <a:pt x="257" y="241"/>
                </a:cubicBezTo>
                <a:cubicBezTo>
                  <a:pt x="245" y="241"/>
                  <a:pt x="245" y="241"/>
                  <a:pt x="245" y="241"/>
                </a:cubicBezTo>
                <a:cubicBezTo>
                  <a:pt x="245" y="223"/>
                  <a:pt x="245" y="223"/>
                  <a:pt x="245" y="223"/>
                </a:cubicBezTo>
                <a:cubicBezTo>
                  <a:pt x="227" y="223"/>
                  <a:pt x="227" y="223"/>
                  <a:pt x="227" y="223"/>
                </a:cubicBezTo>
                <a:cubicBezTo>
                  <a:pt x="227" y="211"/>
                  <a:pt x="227" y="211"/>
                  <a:pt x="227" y="211"/>
                </a:cubicBezTo>
                <a:cubicBezTo>
                  <a:pt x="245" y="211"/>
                  <a:pt x="245" y="211"/>
                  <a:pt x="245" y="211"/>
                </a:cubicBezTo>
                <a:cubicBezTo>
                  <a:pt x="245" y="193"/>
                  <a:pt x="245" y="193"/>
                  <a:pt x="245" y="193"/>
                </a:cubicBezTo>
                <a:cubicBezTo>
                  <a:pt x="257" y="193"/>
                  <a:pt x="257" y="193"/>
                  <a:pt x="257" y="193"/>
                </a:cubicBezTo>
                <a:lnTo>
                  <a:pt x="257" y="211"/>
                </a:lnTo>
                <a:close/>
                <a:moveTo>
                  <a:pt x="251" y="258"/>
                </a:moveTo>
                <a:cubicBezTo>
                  <a:pt x="229" y="258"/>
                  <a:pt x="210" y="240"/>
                  <a:pt x="210" y="217"/>
                </a:cubicBezTo>
                <a:cubicBezTo>
                  <a:pt x="210" y="194"/>
                  <a:pt x="229" y="176"/>
                  <a:pt x="251" y="176"/>
                </a:cubicBezTo>
                <a:cubicBezTo>
                  <a:pt x="274" y="176"/>
                  <a:pt x="293" y="194"/>
                  <a:pt x="293" y="217"/>
                </a:cubicBezTo>
                <a:cubicBezTo>
                  <a:pt x="293" y="240"/>
                  <a:pt x="274" y="258"/>
                  <a:pt x="251" y="258"/>
                </a:cubicBezTo>
                <a:close/>
                <a:moveTo>
                  <a:pt x="251" y="168"/>
                </a:moveTo>
                <a:cubicBezTo>
                  <a:pt x="224" y="168"/>
                  <a:pt x="203" y="190"/>
                  <a:pt x="203" y="217"/>
                </a:cubicBezTo>
                <a:cubicBezTo>
                  <a:pt x="203" y="244"/>
                  <a:pt x="224" y="266"/>
                  <a:pt x="251" y="266"/>
                </a:cubicBezTo>
                <a:cubicBezTo>
                  <a:pt x="278" y="266"/>
                  <a:pt x="300" y="244"/>
                  <a:pt x="300" y="217"/>
                </a:cubicBezTo>
                <a:cubicBezTo>
                  <a:pt x="300" y="190"/>
                  <a:pt x="278" y="168"/>
                  <a:pt x="251" y="16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/>
          <a:lstStyle/>
          <a:p>
            <a:endParaRPr lang="en-US" sz="1400" dirty="0">
              <a:latin typeface="Segoe UI" panose="020B0502040204020203" pitchFamily="34" charset="0"/>
            </a:endParaRPr>
          </a:p>
        </p:txBody>
      </p:sp>
      <p:sp>
        <p:nvSpPr>
          <p:cNvPr id="123" name="Freeform 35"/>
          <p:cNvSpPr/>
          <p:nvPr/>
        </p:nvSpPr>
        <p:spPr bwMode="black">
          <a:xfrm>
            <a:off x="1795387" y="607127"/>
            <a:ext cx="529893" cy="544990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</a:endParaRPr>
          </a:p>
        </p:txBody>
      </p:sp>
      <p:pic>
        <p:nvPicPr>
          <p:cNvPr id="131" name="Picture 3" descr="C:\Users\chrisw\Desktop\Kinect Hand.png">
            <a:hlinkClick r:id="rId1"/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00" t="39359" r="23215" b="-2658"/>
          <a:stretch>
            <a:fillRect/>
          </a:stretch>
        </p:blipFill>
        <p:spPr bwMode="black">
          <a:xfrm>
            <a:off x="4203066" y="595911"/>
            <a:ext cx="809994" cy="72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Freeform 11"/>
          <p:cNvSpPr>
            <a:spLocks noChangeAspect="1" noEditPoints="1"/>
          </p:cNvSpPr>
          <p:nvPr/>
        </p:nvSpPr>
        <p:spPr bwMode="auto">
          <a:xfrm>
            <a:off x="3094213" y="652549"/>
            <a:ext cx="483418" cy="512223"/>
          </a:xfrm>
          <a:custGeom>
            <a:avLst/>
            <a:gdLst>
              <a:gd name="T0" fmla="*/ 175 w 327"/>
              <a:gd name="T1" fmla="*/ 160 h 346"/>
              <a:gd name="T2" fmla="*/ 184 w 327"/>
              <a:gd name="T3" fmla="*/ 149 h 346"/>
              <a:gd name="T4" fmla="*/ 192 w 327"/>
              <a:gd name="T5" fmla="*/ 160 h 346"/>
              <a:gd name="T6" fmla="*/ 192 w 327"/>
              <a:gd name="T7" fmla="*/ 215 h 346"/>
              <a:gd name="T8" fmla="*/ 198 w 327"/>
              <a:gd name="T9" fmla="*/ 221 h 346"/>
              <a:gd name="T10" fmla="*/ 204 w 327"/>
              <a:gd name="T11" fmla="*/ 215 h 346"/>
              <a:gd name="T12" fmla="*/ 204 w 327"/>
              <a:gd name="T13" fmla="*/ 160 h 346"/>
              <a:gd name="T14" fmla="*/ 213 w 327"/>
              <a:gd name="T15" fmla="*/ 149 h 346"/>
              <a:gd name="T16" fmla="*/ 221 w 327"/>
              <a:gd name="T17" fmla="*/ 160 h 346"/>
              <a:gd name="T18" fmla="*/ 221 w 327"/>
              <a:gd name="T19" fmla="*/ 215 h 346"/>
              <a:gd name="T20" fmla="*/ 227 w 327"/>
              <a:gd name="T21" fmla="*/ 221 h 346"/>
              <a:gd name="T22" fmla="*/ 233 w 327"/>
              <a:gd name="T23" fmla="*/ 215 h 346"/>
              <a:gd name="T24" fmla="*/ 233 w 327"/>
              <a:gd name="T25" fmla="*/ 174 h 346"/>
              <a:gd name="T26" fmla="*/ 241 w 327"/>
              <a:gd name="T27" fmla="*/ 163 h 346"/>
              <a:gd name="T28" fmla="*/ 250 w 327"/>
              <a:gd name="T29" fmla="*/ 174 h 346"/>
              <a:gd name="T30" fmla="*/ 250 w 327"/>
              <a:gd name="T31" fmla="*/ 281 h 346"/>
              <a:gd name="T32" fmla="*/ 185 w 327"/>
              <a:gd name="T33" fmla="*/ 346 h 346"/>
              <a:gd name="T34" fmla="*/ 125 w 327"/>
              <a:gd name="T35" fmla="*/ 307 h 346"/>
              <a:gd name="T36" fmla="*/ 78 w 327"/>
              <a:gd name="T37" fmla="*/ 183 h 346"/>
              <a:gd name="T38" fmla="*/ 82 w 327"/>
              <a:gd name="T39" fmla="*/ 174 h 346"/>
              <a:gd name="T40" fmla="*/ 85 w 327"/>
              <a:gd name="T41" fmla="*/ 172 h 346"/>
              <a:gd name="T42" fmla="*/ 94 w 327"/>
              <a:gd name="T43" fmla="*/ 175 h 346"/>
              <a:gd name="T44" fmla="*/ 136 w 327"/>
              <a:gd name="T45" fmla="*/ 252 h 346"/>
              <a:gd name="T46" fmla="*/ 142 w 327"/>
              <a:gd name="T47" fmla="*/ 255 h 346"/>
              <a:gd name="T48" fmla="*/ 147 w 327"/>
              <a:gd name="T49" fmla="*/ 249 h 346"/>
              <a:gd name="T50" fmla="*/ 147 w 327"/>
              <a:gd name="T51" fmla="*/ 84 h 346"/>
              <a:gd name="T52" fmla="*/ 155 w 327"/>
              <a:gd name="T53" fmla="*/ 74 h 346"/>
              <a:gd name="T54" fmla="*/ 164 w 327"/>
              <a:gd name="T55" fmla="*/ 90 h 346"/>
              <a:gd name="T56" fmla="*/ 164 w 327"/>
              <a:gd name="T57" fmla="*/ 215 h 346"/>
              <a:gd name="T58" fmla="*/ 170 w 327"/>
              <a:gd name="T59" fmla="*/ 221 h 346"/>
              <a:gd name="T60" fmla="*/ 175 w 327"/>
              <a:gd name="T61" fmla="*/ 215 h 346"/>
              <a:gd name="T62" fmla="*/ 175 w 327"/>
              <a:gd name="T63" fmla="*/ 160 h 346"/>
              <a:gd name="T64" fmla="*/ 268 w 327"/>
              <a:gd name="T65" fmla="*/ 171 h 346"/>
              <a:gd name="T66" fmla="*/ 241 w 327"/>
              <a:gd name="T67" fmla="*/ 146 h 346"/>
              <a:gd name="T68" fmla="*/ 236 w 327"/>
              <a:gd name="T69" fmla="*/ 146 h 346"/>
              <a:gd name="T70" fmla="*/ 213 w 327"/>
              <a:gd name="T71" fmla="*/ 131 h 346"/>
              <a:gd name="T72" fmla="*/ 198 w 327"/>
              <a:gd name="T73" fmla="*/ 136 h 346"/>
              <a:gd name="T74" fmla="*/ 184 w 327"/>
              <a:gd name="T75" fmla="*/ 131 h 346"/>
              <a:gd name="T76" fmla="*/ 181 w 327"/>
              <a:gd name="T77" fmla="*/ 131 h 346"/>
              <a:gd name="T78" fmla="*/ 181 w 327"/>
              <a:gd name="T79" fmla="*/ 84 h 346"/>
              <a:gd name="T80" fmla="*/ 155 w 327"/>
              <a:gd name="T81" fmla="*/ 56 h 346"/>
              <a:gd name="T82" fmla="*/ 129 w 327"/>
              <a:gd name="T83" fmla="*/ 84 h 346"/>
              <a:gd name="T84" fmla="*/ 129 w 327"/>
              <a:gd name="T85" fmla="*/ 171 h 346"/>
              <a:gd name="T86" fmla="*/ 112 w 327"/>
              <a:gd name="T87" fmla="*/ 171 h 346"/>
              <a:gd name="T88" fmla="*/ 110 w 327"/>
              <a:gd name="T89" fmla="*/ 167 h 346"/>
              <a:gd name="T90" fmla="*/ 88 w 327"/>
              <a:gd name="T91" fmla="*/ 154 h 346"/>
              <a:gd name="T92" fmla="*/ 77 w 327"/>
              <a:gd name="T93" fmla="*/ 156 h 346"/>
              <a:gd name="T94" fmla="*/ 74 w 327"/>
              <a:gd name="T95" fmla="*/ 158 h 346"/>
              <a:gd name="T96" fmla="*/ 61 w 327"/>
              <a:gd name="T97" fmla="*/ 171 h 346"/>
              <a:gd name="T98" fmla="*/ 29 w 327"/>
              <a:gd name="T99" fmla="*/ 171 h 346"/>
              <a:gd name="T100" fmla="*/ 0 w 327"/>
              <a:gd name="T101" fmla="*/ 142 h 346"/>
              <a:gd name="T102" fmla="*/ 22 w 327"/>
              <a:gd name="T103" fmla="*/ 114 h 346"/>
              <a:gd name="T104" fmla="*/ 29 w 327"/>
              <a:gd name="T105" fmla="*/ 108 h 346"/>
              <a:gd name="T106" fmla="*/ 66 w 327"/>
              <a:gd name="T107" fmla="*/ 79 h 346"/>
              <a:gd name="T108" fmla="*/ 75 w 327"/>
              <a:gd name="T109" fmla="*/ 70 h 346"/>
              <a:gd name="T110" fmla="*/ 149 w 327"/>
              <a:gd name="T111" fmla="*/ 0 h 346"/>
              <a:gd name="T112" fmla="*/ 215 w 327"/>
              <a:gd name="T113" fmla="*/ 42 h 346"/>
              <a:gd name="T114" fmla="*/ 221 w 327"/>
              <a:gd name="T115" fmla="*/ 47 h 346"/>
              <a:gd name="T116" fmla="*/ 229 w 327"/>
              <a:gd name="T117" fmla="*/ 46 h 346"/>
              <a:gd name="T118" fmla="*/ 261 w 327"/>
              <a:gd name="T119" fmla="*/ 38 h 346"/>
              <a:gd name="T120" fmla="*/ 327 w 327"/>
              <a:gd name="T121" fmla="*/ 105 h 346"/>
              <a:gd name="T122" fmla="*/ 268 w 327"/>
              <a:gd name="T123" fmla="*/ 17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7" h="346">
                <a:moveTo>
                  <a:pt x="175" y="160"/>
                </a:moveTo>
                <a:cubicBezTo>
                  <a:pt x="175" y="154"/>
                  <a:pt x="179" y="149"/>
                  <a:pt x="184" y="149"/>
                </a:cubicBezTo>
                <a:cubicBezTo>
                  <a:pt x="189" y="149"/>
                  <a:pt x="192" y="154"/>
                  <a:pt x="192" y="160"/>
                </a:cubicBezTo>
                <a:cubicBezTo>
                  <a:pt x="192" y="215"/>
                  <a:pt x="192" y="215"/>
                  <a:pt x="192" y="215"/>
                </a:cubicBezTo>
                <a:cubicBezTo>
                  <a:pt x="192" y="218"/>
                  <a:pt x="195" y="221"/>
                  <a:pt x="198" y="221"/>
                </a:cubicBezTo>
                <a:cubicBezTo>
                  <a:pt x="201" y="221"/>
                  <a:pt x="204" y="218"/>
                  <a:pt x="204" y="215"/>
                </a:cubicBezTo>
                <a:cubicBezTo>
                  <a:pt x="204" y="160"/>
                  <a:pt x="204" y="160"/>
                  <a:pt x="204" y="160"/>
                </a:cubicBezTo>
                <a:cubicBezTo>
                  <a:pt x="204" y="154"/>
                  <a:pt x="208" y="149"/>
                  <a:pt x="213" y="149"/>
                </a:cubicBezTo>
                <a:cubicBezTo>
                  <a:pt x="217" y="149"/>
                  <a:pt x="221" y="154"/>
                  <a:pt x="221" y="160"/>
                </a:cubicBezTo>
                <a:cubicBezTo>
                  <a:pt x="221" y="215"/>
                  <a:pt x="221" y="215"/>
                  <a:pt x="221" y="215"/>
                </a:cubicBezTo>
                <a:cubicBezTo>
                  <a:pt x="221" y="218"/>
                  <a:pt x="224" y="221"/>
                  <a:pt x="227" y="221"/>
                </a:cubicBezTo>
                <a:cubicBezTo>
                  <a:pt x="230" y="221"/>
                  <a:pt x="233" y="218"/>
                  <a:pt x="233" y="215"/>
                </a:cubicBezTo>
                <a:cubicBezTo>
                  <a:pt x="233" y="174"/>
                  <a:pt x="233" y="174"/>
                  <a:pt x="233" y="174"/>
                </a:cubicBezTo>
                <a:cubicBezTo>
                  <a:pt x="233" y="168"/>
                  <a:pt x="237" y="163"/>
                  <a:pt x="241" y="163"/>
                </a:cubicBezTo>
                <a:cubicBezTo>
                  <a:pt x="246" y="163"/>
                  <a:pt x="250" y="168"/>
                  <a:pt x="250" y="174"/>
                </a:cubicBezTo>
                <a:cubicBezTo>
                  <a:pt x="250" y="281"/>
                  <a:pt x="250" y="281"/>
                  <a:pt x="250" y="281"/>
                </a:cubicBezTo>
                <a:cubicBezTo>
                  <a:pt x="250" y="317"/>
                  <a:pt x="221" y="346"/>
                  <a:pt x="185" y="346"/>
                </a:cubicBezTo>
                <a:cubicBezTo>
                  <a:pt x="159" y="346"/>
                  <a:pt x="135" y="331"/>
                  <a:pt x="125" y="307"/>
                </a:cubicBezTo>
                <a:cubicBezTo>
                  <a:pt x="78" y="183"/>
                  <a:pt x="78" y="183"/>
                  <a:pt x="78" y="183"/>
                </a:cubicBezTo>
                <a:cubicBezTo>
                  <a:pt x="76" y="180"/>
                  <a:pt x="78" y="176"/>
                  <a:pt x="82" y="174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8" y="171"/>
                  <a:pt x="92" y="172"/>
                  <a:pt x="94" y="175"/>
                </a:cubicBezTo>
                <a:cubicBezTo>
                  <a:pt x="136" y="252"/>
                  <a:pt x="136" y="252"/>
                  <a:pt x="136" y="252"/>
                </a:cubicBezTo>
                <a:cubicBezTo>
                  <a:pt x="137" y="254"/>
                  <a:pt x="140" y="255"/>
                  <a:pt x="142" y="255"/>
                </a:cubicBezTo>
                <a:cubicBezTo>
                  <a:pt x="145" y="254"/>
                  <a:pt x="147" y="252"/>
                  <a:pt x="147" y="249"/>
                </a:cubicBezTo>
                <a:cubicBezTo>
                  <a:pt x="147" y="84"/>
                  <a:pt x="147" y="84"/>
                  <a:pt x="147" y="84"/>
                </a:cubicBezTo>
                <a:cubicBezTo>
                  <a:pt x="147" y="78"/>
                  <a:pt x="150" y="74"/>
                  <a:pt x="155" y="74"/>
                </a:cubicBezTo>
                <a:cubicBezTo>
                  <a:pt x="160" y="74"/>
                  <a:pt x="164" y="78"/>
                  <a:pt x="164" y="90"/>
                </a:cubicBezTo>
                <a:cubicBezTo>
                  <a:pt x="164" y="215"/>
                  <a:pt x="164" y="215"/>
                  <a:pt x="164" y="215"/>
                </a:cubicBezTo>
                <a:cubicBezTo>
                  <a:pt x="164" y="218"/>
                  <a:pt x="166" y="221"/>
                  <a:pt x="170" y="221"/>
                </a:cubicBezTo>
                <a:cubicBezTo>
                  <a:pt x="173" y="221"/>
                  <a:pt x="175" y="218"/>
                  <a:pt x="175" y="215"/>
                </a:cubicBezTo>
                <a:lnTo>
                  <a:pt x="175" y="160"/>
                </a:lnTo>
                <a:close/>
                <a:moveTo>
                  <a:pt x="268" y="171"/>
                </a:moveTo>
                <a:cubicBezTo>
                  <a:pt x="266" y="157"/>
                  <a:pt x="255" y="146"/>
                  <a:pt x="241" y="146"/>
                </a:cubicBezTo>
                <a:cubicBezTo>
                  <a:pt x="240" y="146"/>
                  <a:pt x="238" y="146"/>
                  <a:pt x="236" y="146"/>
                </a:cubicBezTo>
                <a:cubicBezTo>
                  <a:pt x="231" y="137"/>
                  <a:pt x="223" y="131"/>
                  <a:pt x="213" y="131"/>
                </a:cubicBezTo>
                <a:cubicBezTo>
                  <a:pt x="207" y="131"/>
                  <a:pt x="203" y="133"/>
                  <a:pt x="198" y="136"/>
                </a:cubicBezTo>
                <a:cubicBezTo>
                  <a:pt x="194" y="133"/>
                  <a:pt x="189" y="131"/>
                  <a:pt x="184" y="131"/>
                </a:cubicBezTo>
                <a:cubicBezTo>
                  <a:pt x="183" y="131"/>
                  <a:pt x="182" y="131"/>
                  <a:pt x="181" y="131"/>
                </a:cubicBezTo>
                <a:cubicBezTo>
                  <a:pt x="181" y="84"/>
                  <a:pt x="181" y="84"/>
                  <a:pt x="181" y="84"/>
                </a:cubicBezTo>
                <a:cubicBezTo>
                  <a:pt x="181" y="69"/>
                  <a:pt x="170" y="56"/>
                  <a:pt x="155" y="56"/>
                </a:cubicBezTo>
                <a:cubicBezTo>
                  <a:pt x="141" y="56"/>
                  <a:pt x="129" y="69"/>
                  <a:pt x="129" y="84"/>
                </a:cubicBezTo>
                <a:cubicBezTo>
                  <a:pt x="129" y="171"/>
                  <a:pt x="129" y="171"/>
                  <a:pt x="129" y="171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10" y="167"/>
                  <a:pt x="110" y="167"/>
                  <a:pt x="110" y="167"/>
                </a:cubicBezTo>
                <a:cubicBezTo>
                  <a:pt x="105" y="159"/>
                  <a:pt x="97" y="154"/>
                  <a:pt x="88" y="154"/>
                </a:cubicBezTo>
                <a:cubicBezTo>
                  <a:pt x="84" y="154"/>
                  <a:pt x="80" y="155"/>
                  <a:pt x="77" y="156"/>
                </a:cubicBezTo>
                <a:cubicBezTo>
                  <a:pt x="74" y="158"/>
                  <a:pt x="74" y="158"/>
                  <a:pt x="74" y="158"/>
                </a:cubicBezTo>
                <a:cubicBezTo>
                  <a:pt x="68" y="161"/>
                  <a:pt x="64" y="166"/>
                  <a:pt x="61" y="171"/>
                </a:cubicBezTo>
                <a:cubicBezTo>
                  <a:pt x="29" y="171"/>
                  <a:pt x="29" y="171"/>
                  <a:pt x="29" y="171"/>
                </a:cubicBezTo>
                <a:cubicBezTo>
                  <a:pt x="13" y="171"/>
                  <a:pt x="0" y="158"/>
                  <a:pt x="0" y="142"/>
                </a:cubicBezTo>
                <a:cubicBezTo>
                  <a:pt x="0" y="129"/>
                  <a:pt x="9" y="117"/>
                  <a:pt x="22" y="114"/>
                </a:cubicBezTo>
                <a:cubicBezTo>
                  <a:pt x="25" y="113"/>
                  <a:pt x="28" y="111"/>
                  <a:pt x="29" y="108"/>
                </a:cubicBezTo>
                <a:cubicBezTo>
                  <a:pt x="35" y="92"/>
                  <a:pt x="49" y="81"/>
                  <a:pt x="66" y="79"/>
                </a:cubicBezTo>
                <a:cubicBezTo>
                  <a:pt x="71" y="79"/>
                  <a:pt x="75" y="74"/>
                  <a:pt x="75" y="70"/>
                </a:cubicBezTo>
                <a:cubicBezTo>
                  <a:pt x="77" y="30"/>
                  <a:pt x="109" y="0"/>
                  <a:pt x="149" y="0"/>
                </a:cubicBezTo>
                <a:cubicBezTo>
                  <a:pt x="177" y="0"/>
                  <a:pt x="203" y="16"/>
                  <a:pt x="215" y="42"/>
                </a:cubicBezTo>
                <a:cubicBezTo>
                  <a:pt x="216" y="44"/>
                  <a:pt x="218" y="46"/>
                  <a:pt x="221" y="47"/>
                </a:cubicBezTo>
                <a:cubicBezTo>
                  <a:pt x="224" y="48"/>
                  <a:pt x="227" y="48"/>
                  <a:pt x="229" y="46"/>
                </a:cubicBezTo>
                <a:cubicBezTo>
                  <a:pt x="239" y="41"/>
                  <a:pt x="250" y="38"/>
                  <a:pt x="261" y="38"/>
                </a:cubicBezTo>
                <a:cubicBezTo>
                  <a:pt x="298" y="38"/>
                  <a:pt x="327" y="68"/>
                  <a:pt x="327" y="105"/>
                </a:cubicBezTo>
                <a:cubicBezTo>
                  <a:pt x="327" y="139"/>
                  <a:pt x="301" y="168"/>
                  <a:pt x="268" y="171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vert="horz" wrap="square" lIns="89619" tIns="44810" rIns="89619" bIns="44810" numCol="1" anchor="t" anchorCtr="0" compatLnSpc="1"/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35" name="Freeform 144"/>
          <p:cNvSpPr>
            <a:spLocks noChangeAspect="1" noEditPoints="1"/>
          </p:cNvSpPr>
          <p:nvPr/>
        </p:nvSpPr>
        <p:spPr bwMode="auto">
          <a:xfrm>
            <a:off x="5447535" y="603584"/>
            <a:ext cx="865337" cy="684736"/>
          </a:xfrm>
          <a:custGeom>
            <a:avLst/>
            <a:gdLst>
              <a:gd name="T0" fmla="*/ 846 w 849"/>
              <a:gd name="T1" fmla="*/ 548 h 830"/>
              <a:gd name="T2" fmla="*/ 845 w 849"/>
              <a:gd name="T3" fmla="*/ 564 h 830"/>
              <a:gd name="T4" fmla="*/ 841 w 849"/>
              <a:gd name="T5" fmla="*/ 654 h 830"/>
              <a:gd name="T6" fmla="*/ 836 w 849"/>
              <a:gd name="T7" fmla="*/ 689 h 830"/>
              <a:gd name="T8" fmla="*/ 824 w 849"/>
              <a:gd name="T9" fmla="*/ 730 h 830"/>
              <a:gd name="T10" fmla="*/ 825 w 849"/>
              <a:gd name="T11" fmla="*/ 732 h 830"/>
              <a:gd name="T12" fmla="*/ 837 w 849"/>
              <a:gd name="T13" fmla="*/ 786 h 830"/>
              <a:gd name="T14" fmla="*/ 581 w 849"/>
              <a:gd name="T15" fmla="*/ 830 h 830"/>
              <a:gd name="T16" fmla="*/ 569 w 849"/>
              <a:gd name="T17" fmla="*/ 766 h 830"/>
              <a:gd name="T18" fmla="*/ 539 w 849"/>
              <a:gd name="T19" fmla="*/ 736 h 830"/>
              <a:gd name="T20" fmla="*/ 452 w 849"/>
              <a:gd name="T21" fmla="*/ 658 h 830"/>
              <a:gd name="T22" fmla="*/ 406 w 849"/>
              <a:gd name="T23" fmla="*/ 572 h 830"/>
              <a:gd name="T24" fmla="*/ 378 w 849"/>
              <a:gd name="T25" fmla="*/ 525 h 830"/>
              <a:gd name="T26" fmla="*/ 363 w 849"/>
              <a:gd name="T27" fmla="*/ 503 h 830"/>
              <a:gd name="T28" fmla="*/ 354 w 849"/>
              <a:gd name="T29" fmla="*/ 473 h 830"/>
              <a:gd name="T30" fmla="*/ 342 w 849"/>
              <a:gd name="T31" fmla="*/ 443 h 830"/>
              <a:gd name="T32" fmla="*/ 318 w 849"/>
              <a:gd name="T33" fmla="*/ 408 h 830"/>
              <a:gd name="T34" fmla="*/ 324 w 849"/>
              <a:gd name="T35" fmla="*/ 383 h 830"/>
              <a:gd name="T36" fmla="*/ 392 w 849"/>
              <a:gd name="T37" fmla="*/ 396 h 830"/>
              <a:gd name="T38" fmla="*/ 412 w 849"/>
              <a:gd name="T39" fmla="*/ 428 h 830"/>
              <a:gd name="T40" fmla="*/ 453 w 849"/>
              <a:gd name="T41" fmla="*/ 487 h 830"/>
              <a:gd name="T42" fmla="*/ 501 w 849"/>
              <a:gd name="T43" fmla="*/ 499 h 830"/>
              <a:gd name="T44" fmla="*/ 511 w 849"/>
              <a:gd name="T45" fmla="*/ 492 h 830"/>
              <a:gd name="T46" fmla="*/ 525 w 849"/>
              <a:gd name="T47" fmla="*/ 455 h 830"/>
              <a:gd name="T48" fmla="*/ 524 w 849"/>
              <a:gd name="T49" fmla="*/ 444 h 830"/>
              <a:gd name="T50" fmla="*/ 467 w 849"/>
              <a:gd name="T51" fmla="*/ 136 h 830"/>
              <a:gd name="T52" fmla="*/ 491 w 849"/>
              <a:gd name="T53" fmla="*/ 99 h 830"/>
              <a:gd name="T54" fmla="*/ 528 w 849"/>
              <a:gd name="T55" fmla="*/ 124 h 830"/>
              <a:gd name="T56" fmla="*/ 587 w 849"/>
              <a:gd name="T57" fmla="*/ 344 h 830"/>
              <a:gd name="T58" fmla="*/ 587 w 849"/>
              <a:gd name="T59" fmla="*/ 345 h 830"/>
              <a:gd name="T60" fmla="*/ 587 w 849"/>
              <a:gd name="T61" fmla="*/ 347 h 830"/>
              <a:gd name="T62" fmla="*/ 605 w 849"/>
              <a:gd name="T63" fmla="*/ 343 h 830"/>
              <a:gd name="T64" fmla="*/ 661 w 849"/>
              <a:gd name="T65" fmla="*/ 364 h 830"/>
              <a:gd name="T66" fmla="*/ 668 w 849"/>
              <a:gd name="T67" fmla="*/ 372 h 830"/>
              <a:gd name="T68" fmla="*/ 678 w 849"/>
              <a:gd name="T69" fmla="*/ 391 h 830"/>
              <a:gd name="T70" fmla="*/ 697 w 849"/>
              <a:gd name="T71" fmla="*/ 392 h 830"/>
              <a:gd name="T72" fmla="*/ 698 w 849"/>
              <a:gd name="T73" fmla="*/ 392 h 830"/>
              <a:gd name="T74" fmla="*/ 765 w 849"/>
              <a:gd name="T75" fmla="*/ 428 h 830"/>
              <a:gd name="T76" fmla="*/ 801 w 849"/>
              <a:gd name="T77" fmla="*/ 480 h 830"/>
              <a:gd name="T78" fmla="*/ 802 w 849"/>
              <a:gd name="T79" fmla="*/ 481 h 830"/>
              <a:gd name="T80" fmla="*/ 846 w 849"/>
              <a:gd name="T81" fmla="*/ 548 h 830"/>
              <a:gd name="T82" fmla="*/ 98 w 849"/>
              <a:gd name="T83" fmla="*/ 0 h 830"/>
              <a:gd name="T84" fmla="*/ 0 w 849"/>
              <a:gd name="T85" fmla="*/ 98 h 830"/>
              <a:gd name="T86" fmla="*/ 98 w 849"/>
              <a:gd name="T87" fmla="*/ 196 h 830"/>
              <a:gd name="T88" fmla="*/ 196 w 849"/>
              <a:gd name="T89" fmla="*/ 98 h 830"/>
              <a:gd name="T90" fmla="*/ 98 w 849"/>
              <a:gd name="T91" fmla="*/ 0 h 830"/>
              <a:gd name="T92" fmla="*/ 729 w 849"/>
              <a:gd name="T93" fmla="*/ 0 h 830"/>
              <a:gd name="T94" fmla="*/ 631 w 849"/>
              <a:gd name="T95" fmla="*/ 98 h 830"/>
              <a:gd name="T96" fmla="*/ 729 w 849"/>
              <a:gd name="T97" fmla="*/ 196 h 830"/>
              <a:gd name="T98" fmla="*/ 827 w 849"/>
              <a:gd name="T99" fmla="*/ 98 h 830"/>
              <a:gd name="T100" fmla="*/ 729 w 849"/>
              <a:gd name="T101" fmla="*/ 0 h 830"/>
              <a:gd name="T102" fmla="*/ 414 w 849"/>
              <a:gd name="T103" fmla="*/ 196 h 830"/>
              <a:gd name="T104" fmla="*/ 436 w 849"/>
              <a:gd name="T105" fmla="*/ 193 h 830"/>
              <a:gd name="T106" fmla="*/ 427 w 849"/>
              <a:gd name="T107" fmla="*/ 144 h 830"/>
              <a:gd name="T108" fmla="*/ 438 w 849"/>
              <a:gd name="T109" fmla="*/ 87 h 830"/>
              <a:gd name="T110" fmla="*/ 484 w 849"/>
              <a:gd name="T111" fmla="*/ 59 h 830"/>
              <a:gd name="T112" fmla="*/ 502 w 849"/>
              <a:gd name="T113" fmla="*/ 57 h 830"/>
              <a:gd name="T114" fmla="*/ 503 w 849"/>
              <a:gd name="T115" fmla="*/ 57 h 830"/>
              <a:gd name="T116" fmla="*/ 414 w 849"/>
              <a:gd name="T117" fmla="*/ 0 h 830"/>
              <a:gd name="T118" fmla="*/ 316 w 849"/>
              <a:gd name="T119" fmla="*/ 98 h 830"/>
              <a:gd name="T120" fmla="*/ 414 w 849"/>
              <a:gd name="T121" fmla="*/ 196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49" h="830">
                <a:moveTo>
                  <a:pt x="846" y="548"/>
                </a:moveTo>
                <a:cubicBezTo>
                  <a:pt x="845" y="553"/>
                  <a:pt x="845" y="559"/>
                  <a:pt x="845" y="564"/>
                </a:cubicBezTo>
                <a:cubicBezTo>
                  <a:pt x="844" y="594"/>
                  <a:pt x="842" y="625"/>
                  <a:pt x="841" y="654"/>
                </a:cubicBezTo>
                <a:cubicBezTo>
                  <a:pt x="841" y="666"/>
                  <a:pt x="838" y="677"/>
                  <a:pt x="836" y="689"/>
                </a:cubicBezTo>
                <a:cubicBezTo>
                  <a:pt x="832" y="702"/>
                  <a:pt x="829" y="717"/>
                  <a:pt x="824" y="730"/>
                </a:cubicBezTo>
                <a:cubicBezTo>
                  <a:pt x="824" y="730"/>
                  <a:pt x="824" y="730"/>
                  <a:pt x="825" y="732"/>
                </a:cubicBezTo>
                <a:cubicBezTo>
                  <a:pt x="825" y="732"/>
                  <a:pt x="825" y="732"/>
                  <a:pt x="837" y="786"/>
                </a:cubicBezTo>
                <a:cubicBezTo>
                  <a:pt x="817" y="790"/>
                  <a:pt x="628" y="822"/>
                  <a:pt x="581" y="830"/>
                </a:cubicBezTo>
                <a:cubicBezTo>
                  <a:pt x="581" y="830"/>
                  <a:pt x="581" y="830"/>
                  <a:pt x="569" y="766"/>
                </a:cubicBezTo>
                <a:cubicBezTo>
                  <a:pt x="561" y="754"/>
                  <a:pt x="552" y="744"/>
                  <a:pt x="539" y="736"/>
                </a:cubicBezTo>
                <a:cubicBezTo>
                  <a:pt x="501" y="718"/>
                  <a:pt x="477" y="689"/>
                  <a:pt x="452" y="658"/>
                </a:cubicBezTo>
                <a:cubicBezTo>
                  <a:pt x="432" y="633"/>
                  <a:pt x="424" y="598"/>
                  <a:pt x="406" y="572"/>
                </a:cubicBezTo>
                <a:cubicBezTo>
                  <a:pt x="400" y="556"/>
                  <a:pt x="387" y="540"/>
                  <a:pt x="378" y="525"/>
                </a:cubicBezTo>
                <a:cubicBezTo>
                  <a:pt x="374" y="519"/>
                  <a:pt x="368" y="508"/>
                  <a:pt x="363" y="503"/>
                </a:cubicBezTo>
                <a:cubicBezTo>
                  <a:pt x="358" y="497"/>
                  <a:pt x="356" y="480"/>
                  <a:pt x="354" y="473"/>
                </a:cubicBezTo>
                <a:cubicBezTo>
                  <a:pt x="350" y="463"/>
                  <a:pt x="347" y="452"/>
                  <a:pt x="342" y="443"/>
                </a:cubicBezTo>
                <a:cubicBezTo>
                  <a:pt x="336" y="431"/>
                  <a:pt x="326" y="419"/>
                  <a:pt x="318" y="408"/>
                </a:cubicBezTo>
                <a:cubicBezTo>
                  <a:pt x="312" y="401"/>
                  <a:pt x="319" y="388"/>
                  <a:pt x="324" y="383"/>
                </a:cubicBezTo>
                <a:cubicBezTo>
                  <a:pt x="344" y="367"/>
                  <a:pt x="376" y="380"/>
                  <a:pt x="392" y="396"/>
                </a:cubicBezTo>
                <a:cubicBezTo>
                  <a:pt x="400" y="405"/>
                  <a:pt x="406" y="417"/>
                  <a:pt x="412" y="428"/>
                </a:cubicBezTo>
                <a:cubicBezTo>
                  <a:pt x="424" y="445"/>
                  <a:pt x="436" y="473"/>
                  <a:pt x="453" y="487"/>
                </a:cubicBezTo>
                <a:cubicBezTo>
                  <a:pt x="468" y="497"/>
                  <a:pt x="484" y="501"/>
                  <a:pt x="501" y="499"/>
                </a:cubicBezTo>
                <a:cubicBezTo>
                  <a:pt x="504" y="499"/>
                  <a:pt x="508" y="496"/>
                  <a:pt x="511" y="492"/>
                </a:cubicBezTo>
                <a:cubicBezTo>
                  <a:pt x="520" y="481"/>
                  <a:pt x="525" y="468"/>
                  <a:pt x="525" y="455"/>
                </a:cubicBezTo>
                <a:cubicBezTo>
                  <a:pt x="525" y="451"/>
                  <a:pt x="524" y="448"/>
                  <a:pt x="524" y="444"/>
                </a:cubicBezTo>
                <a:cubicBezTo>
                  <a:pt x="524" y="444"/>
                  <a:pt x="524" y="444"/>
                  <a:pt x="467" y="136"/>
                </a:cubicBezTo>
                <a:cubicBezTo>
                  <a:pt x="460" y="103"/>
                  <a:pt x="491" y="99"/>
                  <a:pt x="491" y="99"/>
                </a:cubicBezTo>
                <a:cubicBezTo>
                  <a:pt x="507" y="96"/>
                  <a:pt x="520" y="96"/>
                  <a:pt x="528" y="124"/>
                </a:cubicBezTo>
                <a:cubicBezTo>
                  <a:pt x="528" y="124"/>
                  <a:pt x="528" y="124"/>
                  <a:pt x="587" y="344"/>
                </a:cubicBezTo>
                <a:cubicBezTo>
                  <a:pt x="587" y="344"/>
                  <a:pt x="587" y="344"/>
                  <a:pt x="587" y="345"/>
                </a:cubicBezTo>
                <a:cubicBezTo>
                  <a:pt x="587" y="345"/>
                  <a:pt x="587" y="345"/>
                  <a:pt x="587" y="347"/>
                </a:cubicBezTo>
                <a:cubicBezTo>
                  <a:pt x="587" y="347"/>
                  <a:pt x="587" y="347"/>
                  <a:pt x="605" y="343"/>
                </a:cubicBezTo>
                <a:cubicBezTo>
                  <a:pt x="627" y="343"/>
                  <a:pt x="645" y="351"/>
                  <a:pt x="661" y="364"/>
                </a:cubicBezTo>
                <a:cubicBezTo>
                  <a:pt x="664" y="367"/>
                  <a:pt x="665" y="369"/>
                  <a:pt x="668" y="372"/>
                </a:cubicBezTo>
                <a:cubicBezTo>
                  <a:pt x="668" y="372"/>
                  <a:pt x="668" y="372"/>
                  <a:pt x="678" y="391"/>
                </a:cubicBezTo>
                <a:cubicBezTo>
                  <a:pt x="678" y="391"/>
                  <a:pt x="678" y="391"/>
                  <a:pt x="697" y="392"/>
                </a:cubicBezTo>
                <a:cubicBezTo>
                  <a:pt x="697" y="392"/>
                  <a:pt x="697" y="392"/>
                  <a:pt x="698" y="392"/>
                </a:cubicBezTo>
                <a:cubicBezTo>
                  <a:pt x="724" y="396"/>
                  <a:pt x="748" y="409"/>
                  <a:pt x="765" y="428"/>
                </a:cubicBezTo>
                <a:cubicBezTo>
                  <a:pt x="780" y="444"/>
                  <a:pt x="792" y="461"/>
                  <a:pt x="801" y="480"/>
                </a:cubicBezTo>
                <a:cubicBezTo>
                  <a:pt x="801" y="481"/>
                  <a:pt x="801" y="481"/>
                  <a:pt x="802" y="481"/>
                </a:cubicBezTo>
                <a:cubicBezTo>
                  <a:pt x="838" y="484"/>
                  <a:pt x="849" y="531"/>
                  <a:pt x="846" y="548"/>
                </a:cubicBezTo>
                <a:close/>
                <a:moveTo>
                  <a:pt x="98" y="0"/>
                </a:moveTo>
                <a:cubicBezTo>
                  <a:pt x="44" y="0"/>
                  <a:pt x="0" y="44"/>
                  <a:pt x="0" y="98"/>
                </a:cubicBezTo>
                <a:cubicBezTo>
                  <a:pt x="0" y="152"/>
                  <a:pt x="44" y="196"/>
                  <a:pt x="98" y="196"/>
                </a:cubicBezTo>
                <a:cubicBezTo>
                  <a:pt x="152" y="196"/>
                  <a:pt x="196" y="152"/>
                  <a:pt x="196" y="98"/>
                </a:cubicBezTo>
                <a:cubicBezTo>
                  <a:pt x="196" y="44"/>
                  <a:pt x="152" y="0"/>
                  <a:pt x="98" y="0"/>
                </a:cubicBezTo>
                <a:close/>
                <a:moveTo>
                  <a:pt x="729" y="0"/>
                </a:moveTo>
                <a:cubicBezTo>
                  <a:pt x="675" y="0"/>
                  <a:pt x="631" y="44"/>
                  <a:pt x="631" y="98"/>
                </a:cubicBezTo>
                <a:cubicBezTo>
                  <a:pt x="631" y="152"/>
                  <a:pt x="675" y="196"/>
                  <a:pt x="729" y="196"/>
                </a:cubicBezTo>
                <a:cubicBezTo>
                  <a:pt x="784" y="196"/>
                  <a:pt x="827" y="152"/>
                  <a:pt x="827" y="98"/>
                </a:cubicBezTo>
                <a:cubicBezTo>
                  <a:pt x="827" y="44"/>
                  <a:pt x="784" y="0"/>
                  <a:pt x="729" y="0"/>
                </a:cubicBezTo>
                <a:close/>
                <a:moveTo>
                  <a:pt x="414" y="196"/>
                </a:moveTo>
                <a:cubicBezTo>
                  <a:pt x="421" y="196"/>
                  <a:pt x="429" y="195"/>
                  <a:pt x="436" y="193"/>
                </a:cubicBezTo>
                <a:cubicBezTo>
                  <a:pt x="427" y="144"/>
                  <a:pt x="427" y="144"/>
                  <a:pt x="427" y="144"/>
                </a:cubicBezTo>
                <a:cubicBezTo>
                  <a:pt x="421" y="117"/>
                  <a:pt x="430" y="98"/>
                  <a:pt x="438" y="87"/>
                </a:cubicBezTo>
                <a:cubicBezTo>
                  <a:pt x="453" y="65"/>
                  <a:pt x="477" y="60"/>
                  <a:pt x="484" y="59"/>
                </a:cubicBezTo>
                <a:cubicBezTo>
                  <a:pt x="489" y="58"/>
                  <a:pt x="495" y="57"/>
                  <a:pt x="502" y="57"/>
                </a:cubicBezTo>
                <a:cubicBezTo>
                  <a:pt x="502" y="57"/>
                  <a:pt x="502" y="57"/>
                  <a:pt x="503" y="57"/>
                </a:cubicBezTo>
                <a:cubicBezTo>
                  <a:pt x="487" y="23"/>
                  <a:pt x="453" y="0"/>
                  <a:pt x="414" y="0"/>
                </a:cubicBezTo>
                <a:cubicBezTo>
                  <a:pt x="360" y="0"/>
                  <a:pt x="316" y="44"/>
                  <a:pt x="316" y="98"/>
                </a:cubicBezTo>
                <a:cubicBezTo>
                  <a:pt x="316" y="152"/>
                  <a:pt x="360" y="196"/>
                  <a:pt x="414" y="19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37" name="Freeform 94"/>
          <p:cNvSpPr>
            <a:spLocks noChangeAspect="1"/>
          </p:cNvSpPr>
          <p:nvPr/>
        </p:nvSpPr>
        <p:spPr bwMode="auto">
          <a:xfrm>
            <a:off x="334874" y="1755683"/>
            <a:ext cx="852750" cy="552134"/>
          </a:xfrm>
          <a:custGeom>
            <a:avLst/>
            <a:gdLst>
              <a:gd name="T0" fmla="*/ 870 w 870"/>
              <a:gd name="T1" fmla="*/ 235 h 547"/>
              <a:gd name="T2" fmla="*/ 635 w 870"/>
              <a:gd name="T3" fmla="*/ 70 h 547"/>
              <a:gd name="T4" fmla="*/ 635 w 870"/>
              <a:gd name="T5" fmla="*/ 187 h 547"/>
              <a:gd name="T6" fmla="*/ 467 w 870"/>
              <a:gd name="T7" fmla="*/ 357 h 547"/>
              <a:gd name="T8" fmla="*/ 467 w 870"/>
              <a:gd name="T9" fmla="*/ 357 h 547"/>
              <a:gd name="T10" fmla="*/ 460 w 870"/>
              <a:gd name="T11" fmla="*/ 431 h 547"/>
              <a:gd name="T12" fmla="*/ 443 w 870"/>
              <a:gd name="T13" fmla="*/ 454 h 547"/>
              <a:gd name="T14" fmla="*/ 434 w 870"/>
              <a:gd name="T15" fmla="*/ 451 h 547"/>
              <a:gd name="T16" fmla="*/ 418 w 870"/>
              <a:gd name="T17" fmla="*/ 358 h 547"/>
              <a:gd name="T18" fmla="*/ 418 w 870"/>
              <a:gd name="T19" fmla="*/ 357 h 547"/>
              <a:gd name="T20" fmla="*/ 417 w 870"/>
              <a:gd name="T21" fmla="*/ 192 h 547"/>
              <a:gd name="T22" fmla="*/ 417 w 870"/>
              <a:gd name="T23" fmla="*/ 190 h 547"/>
              <a:gd name="T24" fmla="*/ 405 w 870"/>
              <a:gd name="T25" fmla="*/ 90 h 547"/>
              <a:gd name="T26" fmla="*/ 299 w 870"/>
              <a:gd name="T27" fmla="*/ 0 h 547"/>
              <a:gd name="T28" fmla="*/ 191 w 870"/>
              <a:gd name="T29" fmla="*/ 93 h 547"/>
              <a:gd name="T30" fmla="*/ 180 w 870"/>
              <a:gd name="T31" fmla="*/ 191 h 547"/>
              <a:gd name="T32" fmla="*/ 180 w 870"/>
              <a:gd name="T33" fmla="*/ 193 h 547"/>
              <a:gd name="T34" fmla="*/ 171 w 870"/>
              <a:gd name="T35" fmla="*/ 245 h 547"/>
              <a:gd name="T36" fmla="*/ 97 w 870"/>
              <a:gd name="T37" fmla="*/ 267 h 547"/>
              <a:gd name="T38" fmla="*/ 1 w 870"/>
              <a:gd name="T39" fmla="*/ 267 h 547"/>
              <a:gd name="T40" fmla="*/ 0 w 870"/>
              <a:gd name="T41" fmla="*/ 361 h 547"/>
              <a:gd name="T42" fmla="*/ 98 w 870"/>
              <a:gd name="T43" fmla="*/ 361 h 547"/>
              <a:gd name="T44" fmla="*/ 249 w 870"/>
              <a:gd name="T45" fmla="*/ 297 h 547"/>
              <a:gd name="T46" fmla="*/ 274 w 870"/>
              <a:gd name="T47" fmla="*/ 193 h 547"/>
              <a:gd name="T48" fmla="*/ 274 w 870"/>
              <a:gd name="T49" fmla="*/ 191 h 547"/>
              <a:gd name="T50" fmla="*/ 281 w 870"/>
              <a:gd name="T51" fmla="*/ 119 h 547"/>
              <a:gd name="T52" fmla="*/ 299 w 870"/>
              <a:gd name="T53" fmla="*/ 94 h 547"/>
              <a:gd name="T54" fmla="*/ 316 w 870"/>
              <a:gd name="T55" fmla="*/ 116 h 547"/>
              <a:gd name="T56" fmla="*/ 323 w 870"/>
              <a:gd name="T57" fmla="*/ 191 h 547"/>
              <a:gd name="T58" fmla="*/ 324 w 870"/>
              <a:gd name="T59" fmla="*/ 356 h 547"/>
              <a:gd name="T60" fmla="*/ 366 w 870"/>
              <a:gd name="T61" fmla="*/ 516 h 547"/>
              <a:gd name="T62" fmla="*/ 443 w 870"/>
              <a:gd name="T63" fmla="*/ 547 h 547"/>
              <a:gd name="T64" fmla="*/ 550 w 870"/>
              <a:gd name="T65" fmla="*/ 457 h 547"/>
              <a:gd name="T66" fmla="*/ 560 w 870"/>
              <a:gd name="T67" fmla="*/ 357 h 547"/>
              <a:gd name="T68" fmla="*/ 560 w 870"/>
              <a:gd name="T69" fmla="*/ 357 h 547"/>
              <a:gd name="T70" fmla="*/ 577 w 870"/>
              <a:gd name="T71" fmla="*/ 289 h 547"/>
              <a:gd name="T72" fmla="*/ 635 w 870"/>
              <a:gd name="T73" fmla="*/ 281 h 547"/>
              <a:gd name="T74" fmla="*/ 635 w 870"/>
              <a:gd name="T75" fmla="*/ 395 h 547"/>
              <a:gd name="T76" fmla="*/ 870 w 870"/>
              <a:gd name="T77" fmla="*/ 235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70" h="547">
                <a:moveTo>
                  <a:pt x="870" y="235"/>
                </a:moveTo>
                <a:cubicBezTo>
                  <a:pt x="635" y="70"/>
                  <a:pt x="635" y="70"/>
                  <a:pt x="635" y="70"/>
                </a:cubicBezTo>
                <a:cubicBezTo>
                  <a:pt x="635" y="187"/>
                  <a:pt x="635" y="187"/>
                  <a:pt x="635" y="187"/>
                </a:cubicBezTo>
                <a:cubicBezTo>
                  <a:pt x="564" y="187"/>
                  <a:pt x="467" y="195"/>
                  <a:pt x="467" y="357"/>
                </a:cubicBezTo>
                <a:cubicBezTo>
                  <a:pt x="467" y="357"/>
                  <a:pt x="467" y="357"/>
                  <a:pt x="467" y="357"/>
                </a:cubicBezTo>
                <a:cubicBezTo>
                  <a:pt x="467" y="374"/>
                  <a:pt x="467" y="407"/>
                  <a:pt x="460" y="431"/>
                </a:cubicBezTo>
                <a:cubicBezTo>
                  <a:pt x="453" y="454"/>
                  <a:pt x="447" y="454"/>
                  <a:pt x="443" y="454"/>
                </a:cubicBezTo>
                <a:cubicBezTo>
                  <a:pt x="437" y="454"/>
                  <a:pt x="435" y="452"/>
                  <a:pt x="434" y="451"/>
                </a:cubicBezTo>
                <a:cubicBezTo>
                  <a:pt x="429" y="446"/>
                  <a:pt x="415" y="426"/>
                  <a:pt x="418" y="358"/>
                </a:cubicBezTo>
                <a:cubicBezTo>
                  <a:pt x="418" y="357"/>
                  <a:pt x="418" y="357"/>
                  <a:pt x="418" y="357"/>
                </a:cubicBezTo>
                <a:cubicBezTo>
                  <a:pt x="417" y="192"/>
                  <a:pt x="417" y="192"/>
                  <a:pt x="417" y="192"/>
                </a:cubicBezTo>
                <a:cubicBezTo>
                  <a:pt x="417" y="190"/>
                  <a:pt x="417" y="190"/>
                  <a:pt x="417" y="190"/>
                </a:cubicBezTo>
                <a:cubicBezTo>
                  <a:pt x="417" y="168"/>
                  <a:pt x="416" y="127"/>
                  <a:pt x="405" y="90"/>
                </a:cubicBezTo>
                <a:cubicBezTo>
                  <a:pt x="382" y="9"/>
                  <a:pt x="323" y="0"/>
                  <a:pt x="299" y="0"/>
                </a:cubicBezTo>
                <a:cubicBezTo>
                  <a:pt x="274" y="0"/>
                  <a:pt x="215" y="9"/>
                  <a:pt x="191" y="93"/>
                </a:cubicBezTo>
                <a:cubicBezTo>
                  <a:pt x="180" y="131"/>
                  <a:pt x="180" y="172"/>
                  <a:pt x="180" y="191"/>
                </a:cubicBezTo>
                <a:cubicBezTo>
                  <a:pt x="180" y="193"/>
                  <a:pt x="180" y="193"/>
                  <a:pt x="180" y="193"/>
                </a:cubicBezTo>
                <a:cubicBezTo>
                  <a:pt x="180" y="210"/>
                  <a:pt x="180" y="232"/>
                  <a:pt x="171" y="245"/>
                </a:cubicBezTo>
                <a:cubicBezTo>
                  <a:pt x="159" y="263"/>
                  <a:pt x="124" y="267"/>
                  <a:pt x="97" y="267"/>
                </a:cubicBezTo>
                <a:cubicBezTo>
                  <a:pt x="46" y="267"/>
                  <a:pt x="1" y="267"/>
                  <a:pt x="1" y="267"/>
                </a:cubicBezTo>
                <a:cubicBezTo>
                  <a:pt x="0" y="361"/>
                  <a:pt x="0" y="361"/>
                  <a:pt x="0" y="361"/>
                </a:cubicBezTo>
                <a:cubicBezTo>
                  <a:pt x="1" y="361"/>
                  <a:pt x="46" y="361"/>
                  <a:pt x="98" y="361"/>
                </a:cubicBezTo>
                <a:cubicBezTo>
                  <a:pt x="170" y="360"/>
                  <a:pt x="221" y="339"/>
                  <a:pt x="249" y="297"/>
                </a:cubicBezTo>
                <a:cubicBezTo>
                  <a:pt x="274" y="260"/>
                  <a:pt x="274" y="218"/>
                  <a:pt x="274" y="193"/>
                </a:cubicBezTo>
                <a:cubicBezTo>
                  <a:pt x="274" y="191"/>
                  <a:pt x="274" y="191"/>
                  <a:pt x="274" y="191"/>
                </a:cubicBezTo>
                <a:cubicBezTo>
                  <a:pt x="274" y="176"/>
                  <a:pt x="274" y="144"/>
                  <a:pt x="281" y="119"/>
                </a:cubicBezTo>
                <a:cubicBezTo>
                  <a:pt x="288" y="94"/>
                  <a:pt x="295" y="94"/>
                  <a:pt x="299" y="94"/>
                </a:cubicBezTo>
                <a:cubicBezTo>
                  <a:pt x="302" y="94"/>
                  <a:pt x="309" y="94"/>
                  <a:pt x="316" y="116"/>
                </a:cubicBezTo>
                <a:cubicBezTo>
                  <a:pt x="323" y="141"/>
                  <a:pt x="323" y="172"/>
                  <a:pt x="323" y="191"/>
                </a:cubicBezTo>
                <a:cubicBezTo>
                  <a:pt x="324" y="356"/>
                  <a:pt x="324" y="356"/>
                  <a:pt x="324" y="356"/>
                </a:cubicBezTo>
                <a:cubicBezTo>
                  <a:pt x="322" y="432"/>
                  <a:pt x="336" y="484"/>
                  <a:pt x="366" y="516"/>
                </a:cubicBezTo>
                <a:cubicBezTo>
                  <a:pt x="387" y="537"/>
                  <a:pt x="413" y="547"/>
                  <a:pt x="443" y="547"/>
                </a:cubicBezTo>
                <a:cubicBezTo>
                  <a:pt x="467" y="547"/>
                  <a:pt x="526" y="539"/>
                  <a:pt x="550" y="457"/>
                </a:cubicBezTo>
                <a:cubicBezTo>
                  <a:pt x="560" y="420"/>
                  <a:pt x="560" y="379"/>
                  <a:pt x="560" y="357"/>
                </a:cubicBezTo>
                <a:cubicBezTo>
                  <a:pt x="560" y="357"/>
                  <a:pt x="560" y="357"/>
                  <a:pt x="560" y="357"/>
                </a:cubicBezTo>
                <a:cubicBezTo>
                  <a:pt x="560" y="336"/>
                  <a:pt x="562" y="299"/>
                  <a:pt x="577" y="289"/>
                </a:cubicBezTo>
                <a:cubicBezTo>
                  <a:pt x="588" y="282"/>
                  <a:pt x="612" y="281"/>
                  <a:pt x="635" y="281"/>
                </a:cubicBezTo>
                <a:cubicBezTo>
                  <a:pt x="635" y="395"/>
                  <a:pt x="635" y="395"/>
                  <a:pt x="635" y="395"/>
                </a:cubicBezTo>
                <a:lnTo>
                  <a:pt x="870" y="2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138" name="Picture 11"/>
          <p:cNvPicPr>
            <a:picLocks noChangeAspect="1" noChangeArrowheads="1"/>
          </p:cNvPicPr>
          <p:nvPr/>
        </p:nvPicPr>
        <p:blipFill>
          <a:blip r:embed="rId3" cstate="email">
            <a:biLevel thresh="50000"/>
          </a:blip>
          <a:srcRect/>
          <a:stretch>
            <a:fillRect/>
          </a:stretch>
        </p:blipFill>
        <p:spPr bwMode="auto">
          <a:xfrm>
            <a:off x="1580915" y="1750627"/>
            <a:ext cx="974861" cy="562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2" name="Freeform 133"/>
          <p:cNvSpPr/>
          <p:nvPr/>
        </p:nvSpPr>
        <p:spPr bwMode="black">
          <a:xfrm>
            <a:off x="360121" y="2859782"/>
            <a:ext cx="827504" cy="767939"/>
          </a:xfrm>
          <a:custGeom>
            <a:avLst/>
            <a:gdLst>
              <a:gd name="T0" fmla="*/ 87 w 291"/>
              <a:gd name="T1" fmla="*/ 18 h 275"/>
              <a:gd name="T2" fmla="*/ 96 w 291"/>
              <a:gd name="T3" fmla="*/ 48 h 275"/>
              <a:gd name="T4" fmla="*/ 0 w 291"/>
              <a:gd name="T5" fmla="*/ 140 h 275"/>
              <a:gd name="T6" fmla="*/ 128 w 291"/>
              <a:gd name="T7" fmla="*/ 56 h 275"/>
              <a:gd name="T8" fmla="*/ 201 w 291"/>
              <a:gd name="T9" fmla="*/ 36 h 275"/>
              <a:gd name="T10" fmla="*/ 122 w 291"/>
              <a:gd name="T11" fmla="*/ 198 h 275"/>
              <a:gd name="T12" fmla="*/ 122 w 291"/>
              <a:gd name="T13" fmla="*/ 195 h 275"/>
              <a:gd name="T14" fmla="*/ 122 w 291"/>
              <a:gd name="T15" fmla="*/ 192 h 275"/>
              <a:gd name="T16" fmla="*/ 122 w 291"/>
              <a:gd name="T17" fmla="*/ 189 h 275"/>
              <a:gd name="T18" fmla="*/ 122 w 291"/>
              <a:gd name="T19" fmla="*/ 185 h 275"/>
              <a:gd name="T20" fmla="*/ 122 w 291"/>
              <a:gd name="T21" fmla="*/ 182 h 275"/>
              <a:gd name="T22" fmla="*/ 122 w 291"/>
              <a:gd name="T23" fmla="*/ 179 h 275"/>
              <a:gd name="T24" fmla="*/ 122 w 291"/>
              <a:gd name="T25" fmla="*/ 175 h 275"/>
              <a:gd name="T26" fmla="*/ 122 w 291"/>
              <a:gd name="T27" fmla="*/ 172 h 275"/>
              <a:gd name="T28" fmla="*/ 122 w 291"/>
              <a:gd name="T29" fmla="*/ 169 h 275"/>
              <a:gd name="T30" fmla="*/ 122 w 291"/>
              <a:gd name="T31" fmla="*/ 165 h 275"/>
              <a:gd name="T32" fmla="*/ 122 w 291"/>
              <a:gd name="T33" fmla="*/ 162 h 275"/>
              <a:gd name="T34" fmla="*/ 123 w 291"/>
              <a:gd name="T35" fmla="*/ 157 h 275"/>
              <a:gd name="T36" fmla="*/ 103 w 291"/>
              <a:gd name="T37" fmla="*/ 158 h 275"/>
              <a:gd name="T38" fmla="*/ 103 w 291"/>
              <a:gd name="T39" fmla="*/ 162 h 275"/>
              <a:gd name="T40" fmla="*/ 103 w 291"/>
              <a:gd name="T41" fmla="*/ 166 h 275"/>
              <a:gd name="T42" fmla="*/ 103 w 291"/>
              <a:gd name="T43" fmla="*/ 169 h 275"/>
              <a:gd name="T44" fmla="*/ 103 w 291"/>
              <a:gd name="T45" fmla="*/ 172 h 275"/>
              <a:gd name="T46" fmla="*/ 103 w 291"/>
              <a:gd name="T47" fmla="*/ 176 h 275"/>
              <a:gd name="T48" fmla="*/ 104 w 291"/>
              <a:gd name="T49" fmla="*/ 179 h 275"/>
              <a:gd name="T50" fmla="*/ 104 w 291"/>
              <a:gd name="T51" fmla="*/ 182 h 275"/>
              <a:gd name="T52" fmla="*/ 104 w 291"/>
              <a:gd name="T53" fmla="*/ 185 h 275"/>
              <a:gd name="T54" fmla="*/ 104 w 291"/>
              <a:gd name="T55" fmla="*/ 189 h 275"/>
              <a:gd name="T56" fmla="*/ 104 w 291"/>
              <a:gd name="T57" fmla="*/ 192 h 275"/>
              <a:gd name="T58" fmla="*/ 104 w 291"/>
              <a:gd name="T59" fmla="*/ 195 h 275"/>
              <a:gd name="T60" fmla="*/ 104 w 291"/>
              <a:gd name="T61" fmla="*/ 199 h 275"/>
              <a:gd name="T62" fmla="*/ 104 w 291"/>
              <a:gd name="T63" fmla="*/ 232 h 275"/>
              <a:gd name="T64" fmla="*/ 104 w 291"/>
              <a:gd name="T65" fmla="*/ 235 h 275"/>
              <a:gd name="T66" fmla="*/ 104 w 291"/>
              <a:gd name="T67" fmla="*/ 238 h 275"/>
              <a:gd name="T68" fmla="*/ 104 w 291"/>
              <a:gd name="T69" fmla="*/ 242 h 275"/>
              <a:gd name="T70" fmla="*/ 104 w 291"/>
              <a:gd name="T71" fmla="*/ 245 h 275"/>
              <a:gd name="T72" fmla="*/ 104 w 291"/>
              <a:gd name="T73" fmla="*/ 248 h 275"/>
              <a:gd name="T74" fmla="*/ 104 w 291"/>
              <a:gd name="T75" fmla="*/ 252 h 275"/>
              <a:gd name="T76" fmla="*/ 105 w 291"/>
              <a:gd name="T77" fmla="*/ 255 h 275"/>
              <a:gd name="T78" fmla="*/ 98 w 291"/>
              <a:gd name="T79" fmla="*/ 257 h 275"/>
              <a:gd name="T80" fmla="*/ 61 w 291"/>
              <a:gd name="T81" fmla="*/ 265 h 275"/>
              <a:gd name="T82" fmla="*/ 131 w 291"/>
              <a:gd name="T83" fmla="*/ 266 h 275"/>
              <a:gd name="T84" fmla="*/ 167 w 291"/>
              <a:gd name="T85" fmla="*/ 259 h 275"/>
              <a:gd name="T86" fmla="*/ 123 w 291"/>
              <a:gd name="T87" fmla="*/ 256 h 275"/>
              <a:gd name="T88" fmla="*/ 123 w 291"/>
              <a:gd name="T89" fmla="*/ 253 h 275"/>
              <a:gd name="T90" fmla="*/ 123 w 291"/>
              <a:gd name="T91" fmla="*/ 249 h 275"/>
              <a:gd name="T92" fmla="*/ 123 w 291"/>
              <a:gd name="T93" fmla="*/ 246 h 275"/>
              <a:gd name="T94" fmla="*/ 123 w 291"/>
              <a:gd name="T95" fmla="*/ 243 h 275"/>
              <a:gd name="T96" fmla="*/ 123 w 291"/>
              <a:gd name="T97" fmla="*/ 239 h 275"/>
              <a:gd name="T98" fmla="*/ 123 w 291"/>
              <a:gd name="T99" fmla="*/ 236 h 275"/>
              <a:gd name="T100" fmla="*/ 123 w 291"/>
              <a:gd name="T101" fmla="*/ 233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91" h="275">
                <a:moveTo>
                  <a:pt x="291" y="170"/>
                </a:moveTo>
                <a:cubicBezTo>
                  <a:pt x="291" y="159"/>
                  <a:pt x="291" y="109"/>
                  <a:pt x="290" y="60"/>
                </a:cubicBezTo>
                <a:cubicBezTo>
                  <a:pt x="290" y="29"/>
                  <a:pt x="260" y="0"/>
                  <a:pt x="215" y="1"/>
                </a:cubicBezTo>
                <a:cubicBezTo>
                  <a:pt x="208" y="1"/>
                  <a:pt x="102" y="2"/>
                  <a:pt x="102" y="2"/>
                </a:cubicBezTo>
                <a:cubicBezTo>
                  <a:pt x="89" y="3"/>
                  <a:pt x="87" y="13"/>
                  <a:pt x="87" y="18"/>
                </a:cubicBezTo>
                <a:cubicBezTo>
                  <a:pt x="87" y="23"/>
                  <a:pt x="87" y="19"/>
                  <a:pt x="87" y="26"/>
                </a:cubicBezTo>
                <a:cubicBezTo>
                  <a:pt x="87" y="32"/>
                  <a:pt x="94" y="37"/>
                  <a:pt x="101" y="38"/>
                </a:cubicBezTo>
                <a:cubicBezTo>
                  <a:pt x="101" y="38"/>
                  <a:pt x="101" y="38"/>
                  <a:pt x="101" y="39"/>
                </a:cubicBezTo>
                <a:cubicBezTo>
                  <a:pt x="101" y="40"/>
                  <a:pt x="101" y="40"/>
                  <a:pt x="102" y="41"/>
                </a:cubicBezTo>
                <a:cubicBezTo>
                  <a:pt x="96" y="48"/>
                  <a:pt x="96" y="48"/>
                  <a:pt x="96" y="48"/>
                </a:cubicBezTo>
                <a:cubicBezTo>
                  <a:pt x="96" y="56"/>
                  <a:pt x="96" y="56"/>
                  <a:pt x="96" y="56"/>
                </a:cubicBezTo>
                <a:cubicBezTo>
                  <a:pt x="40" y="56"/>
                  <a:pt x="40" y="56"/>
                  <a:pt x="40" y="56"/>
                </a:cubicBezTo>
                <a:cubicBezTo>
                  <a:pt x="40" y="92"/>
                  <a:pt x="40" y="92"/>
                  <a:pt x="40" y="92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140"/>
                  <a:pt x="0" y="140"/>
                  <a:pt x="0" y="140"/>
                </a:cubicBezTo>
                <a:cubicBezTo>
                  <a:pt x="207" y="140"/>
                  <a:pt x="207" y="140"/>
                  <a:pt x="207" y="140"/>
                </a:cubicBezTo>
                <a:cubicBezTo>
                  <a:pt x="207" y="92"/>
                  <a:pt x="207" y="92"/>
                  <a:pt x="207" y="92"/>
                </a:cubicBezTo>
                <a:cubicBezTo>
                  <a:pt x="179" y="92"/>
                  <a:pt x="179" y="92"/>
                  <a:pt x="179" y="92"/>
                </a:cubicBezTo>
                <a:cubicBezTo>
                  <a:pt x="179" y="56"/>
                  <a:pt x="179" y="56"/>
                  <a:pt x="179" y="56"/>
                </a:cubicBezTo>
                <a:cubicBezTo>
                  <a:pt x="128" y="56"/>
                  <a:pt x="128" y="56"/>
                  <a:pt x="128" y="56"/>
                </a:cubicBezTo>
                <a:cubicBezTo>
                  <a:pt x="128" y="49"/>
                  <a:pt x="128" y="49"/>
                  <a:pt x="128" y="49"/>
                </a:cubicBezTo>
                <a:cubicBezTo>
                  <a:pt x="122" y="41"/>
                  <a:pt x="122" y="41"/>
                  <a:pt x="122" y="41"/>
                </a:cubicBezTo>
                <a:cubicBezTo>
                  <a:pt x="122" y="40"/>
                  <a:pt x="123" y="40"/>
                  <a:pt x="123" y="39"/>
                </a:cubicBezTo>
                <a:cubicBezTo>
                  <a:pt x="123" y="38"/>
                  <a:pt x="123" y="38"/>
                  <a:pt x="122" y="37"/>
                </a:cubicBezTo>
                <a:cubicBezTo>
                  <a:pt x="149" y="37"/>
                  <a:pt x="193" y="36"/>
                  <a:pt x="201" y="36"/>
                </a:cubicBezTo>
                <a:cubicBezTo>
                  <a:pt x="246" y="36"/>
                  <a:pt x="250" y="54"/>
                  <a:pt x="250" y="66"/>
                </a:cubicBezTo>
                <a:cubicBezTo>
                  <a:pt x="250" y="77"/>
                  <a:pt x="251" y="145"/>
                  <a:pt x="251" y="172"/>
                </a:cubicBezTo>
                <a:cubicBezTo>
                  <a:pt x="252" y="198"/>
                  <a:pt x="210" y="198"/>
                  <a:pt x="202" y="198"/>
                </a:cubicBezTo>
                <a:cubicBezTo>
                  <a:pt x="197" y="198"/>
                  <a:pt x="147" y="198"/>
                  <a:pt x="123" y="199"/>
                </a:cubicBezTo>
                <a:cubicBezTo>
                  <a:pt x="123" y="199"/>
                  <a:pt x="122" y="198"/>
                  <a:pt x="122" y="198"/>
                </a:cubicBezTo>
                <a:cubicBezTo>
                  <a:pt x="120" y="198"/>
                  <a:pt x="120" y="198"/>
                  <a:pt x="120" y="198"/>
                </a:cubicBezTo>
                <a:cubicBezTo>
                  <a:pt x="120" y="197"/>
                  <a:pt x="120" y="197"/>
                  <a:pt x="120" y="197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196"/>
                  <a:pt x="123" y="196"/>
                  <a:pt x="123" y="196"/>
                </a:cubicBezTo>
                <a:cubicBezTo>
                  <a:pt x="123" y="195"/>
                  <a:pt x="122" y="195"/>
                  <a:pt x="122" y="195"/>
                </a:cubicBezTo>
                <a:cubicBezTo>
                  <a:pt x="120" y="195"/>
                  <a:pt x="120" y="195"/>
                  <a:pt x="120" y="195"/>
                </a:cubicBezTo>
                <a:cubicBezTo>
                  <a:pt x="120" y="193"/>
                  <a:pt x="120" y="193"/>
                  <a:pt x="120" y="193"/>
                </a:cubicBezTo>
                <a:cubicBezTo>
                  <a:pt x="122" y="193"/>
                  <a:pt x="122" y="193"/>
                  <a:pt x="122" y="193"/>
                </a:cubicBezTo>
                <a:cubicBezTo>
                  <a:pt x="122" y="193"/>
                  <a:pt x="123" y="193"/>
                  <a:pt x="123" y="192"/>
                </a:cubicBezTo>
                <a:cubicBezTo>
                  <a:pt x="123" y="192"/>
                  <a:pt x="122" y="192"/>
                  <a:pt x="122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0"/>
                  <a:pt x="120" y="190"/>
                  <a:pt x="120" y="190"/>
                </a:cubicBezTo>
                <a:cubicBezTo>
                  <a:pt x="122" y="190"/>
                  <a:pt x="122" y="190"/>
                  <a:pt x="122" y="190"/>
                </a:cubicBezTo>
                <a:cubicBezTo>
                  <a:pt x="122" y="190"/>
                  <a:pt x="123" y="190"/>
                  <a:pt x="123" y="189"/>
                </a:cubicBezTo>
                <a:cubicBezTo>
                  <a:pt x="123" y="189"/>
                  <a:pt x="122" y="189"/>
                  <a:pt x="122" y="189"/>
                </a:cubicBezTo>
                <a:cubicBezTo>
                  <a:pt x="120" y="189"/>
                  <a:pt x="120" y="189"/>
                  <a:pt x="120" y="189"/>
                </a:cubicBezTo>
                <a:cubicBezTo>
                  <a:pt x="120" y="187"/>
                  <a:pt x="120" y="187"/>
                  <a:pt x="120" y="187"/>
                </a:cubicBezTo>
                <a:cubicBezTo>
                  <a:pt x="122" y="187"/>
                  <a:pt x="122" y="187"/>
                  <a:pt x="122" y="187"/>
                </a:cubicBezTo>
                <a:cubicBezTo>
                  <a:pt x="122" y="187"/>
                  <a:pt x="123" y="186"/>
                  <a:pt x="123" y="186"/>
                </a:cubicBezTo>
                <a:cubicBezTo>
                  <a:pt x="123" y="186"/>
                  <a:pt x="122" y="185"/>
                  <a:pt x="122" y="185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120" y="183"/>
                  <a:pt x="120" y="183"/>
                  <a:pt x="120" y="183"/>
                </a:cubicBezTo>
                <a:cubicBezTo>
                  <a:pt x="122" y="183"/>
                  <a:pt x="122" y="183"/>
                  <a:pt x="122" y="183"/>
                </a:cubicBezTo>
                <a:cubicBezTo>
                  <a:pt x="122" y="183"/>
                  <a:pt x="123" y="183"/>
                  <a:pt x="123" y="183"/>
                </a:cubicBezTo>
                <a:cubicBezTo>
                  <a:pt x="123" y="182"/>
                  <a:pt x="122" y="182"/>
                  <a:pt x="122" y="182"/>
                </a:cubicBezTo>
                <a:cubicBezTo>
                  <a:pt x="120" y="182"/>
                  <a:pt x="120" y="182"/>
                  <a:pt x="120" y="182"/>
                </a:cubicBezTo>
                <a:cubicBezTo>
                  <a:pt x="119" y="180"/>
                  <a:pt x="119" y="180"/>
                  <a:pt x="119" y="180"/>
                </a:cubicBezTo>
                <a:cubicBezTo>
                  <a:pt x="122" y="180"/>
                  <a:pt x="122" y="180"/>
                  <a:pt x="122" y="180"/>
                </a:cubicBezTo>
                <a:cubicBezTo>
                  <a:pt x="122" y="180"/>
                  <a:pt x="123" y="180"/>
                  <a:pt x="123" y="179"/>
                </a:cubicBezTo>
                <a:cubicBezTo>
                  <a:pt x="122" y="179"/>
                  <a:pt x="122" y="179"/>
                  <a:pt x="122" y="179"/>
                </a:cubicBezTo>
                <a:cubicBezTo>
                  <a:pt x="119" y="179"/>
                  <a:pt x="119" y="179"/>
                  <a:pt x="119" y="179"/>
                </a:cubicBezTo>
                <a:cubicBezTo>
                  <a:pt x="119" y="177"/>
                  <a:pt x="119" y="177"/>
                  <a:pt x="119" y="177"/>
                </a:cubicBezTo>
                <a:cubicBezTo>
                  <a:pt x="122" y="177"/>
                  <a:pt x="122" y="177"/>
                  <a:pt x="122" y="177"/>
                </a:cubicBezTo>
                <a:cubicBezTo>
                  <a:pt x="122" y="177"/>
                  <a:pt x="122" y="176"/>
                  <a:pt x="122" y="176"/>
                </a:cubicBezTo>
                <a:cubicBezTo>
                  <a:pt x="122" y="176"/>
                  <a:pt x="122" y="175"/>
                  <a:pt x="122" y="175"/>
                </a:cubicBezTo>
                <a:cubicBezTo>
                  <a:pt x="119" y="175"/>
                  <a:pt x="119" y="175"/>
                  <a:pt x="119" y="175"/>
                </a:cubicBezTo>
                <a:cubicBezTo>
                  <a:pt x="119" y="173"/>
                  <a:pt x="119" y="173"/>
                  <a:pt x="119" y="173"/>
                </a:cubicBezTo>
                <a:cubicBezTo>
                  <a:pt x="122" y="173"/>
                  <a:pt x="122" y="173"/>
                  <a:pt x="122" y="173"/>
                </a:cubicBezTo>
                <a:cubicBezTo>
                  <a:pt x="122" y="173"/>
                  <a:pt x="122" y="173"/>
                  <a:pt x="122" y="173"/>
                </a:cubicBezTo>
                <a:cubicBezTo>
                  <a:pt x="122" y="172"/>
                  <a:pt x="122" y="172"/>
                  <a:pt x="122" y="172"/>
                </a:cubicBezTo>
                <a:cubicBezTo>
                  <a:pt x="119" y="172"/>
                  <a:pt x="119" y="172"/>
                  <a:pt x="119" y="172"/>
                </a:cubicBezTo>
                <a:cubicBezTo>
                  <a:pt x="119" y="170"/>
                  <a:pt x="119" y="170"/>
                  <a:pt x="119" y="170"/>
                </a:cubicBezTo>
                <a:cubicBezTo>
                  <a:pt x="122" y="170"/>
                  <a:pt x="122" y="170"/>
                  <a:pt x="122" y="170"/>
                </a:cubicBezTo>
                <a:cubicBezTo>
                  <a:pt x="122" y="170"/>
                  <a:pt x="122" y="170"/>
                  <a:pt x="122" y="169"/>
                </a:cubicBezTo>
                <a:cubicBezTo>
                  <a:pt x="122" y="169"/>
                  <a:pt x="122" y="169"/>
                  <a:pt x="122" y="169"/>
                </a:cubicBezTo>
                <a:cubicBezTo>
                  <a:pt x="119" y="169"/>
                  <a:pt x="119" y="169"/>
                  <a:pt x="119" y="169"/>
                </a:cubicBezTo>
                <a:cubicBezTo>
                  <a:pt x="119" y="167"/>
                  <a:pt x="119" y="167"/>
                  <a:pt x="119" y="167"/>
                </a:cubicBezTo>
                <a:cubicBezTo>
                  <a:pt x="122" y="167"/>
                  <a:pt x="122" y="167"/>
                  <a:pt x="122" y="167"/>
                </a:cubicBezTo>
                <a:cubicBezTo>
                  <a:pt x="122" y="167"/>
                  <a:pt x="122" y="166"/>
                  <a:pt x="122" y="166"/>
                </a:cubicBezTo>
                <a:cubicBezTo>
                  <a:pt x="122" y="166"/>
                  <a:pt x="122" y="165"/>
                  <a:pt x="122" y="165"/>
                </a:cubicBezTo>
                <a:cubicBezTo>
                  <a:pt x="119" y="165"/>
                  <a:pt x="119" y="165"/>
                  <a:pt x="119" y="165"/>
                </a:cubicBezTo>
                <a:cubicBezTo>
                  <a:pt x="119" y="163"/>
                  <a:pt x="119" y="163"/>
                  <a:pt x="119" y="163"/>
                </a:cubicBezTo>
                <a:cubicBezTo>
                  <a:pt x="122" y="163"/>
                  <a:pt x="122" y="163"/>
                  <a:pt x="122" y="163"/>
                </a:cubicBezTo>
                <a:cubicBezTo>
                  <a:pt x="122" y="163"/>
                  <a:pt x="122" y="163"/>
                  <a:pt x="122" y="163"/>
                </a:cubicBezTo>
                <a:cubicBezTo>
                  <a:pt x="122" y="162"/>
                  <a:pt x="122" y="162"/>
                  <a:pt x="122" y="162"/>
                </a:cubicBezTo>
                <a:cubicBezTo>
                  <a:pt x="119" y="162"/>
                  <a:pt x="119" y="162"/>
                  <a:pt x="119" y="162"/>
                </a:cubicBezTo>
                <a:cubicBezTo>
                  <a:pt x="119" y="161"/>
                  <a:pt x="119" y="161"/>
                  <a:pt x="119" y="161"/>
                </a:cubicBezTo>
                <a:cubicBezTo>
                  <a:pt x="122" y="161"/>
                  <a:pt x="122" y="161"/>
                  <a:pt x="122" y="161"/>
                </a:cubicBezTo>
                <a:cubicBezTo>
                  <a:pt x="123" y="161"/>
                  <a:pt x="124" y="160"/>
                  <a:pt x="124" y="159"/>
                </a:cubicBezTo>
                <a:cubicBezTo>
                  <a:pt x="124" y="158"/>
                  <a:pt x="124" y="158"/>
                  <a:pt x="123" y="157"/>
                </a:cubicBezTo>
                <a:cubicBezTo>
                  <a:pt x="129" y="150"/>
                  <a:pt x="129" y="150"/>
                  <a:pt x="129" y="150"/>
                </a:cubicBezTo>
                <a:cubicBezTo>
                  <a:pt x="129" y="140"/>
                  <a:pt x="129" y="140"/>
                  <a:pt x="129" y="140"/>
                </a:cubicBezTo>
                <a:cubicBezTo>
                  <a:pt x="97" y="140"/>
                  <a:pt x="97" y="140"/>
                  <a:pt x="97" y="140"/>
                </a:cubicBezTo>
                <a:cubicBezTo>
                  <a:pt x="97" y="149"/>
                  <a:pt x="97" y="149"/>
                  <a:pt x="97" y="149"/>
                </a:cubicBezTo>
                <a:cubicBezTo>
                  <a:pt x="103" y="158"/>
                  <a:pt x="103" y="158"/>
                  <a:pt x="103" y="158"/>
                </a:cubicBezTo>
                <a:cubicBezTo>
                  <a:pt x="102" y="158"/>
                  <a:pt x="102" y="159"/>
                  <a:pt x="102" y="159"/>
                </a:cubicBezTo>
                <a:cubicBezTo>
                  <a:pt x="102" y="161"/>
                  <a:pt x="103" y="161"/>
                  <a:pt x="104" y="161"/>
                </a:cubicBezTo>
                <a:cubicBezTo>
                  <a:pt x="105" y="161"/>
                  <a:pt x="105" y="161"/>
                  <a:pt x="105" y="161"/>
                </a:cubicBezTo>
                <a:cubicBezTo>
                  <a:pt x="105" y="162"/>
                  <a:pt x="105" y="162"/>
                  <a:pt x="105" y="162"/>
                </a:cubicBezTo>
                <a:cubicBezTo>
                  <a:pt x="103" y="162"/>
                  <a:pt x="103" y="162"/>
                  <a:pt x="103" y="162"/>
                </a:cubicBezTo>
                <a:cubicBezTo>
                  <a:pt x="103" y="162"/>
                  <a:pt x="103" y="163"/>
                  <a:pt x="103" y="163"/>
                </a:cubicBezTo>
                <a:cubicBezTo>
                  <a:pt x="103" y="163"/>
                  <a:pt x="103" y="164"/>
                  <a:pt x="103" y="164"/>
                </a:cubicBezTo>
                <a:cubicBezTo>
                  <a:pt x="105" y="164"/>
                  <a:pt x="105" y="164"/>
                  <a:pt x="105" y="164"/>
                </a:cubicBezTo>
                <a:cubicBezTo>
                  <a:pt x="105" y="166"/>
                  <a:pt x="105" y="166"/>
                  <a:pt x="105" y="166"/>
                </a:cubicBezTo>
                <a:cubicBezTo>
                  <a:pt x="103" y="166"/>
                  <a:pt x="103" y="166"/>
                  <a:pt x="103" y="166"/>
                </a:cubicBezTo>
                <a:cubicBezTo>
                  <a:pt x="103" y="166"/>
                  <a:pt x="103" y="166"/>
                  <a:pt x="103" y="166"/>
                </a:cubicBezTo>
                <a:cubicBezTo>
                  <a:pt x="103" y="167"/>
                  <a:pt x="103" y="167"/>
                  <a:pt x="103" y="167"/>
                </a:cubicBezTo>
                <a:cubicBezTo>
                  <a:pt x="105" y="167"/>
                  <a:pt x="105" y="167"/>
                  <a:pt x="105" y="167"/>
                </a:cubicBezTo>
                <a:cubicBezTo>
                  <a:pt x="105" y="169"/>
                  <a:pt x="105" y="169"/>
                  <a:pt x="105" y="169"/>
                </a:cubicBezTo>
                <a:cubicBezTo>
                  <a:pt x="103" y="169"/>
                  <a:pt x="103" y="169"/>
                  <a:pt x="103" y="169"/>
                </a:cubicBezTo>
                <a:cubicBezTo>
                  <a:pt x="103" y="169"/>
                  <a:pt x="103" y="169"/>
                  <a:pt x="103" y="170"/>
                </a:cubicBezTo>
                <a:cubicBezTo>
                  <a:pt x="103" y="170"/>
                  <a:pt x="103" y="170"/>
                  <a:pt x="103" y="170"/>
                </a:cubicBezTo>
                <a:cubicBezTo>
                  <a:pt x="105" y="170"/>
                  <a:pt x="105" y="170"/>
                  <a:pt x="105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103" y="172"/>
                  <a:pt x="103" y="172"/>
                  <a:pt x="103" y="172"/>
                </a:cubicBezTo>
                <a:cubicBezTo>
                  <a:pt x="103" y="172"/>
                  <a:pt x="103" y="173"/>
                  <a:pt x="103" y="173"/>
                </a:cubicBezTo>
                <a:cubicBezTo>
                  <a:pt x="103" y="173"/>
                  <a:pt x="103" y="174"/>
                  <a:pt x="103" y="174"/>
                </a:cubicBezTo>
                <a:cubicBezTo>
                  <a:pt x="105" y="174"/>
                  <a:pt x="105" y="174"/>
                  <a:pt x="105" y="174"/>
                </a:cubicBezTo>
                <a:cubicBezTo>
                  <a:pt x="105" y="176"/>
                  <a:pt x="105" y="176"/>
                  <a:pt x="105" y="176"/>
                </a:cubicBezTo>
                <a:cubicBezTo>
                  <a:pt x="103" y="176"/>
                  <a:pt x="103" y="176"/>
                  <a:pt x="103" y="176"/>
                </a:cubicBezTo>
                <a:cubicBezTo>
                  <a:pt x="103" y="176"/>
                  <a:pt x="103" y="176"/>
                  <a:pt x="103" y="176"/>
                </a:cubicBezTo>
                <a:cubicBezTo>
                  <a:pt x="103" y="177"/>
                  <a:pt x="103" y="177"/>
                  <a:pt x="104" y="177"/>
                </a:cubicBezTo>
                <a:cubicBezTo>
                  <a:pt x="105" y="177"/>
                  <a:pt x="105" y="177"/>
                  <a:pt x="105" y="177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4" y="179"/>
                  <a:pt x="104" y="179"/>
                  <a:pt x="104" y="179"/>
                </a:cubicBezTo>
                <a:cubicBezTo>
                  <a:pt x="103" y="179"/>
                  <a:pt x="103" y="179"/>
                  <a:pt x="103" y="180"/>
                </a:cubicBezTo>
                <a:cubicBezTo>
                  <a:pt x="103" y="180"/>
                  <a:pt x="103" y="180"/>
                  <a:pt x="104" y="180"/>
                </a:cubicBezTo>
                <a:cubicBezTo>
                  <a:pt x="105" y="180"/>
                  <a:pt x="105" y="180"/>
                  <a:pt x="105" y="180"/>
                </a:cubicBezTo>
                <a:cubicBezTo>
                  <a:pt x="105" y="182"/>
                  <a:pt x="105" y="182"/>
                  <a:pt x="105" y="182"/>
                </a:cubicBezTo>
                <a:cubicBezTo>
                  <a:pt x="104" y="182"/>
                  <a:pt x="104" y="182"/>
                  <a:pt x="104" y="182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3"/>
                  <a:pt x="103" y="183"/>
                  <a:pt x="104" y="183"/>
                </a:cubicBezTo>
                <a:cubicBezTo>
                  <a:pt x="105" y="183"/>
                  <a:pt x="105" y="183"/>
                  <a:pt x="105" y="183"/>
                </a:cubicBezTo>
                <a:cubicBezTo>
                  <a:pt x="105" y="185"/>
                  <a:pt x="105" y="185"/>
                  <a:pt x="105" y="185"/>
                </a:cubicBezTo>
                <a:cubicBezTo>
                  <a:pt x="104" y="185"/>
                  <a:pt x="104" y="185"/>
                  <a:pt x="104" y="185"/>
                </a:cubicBezTo>
                <a:cubicBezTo>
                  <a:pt x="103" y="185"/>
                  <a:pt x="103" y="186"/>
                  <a:pt x="103" y="186"/>
                </a:cubicBezTo>
                <a:cubicBezTo>
                  <a:pt x="103" y="187"/>
                  <a:pt x="103" y="187"/>
                  <a:pt x="104" y="187"/>
                </a:cubicBezTo>
                <a:cubicBezTo>
                  <a:pt x="105" y="187"/>
                  <a:pt x="105" y="187"/>
                  <a:pt x="105" y="187"/>
                </a:cubicBezTo>
                <a:cubicBezTo>
                  <a:pt x="105" y="189"/>
                  <a:pt x="105" y="189"/>
                  <a:pt x="105" y="189"/>
                </a:cubicBezTo>
                <a:cubicBezTo>
                  <a:pt x="104" y="189"/>
                  <a:pt x="104" y="189"/>
                  <a:pt x="104" y="189"/>
                </a:cubicBezTo>
                <a:cubicBezTo>
                  <a:pt x="103" y="189"/>
                  <a:pt x="103" y="189"/>
                  <a:pt x="103" y="189"/>
                </a:cubicBezTo>
                <a:cubicBezTo>
                  <a:pt x="103" y="190"/>
                  <a:pt x="103" y="190"/>
                  <a:pt x="104" y="190"/>
                </a:cubicBezTo>
                <a:cubicBezTo>
                  <a:pt x="105" y="190"/>
                  <a:pt x="105" y="190"/>
                  <a:pt x="105" y="190"/>
                </a:cubicBezTo>
                <a:cubicBezTo>
                  <a:pt x="105" y="192"/>
                  <a:pt x="105" y="192"/>
                  <a:pt x="105" y="192"/>
                </a:cubicBezTo>
                <a:cubicBezTo>
                  <a:pt x="104" y="192"/>
                  <a:pt x="104" y="192"/>
                  <a:pt x="104" y="192"/>
                </a:cubicBezTo>
                <a:cubicBezTo>
                  <a:pt x="103" y="192"/>
                  <a:pt x="103" y="192"/>
                  <a:pt x="103" y="193"/>
                </a:cubicBezTo>
                <a:cubicBezTo>
                  <a:pt x="103" y="193"/>
                  <a:pt x="103" y="193"/>
                  <a:pt x="104" y="193"/>
                </a:cubicBezTo>
                <a:cubicBezTo>
                  <a:pt x="105" y="193"/>
                  <a:pt x="105" y="193"/>
                  <a:pt x="105" y="193"/>
                </a:cubicBezTo>
                <a:cubicBezTo>
                  <a:pt x="105" y="195"/>
                  <a:pt x="105" y="195"/>
                  <a:pt x="105" y="195"/>
                </a:cubicBezTo>
                <a:cubicBezTo>
                  <a:pt x="104" y="195"/>
                  <a:pt x="104" y="195"/>
                  <a:pt x="104" y="195"/>
                </a:cubicBezTo>
                <a:cubicBezTo>
                  <a:pt x="103" y="195"/>
                  <a:pt x="103" y="196"/>
                  <a:pt x="103" y="196"/>
                </a:cubicBezTo>
                <a:cubicBezTo>
                  <a:pt x="103" y="196"/>
                  <a:pt x="103" y="197"/>
                  <a:pt x="104" y="197"/>
                </a:cubicBezTo>
                <a:cubicBezTo>
                  <a:pt x="105" y="197"/>
                  <a:pt x="105" y="197"/>
                  <a:pt x="105" y="197"/>
                </a:cubicBezTo>
                <a:cubicBezTo>
                  <a:pt x="105" y="199"/>
                  <a:pt x="105" y="199"/>
                  <a:pt x="105" y="199"/>
                </a:cubicBezTo>
                <a:cubicBezTo>
                  <a:pt x="104" y="199"/>
                  <a:pt x="104" y="199"/>
                  <a:pt x="104" y="199"/>
                </a:cubicBezTo>
                <a:cubicBezTo>
                  <a:pt x="103" y="199"/>
                  <a:pt x="103" y="199"/>
                  <a:pt x="103" y="199"/>
                </a:cubicBezTo>
                <a:cubicBezTo>
                  <a:pt x="103" y="199"/>
                  <a:pt x="103" y="200"/>
                  <a:pt x="103" y="200"/>
                </a:cubicBezTo>
                <a:cubicBezTo>
                  <a:pt x="98" y="201"/>
                  <a:pt x="94" y="204"/>
                  <a:pt x="94" y="210"/>
                </a:cubicBezTo>
                <a:cubicBezTo>
                  <a:pt x="94" y="214"/>
                  <a:pt x="94" y="215"/>
                  <a:pt x="95" y="221"/>
                </a:cubicBezTo>
                <a:cubicBezTo>
                  <a:pt x="95" y="226"/>
                  <a:pt x="99" y="231"/>
                  <a:pt x="104" y="232"/>
                </a:cubicBezTo>
                <a:cubicBezTo>
                  <a:pt x="104" y="232"/>
                  <a:pt x="104" y="232"/>
                  <a:pt x="104" y="232"/>
                </a:cubicBezTo>
                <a:cubicBezTo>
                  <a:pt x="104" y="233"/>
                  <a:pt x="104" y="233"/>
                  <a:pt x="104" y="233"/>
                </a:cubicBezTo>
                <a:cubicBezTo>
                  <a:pt x="106" y="233"/>
                  <a:pt x="106" y="233"/>
                  <a:pt x="106" y="233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4" y="235"/>
                  <a:pt x="104" y="235"/>
                  <a:pt x="104" y="235"/>
                </a:cubicBezTo>
                <a:cubicBezTo>
                  <a:pt x="104" y="235"/>
                  <a:pt x="104" y="235"/>
                  <a:pt x="104" y="236"/>
                </a:cubicBezTo>
                <a:cubicBezTo>
                  <a:pt x="104" y="236"/>
                  <a:pt x="104" y="236"/>
                  <a:pt x="104" y="236"/>
                </a:cubicBezTo>
                <a:cubicBezTo>
                  <a:pt x="106" y="236"/>
                  <a:pt x="106" y="236"/>
                  <a:pt x="106" y="236"/>
                </a:cubicBezTo>
                <a:cubicBezTo>
                  <a:pt x="106" y="238"/>
                  <a:pt x="106" y="238"/>
                  <a:pt x="106" y="238"/>
                </a:cubicBezTo>
                <a:cubicBezTo>
                  <a:pt x="104" y="238"/>
                  <a:pt x="104" y="238"/>
                  <a:pt x="104" y="238"/>
                </a:cubicBezTo>
                <a:cubicBezTo>
                  <a:pt x="104" y="238"/>
                  <a:pt x="104" y="239"/>
                  <a:pt x="104" y="239"/>
                </a:cubicBezTo>
                <a:cubicBezTo>
                  <a:pt x="104" y="239"/>
                  <a:pt x="104" y="240"/>
                  <a:pt x="104" y="240"/>
                </a:cubicBezTo>
                <a:cubicBezTo>
                  <a:pt x="106" y="240"/>
                  <a:pt x="106" y="240"/>
                  <a:pt x="106" y="240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2"/>
                  <a:pt x="104" y="242"/>
                  <a:pt x="104" y="242"/>
                </a:cubicBezTo>
                <a:cubicBezTo>
                  <a:pt x="104" y="243"/>
                  <a:pt x="104" y="243"/>
                  <a:pt x="104" y="243"/>
                </a:cubicBezTo>
                <a:cubicBezTo>
                  <a:pt x="106" y="243"/>
                  <a:pt x="106" y="243"/>
                  <a:pt x="106" y="243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4" y="245"/>
                  <a:pt x="104" y="245"/>
                  <a:pt x="104" y="245"/>
                </a:cubicBezTo>
                <a:cubicBezTo>
                  <a:pt x="104" y="245"/>
                  <a:pt x="104" y="245"/>
                  <a:pt x="104" y="246"/>
                </a:cubicBezTo>
                <a:cubicBezTo>
                  <a:pt x="104" y="246"/>
                  <a:pt x="104" y="246"/>
                  <a:pt x="104" y="246"/>
                </a:cubicBezTo>
                <a:cubicBezTo>
                  <a:pt x="106" y="246"/>
                  <a:pt x="106" y="246"/>
                  <a:pt x="106" y="246"/>
                </a:cubicBezTo>
                <a:cubicBezTo>
                  <a:pt x="106" y="248"/>
                  <a:pt x="106" y="248"/>
                  <a:pt x="106" y="248"/>
                </a:cubicBezTo>
                <a:cubicBezTo>
                  <a:pt x="104" y="248"/>
                  <a:pt x="104" y="248"/>
                  <a:pt x="104" y="248"/>
                </a:cubicBezTo>
                <a:cubicBezTo>
                  <a:pt x="104" y="248"/>
                  <a:pt x="104" y="249"/>
                  <a:pt x="104" y="249"/>
                </a:cubicBezTo>
                <a:cubicBezTo>
                  <a:pt x="104" y="249"/>
                  <a:pt x="104" y="250"/>
                  <a:pt x="104" y="250"/>
                </a:cubicBezTo>
                <a:cubicBezTo>
                  <a:pt x="106" y="250"/>
                  <a:pt x="106" y="250"/>
                  <a:pt x="106" y="250"/>
                </a:cubicBezTo>
                <a:cubicBezTo>
                  <a:pt x="106" y="252"/>
                  <a:pt x="106" y="252"/>
                  <a:pt x="106" y="252"/>
                </a:cubicBezTo>
                <a:cubicBezTo>
                  <a:pt x="104" y="252"/>
                  <a:pt x="104" y="252"/>
                  <a:pt x="104" y="252"/>
                </a:cubicBezTo>
                <a:cubicBezTo>
                  <a:pt x="104" y="252"/>
                  <a:pt x="104" y="252"/>
                  <a:pt x="104" y="252"/>
                </a:cubicBezTo>
                <a:cubicBezTo>
                  <a:pt x="104" y="253"/>
                  <a:pt x="104" y="253"/>
                  <a:pt x="105" y="253"/>
                </a:cubicBezTo>
                <a:cubicBezTo>
                  <a:pt x="106" y="253"/>
                  <a:pt x="106" y="253"/>
                  <a:pt x="106" y="253"/>
                </a:cubicBezTo>
                <a:cubicBezTo>
                  <a:pt x="106" y="255"/>
                  <a:pt x="106" y="255"/>
                  <a:pt x="106" y="255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4" y="255"/>
                  <a:pt x="104" y="255"/>
                  <a:pt x="104" y="256"/>
                </a:cubicBezTo>
                <a:cubicBezTo>
                  <a:pt x="104" y="256"/>
                  <a:pt x="104" y="256"/>
                  <a:pt x="105" y="256"/>
                </a:cubicBezTo>
                <a:cubicBezTo>
                  <a:pt x="106" y="256"/>
                  <a:pt x="106" y="256"/>
                  <a:pt x="106" y="256"/>
                </a:cubicBezTo>
                <a:cubicBezTo>
                  <a:pt x="106" y="257"/>
                  <a:pt x="106" y="257"/>
                  <a:pt x="106" y="257"/>
                </a:cubicBezTo>
                <a:cubicBezTo>
                  <a:pt x="98" y="257"/>
                  <a:pt x="98" y="257"/>
                  <a:pt x="98" y="257"/>
                </a:cubicBezTo>
                <a:cubicBezTo>
                  <a:pt x="98" y="260"/>
                  <a:pt x="98" y="260"/>
                  <a:pt x="98" y="260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58" y="260"/>
                  <a:pt x="56" y="261"/>
                  <a:pt x="56" y="262"/>
                </a:cubicBezTo>
                <a:cubicBezTo>
                  <a:pt x="56" y="263"/>
                  <a:pt x="56" y="263"/>
                  <a:pt x="56" y="263"/>
                </a:cubicBezTo>
                <a:cubicBezTo>
                  <a:pt x="56" y="264"/>
                  <a:pt x="58" y="265"/>
                  <a:pt x="61" y="265"/>
                </a:cubicBezTo>
                <a:cubicBezTo>
                  <a:pt x="98" y="264"/>
                  <a:pt x="98" y="264"/>
                  <a:pt x="98" y="264"/>
                </a:cubicBezTo>
                <a:cubicBezTo>
                  <a:pt x="98" y="266"/>
                  <a:pt x="98" y="266"/>
                  <a:pt x="98" y="266"/>
                </a:cubicBezTo>
                <a:cubicBezTo>
                  <a:pt x="105" y="275"/>
                  <a:pt x="105" y="275"/>
                  <a:pt x="105" y="275"/>
                </a:cubicBezTo>
                <a:cubicBezTo>
                  <a:pt x="124" y="275"/>
                  <a:pt x="124" y="275"/>
                  <a:pt x="124" y="275"/>
                </a:cubicBezTo>
                <a:cubicBezTo>
                  <a:pt x="131" y="266"/>
                  <a:pt x="131" y="266"/>
                  <a:pt x="131" y="266"/>
                </a:cubicBezTo>
                <a:cubicBezTo>
                  <a:pt x="131" y="264"/>
                  <a:pt x="131" y="264"/>
                  <a:pt x="131" y="264"/>
                </a:cubicBezTo>
                <a:cubicBezTo>
                  <a:pt x="167" y="264"/>
                  <a:pt x="167" y="264"/>
                  <a:pt x="167" y="264"/>
                </a:cubicBezTo>
                <a:cubicBezTo>
                  <a:pt x="170" y="263"/>
                  <a:pt x="173" y="263"/>
                  <a:pt x="173" y="262"/>
                </a:cubicBezTo>
                <a:cubicBezTo>
                  <a:pt x="172" y="260"/>
                  <a:pt x="172" y="260"/>
                  <a:pt x="172" y="260"/>
                </a:cubicBezTo>
                <a:cubicBezTo>
                  <a:pt x="172" y="259"/>
                  <a:pt x="170" y="259"/>
                  <a:pt x="167" y="259"/>
                </a:cubicBezTo>
                <a:cubicBezTo>
                  <a:pt x="131" y="259"/>
                  <a:pt x="131" y="259"/>
                  <a:pt x="131" y="259"/>
                </a:cubicBezTo>
                <a:cubicBezTo>
                  <a:pt x="131" y="257"/>
                  <a:pt x="131" y="257"/>
                  <a:pt x="131" y="257"/>
                </a:cubicBezTo>
                <a:cubicBezTo>
                  <a:pt x="121" y="257"/>
                  <a:pt x="121" y="257"/>
                  <a:pt x="121" y="257"/>
                </a:cubicBezTo>
                <a:cubicBezTo>
                  <a:pt x="121" y="256"/>
                  <a:pt x="121" y="256"/>
                  <a:pt x="121" y="256"/>
                </a:cubicBezTo>
                <a:cubicBezTo>
                  <a:pt x="123" y="256"/>
                  <a:pt x="123" y="256"/>
                  <a:pt x="123" y="256"/>
                </a:cubicBezTo>
                <a:cubicBezTo>
                  <a:pt x="123" y="256"/>
                  <a:pt x="124" y="256"/>
                  <a:pt x="124" y="255"/>
                </a:cubicBezTo>
                <a:cubicBezTo>
                  <a:pt x="124" y="255"/>
                  <a:pt x="123" y="255"/>
                  <a:pt x="123" y="255"/>
                </a:cubicBezTo>
                <a:cubicBezTo>
                  <a:pt x="120" y="255"/>
                  <a:pt x="120" y="255"/>
                  <a:pt x="120" y="255"/>
                </a:cubicBezTo>
                <a:cubicBezTo>
                  <a:pt x="120" y="253"/>
                  <a:pt x="120" y="253"/>
                  <a:pt x="120" y="253"/>
                </a:cubicBezTo>
                <a:cubicBezTo>
                  <a:pt x="123" y="253"/>
                  <a:pt x="123" y="253"/>
                  <a:pt x="123" y="253"/>
                </a:cubicBezTo>
                <a:cubicBezTo>
                  <a:pt x="123" y="253"/>
                  <a:pt x="123" y="252"/>
                  <a:pt x="123" y="252"/>
                </a:cubicBezTo>
                <a:cubicBezTo>
                  <a:pt x="123" y="252"/>
                  <a:pt x="123" y="251"/>
                  <a:pt x="123" y="251"/>
                </a:cubicBezTo>
                <a:cubicBezTo>
                  <a:pt x="120" y="251"/>
                  <a:pt x="120" y="251"/>
                  <a:pt x="120" y="251"/>
                </a:cubicBezTo>
                <a:cubicBezTo>
                  <a:pt x="120" y="249"/>
                  <a:pt x="120" y="249"/>
                  <a:pt x="120" y="249"/>
                </a:cubicBezTo>
                <a:cubicBezTo>
                  <a:pt x="123" y="249"/>
                  <a:pt x="123" y="249"/>
                  <a:pt x="123" y="249"/>
                </a:cubicBezTo>
                <a:cubicBezTo>
                  <a:pt x="123" y="249"/>
                  <a:pt x="123" y="249"/>
                  <a:pt x="123" y="249"/>
                </a:cubicBezTo>
                <a:cubicBezTo>
                  <a:pt x="123" y="248"/>
                  <a:pt x="123" y="248"/>
                  <a:pt x="123" y="248"/>
                </a:cubicBezTo>
                <a:cubicBezTo>
                  <a:pt x="120" y="248"/>
                  <a:pt x="120" y="248"/>
                  <a:pt x="120" y="248"/>
                </a:cubicBezTo>
                <a:cubicBezTo>
                  <a:pt x="120" y="246"/>
                  <a:pt x="120" y="246"/>
                  <a:pt x="120" y="246"/>
                </a:cubicBezTo>
                <a:cubicBezTo>
                  <a:pt x="123" y="246"/>
                  <a:pt x="123" y="246"/>
                  <a:pt x="123" y="246"/>
                </a:cubicBezTo>
                <a:cubicBezTo>
                  <a:pt x="123" y="246"/>
                  <a:pt x="123" y="246"/>
                  <a:pt x="123" y="245"/>
                </a:cubicBezTo>
                <a:cubicBezTo>
                  <a:pt x="123" y="245"/>
                  <a:pt x="123" y="245"/>
                  <a:pt x="123" y="245"/>
                </a:cubicBezTo>
                <a:cubicBezTo>
                  <a:pt x="120" y="245"/>
                  <a:pt x="120" y="245"/>
                  <a:pt x="120" y="245"/>
                </a:cubicBezTo>
                <a:cubicBezTo>
                  <a:pt x="120" y="243"/>
                  <a:pt x="120" y="243"/>
                  <a:pt x="120" y="243"/>
                </a:cubicBezTo>
                <a:cubicBezTo>
                  <a:pt x="123" y="243"/>
                  <a:pt x="123" y="243"/>
                  <a:pt x="123" y="243"/>
                </a:cubicBezTo>
                <a:cubicBezTo>
                  <a:pt x="123" y="243"/>
                  <a:pt x="123" y="242"/>
                  <a:pt x="123" y="242"/>
                </a:cubicBezTo>
                <a:cubicBezTo>
                  <a:pt x="123" y="242"/>
                  <a:pt x="123" y="241"/>
                  <a:pt x="123" y="241"/>
                </a:cubicBezTo>
                <a:cubicBezTo>
                  <a:pt x="120" y="241"/>
                  <a:pt x="120" y="241"/>
                  <a:pt x="120" y="241"/>
                </a:cubicBezTo>
                <a:cubicBezTo>
                  <a:pt x="120" y="240"/>
                  <a:pt x="120" y="240"/>
                  <a:pt x="120" y="240"/>
                </a:cubicBezTo>
                <a:cubicBezTo>
                  <a:pt x="123" y="239"/>
                  <a:pt x="123" y="239"/>
                  <a:pt x="123" y="239"/>
                </a:cubicBezTo>
                <a:cubicBezTo>
                  <a:pt x="123" y="239"/>
                  <a:pt x="123" y="239"/>
                  <a:pt x="123" y="239"/>
                </a:cubicBezTo>
                <a:cubicBezTo>
                  <a:pt x="123" y="238"/>
                  <a:pt x="123" y="238"/>
                  <a:pt x="123" y="238"/>
                </a:cubicBezTo>
                <a:cubicBezTo>
                  <a:pt x="120" y="238"/>
                  <a:pt x="120" y="238"/>
                  <a:pt x="120" y="238"/>
                </a:cubicBezTo>
                <a:cubicBezTo>
                  <a:pt x="120" y="236"/>
                  <a:pt x="120" y="236"/>
                  <a:pt x="120" y="236"/>
                </a:cubicBezTo>
                <a:cubicBezTo>
                  <a:pt x="123" y="236"/>
                  <a:pt x="123" y="236"/>
                  <a:pt x="123" y="236"/>
                </a:cubicBezTo>
                <a:cubicBezTo>
                  <a:pt x="123" y="236"/>
                  <a:pt x="123" y="236"/>
                  <a:pt x="123" y="236"/>
                </a:cubicBezTo>
                <a:cubicBezTo>
                  <a:pt x="123" y="235"/>
                  <a:pt x="123" y="235"/>
                  <a:pt x="123" y="235"/>
                </a:cubicBezTo>
                <a:cubicBezTo>
                  <a:pt x="120" y="235"/>
                  <a:pt x="120" y="235"/>
                  <a:pt x="120" y="235"/>
                </a:cubicBezTo>
                <a:cubicBezTo>
                  <a:pt x="120" y="233"/>
                  <a:pt x="120" y="233"/>
                  <a:pt x="120" y="233"/>
                </a:cubicBezTo>
                <a:cubicBezTo>
                  <a:pt x="123" y="233"/>
                  <a:pt x="123" y="233"/>
                  <a:pt x="123" y="233"/>
                </a:cubicBezTo>
                <a:cubicBezTo>
                  <a:pt x="123" y="233"/>
                  <a:pt x="123" y="233"/>
                  <a:pt x="123" y="232"/>
                </a:cubicBezTo>
                <a:cubicBezTo>
                  <a:pt x="123" y="232"/>
                  <a:pt x="123" y="232"/>
                  <a:pt x="123" y="232"/>
                </a:cubicBezTo>
                <a:cubicBezTo>
                  <a:pt x="140" y="232"/>
                  <a:pt x="169" y="231"/>
                  <a:pt x="217" y="231"/>
                </a:cubicBezTo>
                <a:cubicBezTo>
                  <a:pt x="291" y="230"/>
                  <a:pt x="291" y="182"/>
                  <a:pt x="291" y="17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42" tIns="41122" rIns="82242" bIns="41122" numCol="1" anchor="t" anchorCtr="0" compatLnSpc="1"/>
          <a:lstStyle/>
          <a:p>
            <a:pPr defTabSz="93091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505050"/>
              </a:solidFill>
              <a:latin typeface="Segoe UI" panose="020B0502040204020203"/>
              <a:ea typeface="MS PGothic" panose="020B0600070205080204" pitchFamily="34" charset="-128"/>
            </a:endParaRPr>
          </a:p>
        </p:txBody>
      </p:sp>
      <p:grpSp>
        <p:nvGrpSpPr>
          <p:cNvPr id="150" name="组合 149"/>
          <p:cNvGrpSpPr/>
          <p:nvPr/>
        </p:nvGrpSpPr>
        <p:grpSpPr>
          <a:xfrm>
            <a:off x="3040874" y="1726965"/>
            <a:ext cx="590096" cy="609570"/>
            <a:chOff x="6857296" y="4041330"/>
            <a:chExt cx="590096" cy="609570"/>
          </a:xfrm>
        </p:grpSpPr>
        <p:sp>
          <p:nvSpPr>
            <p:cNvPr id="151" name="Circular Arrow 22"/>
            <p:cNvSpPr/>
            <p:nvPr/>
          </p:nvSpPr>
          <p:spPr bwMode="auto">
            <a:xfrm rot="3211654">
              <a:off x="6857670" y="4040956"/>
              <a:ext cx="589347" cy="590096"/>
            </a:xfrm>
            <a:prstGeom prst="circularArrow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662" tIns="38833" rIns="77662" bIns="38833" numCol="1" rtlCol="0" anchor="ctr" anchorCtr="0" compatLnSpc="1"/>
            <a:lstStyle/>
            <a:p>
              <a:pPr algn="ctr" defTabSz="775970">
                <a:defRPr/>
              </a:pPr>
              <a:endParaRPr lang="en-US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</a:endParaRPr>
            </a:p>
          </p:txBody>
        </p:sp>
        <p:sp>
          <p:nvSpPr>
            <p:cNvPr id="152" name="Circular Arrow 23"/>
            <p:cNvSpPr/>
            <p:nvPr/>
          </p:nvSpPr>
          <p:spPr bwMode="auto">
            <a:xfrm rot="13932142">
              <a:off x="6823310" y="4096331"/>
              <a:ext cx="589347" cy="519792"/>
            </a:xfrm>
            <a:prstGeom prst="circularArrow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77662" tIns="38833" rIns="77662" bIns="38833" numCol="1" rtlCol="0" anchor="ctr" anchorCtr="0" compatLnSpc="1"/>
            <a:lstStyle/>
            <a:p>
              <a:pPr algn="ctr" defTabSz="775970">
                <a:defRPr/>
              </a:pPr>
              <a:endParaRPr lang="en-US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</a:endParaRPr>
            </a:p>
          </p:txBody>
        </p:sp>
      </p:grpSp>
      <p:sp>
        <p:nvSpPr>
          <p:cNvPr id="153" name="Freeform 16"/>
          <p:cNvSpPr>
            <a:spLocks noEditPoints="1"/>
          </p:cNvSpPr>
          <p:nvPr/>
        </p:nvSpPr>
        <p:spPr bwMode="black">
          <a:xfrm>
            <a:off x="6862156" y="2781560"/>
            <a:ext cx="580377" cy="804636"/>
          </a:xfrm>
          <a:custGeom>
            <a:avLst/>
            <a:gdLst>
              <a:gd name="T0" fmla="*/ 221 w 288"/>
              <a:gd name="T1" fmla="*/ 373 h 399"/>
              <a:gd name="T2" fmla="*/ 194 w 288"/>
              <a:gd name="T3" fmla="*/ 350 h 399"/>
              <a:gd name="T4" fmla="*/ 137 w 288"/>
              <a:gd name="T5" fmla="*/ 150 h 399"/>
              <a:gd name="T6" fmla="*/ 165 w 288"/>
              <a:gd name="T7" fmla="*/ 398 h 399"/>
              <a:gd name="T8" fmla="*/ 94 w 288"/>
              <a:gd name="T9" fmla="*/ 325 h 399"/>
              <a:gd name="T10" fmla="*/ 192 w 288"/>
              <a:gd name="T11" fmla="*/ 269 h 399"/>
              <a:gd name="T12" fmla="*/ 223 w 288"/>
              <a:gd name="T13" fmla="*/ 371 h 399"/>
              <a:gd name="T14" fmla="*/ 135 w 288"/>
              <a:gd name="T15" fmla="*/ 170 h 399"/>
              <a:gd name="T16" fmla="*/ 179 w 288"/>
              <a:gd name="T17" fmla="*/ 395 h 399"/>
              <a:gd name="T18" fmla="*/ 135 w 288"/>
              <a:gd name="T19" fmla="*/ 324 h 399"/>
              <a:gd name="T20" fmla="*/ 154 w 288"/>
              <a:gd name="T21" fmla="*/ 308 h 399"/>
              <a:gd name="T22" fmla="*/ 208 w 288"/>
              <a:gd name="T23" fmla="*/ 382 h 399"/>
              <a:gd name="T24" fmla="*/ 85 w 288"/>
              <a:gd name="T25" fmla="*/ 380 h 399"/>
              <a:gd name="T26" fmla="*/ 143 w 288"/>
              <a:gd name="T27" fmla="*/ 82 h 399"/>
              <a:gd name="T28" fmla="*/ 228 w 288"/>
              <a:gd name="T29" fmla="*/ 288 h 399"/>
              <a:gd name="T30" fmla="*/ 253 w 288"/>
              <a:gd name="T31" fmla="*/ 340 h 399"/>
              <a:gd name="T32" fmla="*/ 247 w 288"/>
              <a:gd name="T33" fmla="*/ 233 h 399"/>
              <a:gd name="T34" fmla="*/ 20 w 288"/>
              <a:gd name="T35" fmla="*/ 263 h 399"/>
              <a:gd name="T36" fmla="*/ 85 w 288"/>
              <a:gd name="T37" fmla="*/ 380 h 399"/>
              <a:gd name="T38" fmla="*/ 219 w 288"/>
              <a:gd name="T39" fmla="*/ 242 h 399"/>
              <a:gd name="T40" fmla="*/ 56 w 288"/>
              <a:gd name="T41" fmla="*/ 305 h 399"/>
              <a:gd name="T42" fmla="*/ 129 w 288"/>
              <a:gd name="T43" fmla="*/ 397 h 399"/>
              <a:gd name="T44" fmla="*/ 137 w 288"/>
              <a:gd name="T45" fmla="*/ 115 h 399"/>
              <a:gd name="T46" fmla="*/ 210 w 288"/>
              <a:gd name="T47" fmla="*/ 334 h 399"/>
              <a:gd name="T48" fmla="*/ 239 w 288"/>
              <a:gd name="T49" fmla="*/ 357 h 399"/>
              <a:gd name="T50" fmla="*/ 0 w 288"/>
              <a:gd name="T51" fmla="*/ 202 h 399"/>
              <a:gd name="T52" fmla="*/ 144 w 288"/>
              <a:gd name="T53" fmla="*/ 51 h 399"/>
              <a:gd name="T54" fmla="*/ 252 w 288"/>
              <a:gd name="T55" fmla="*/ 298 h 399"/>
              <a:gd name="T56" fmla="*/ 266 w 288"/>
              <a:gd name="T57" fmla="*/ 320 h 399"/>
              <a:gd name="T58" fmla="*/ 277 w 288"/>
              <a:gd name="T59" fmla="*/ 221 h 399"/>
              <a:gd name="T60" fmla="*/ 3 w 288"/>
              <a:gd name="T61" fmla="*/ 162 h 399"/>
              <a:gd name="T62" fmla="*/ 0 w 288"/>
              <a:gd name="T63" fmla="*/ 202 h 399"/>
              <a:gd name="T64" fmla="*/ 145 w 288"/>
              <a:gd name="T65" fmla="*/ 0 h 399"/>
              <a:gd name="T66" fmla="*/ 144 w 288"/>
              <a:gd name="T67" fmla="*/ 18 h 399"/>
              <a:gd name="T68" fmla="*/ 142 w 288"/>
              <a:gd name="T69" fmla="*/ 308 h 399"/>
              <a:gd name="T70" fmla="*/ 137 w 288"/>
              <a:gd name="T71" fmla="*/ 201 h 399"/>
              <a:gd name="T72" fmla="*/ 130 w 288"/>
              <a:gd name="T73" fmla="*/ 208 h 399"/>
              <a:gd name="T74" fmla="*/ 142 w 288"/>
              <a:gd name="T75" fmla="*/ 308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88" h="399">
                <a:moveTo>
                  <a:pt x="223" y="371"/>
                </a:moveTo>
                <a:cubicBezTo>
                  <a:pt x="221" y="373"/>
                  <a:pt x="221" y="373"/>
                  <a:pt x="221" y="373"/>
                </a:cubicBezTo>
                <a:cubicBezTo>
                  <a:pt x="220" y="374"/>
                  <a:pt x="218" y="375"/>
                  <a:pt x="217" y="376"/>
                </a:cubicBezTo>
                <a:cubicBezTo>
                  <a:pt x="215" y="374"/>
                  <a:pt x="205" y="366"/>
                  <a:pt x="194" y="350"/>
                </a:cubicBezTo>
                <a:cubicBezTo>
                  <a:pt x="181" y="332"/>
                  <a:pt x="177" y="299"/>
                  <a:pt x="180" y="268"/>
                </a:cubicBezTo>
                <a:cubicBezTo>
                  <a:pt x="186" y="212"/>
                  <a:pt x="180" y="148"/>
                  <a:pt x="137" y="150"/>
                </a:cubicBezTo>
                <a:cubicBezTo>
                  <a:pt x="90" y="152"/>
                  <a:pt x="69" y="245"/>
                  <a:pt x="106" y="319"/>
                </a:cubicBezTo>
                <a:cubicBezTo>
                  <a:pt x="125" y="357"/>
                  <a:pt x="150" y="384"/>
                  <a:pt x="165" y="398"/>
                </a:cubicBezTo>
                <a:cubicBezTo>
                  <a:pt x="161" y="398"/>
                  <a:pt x="157" y="399"/>
                  <a:pt x="153" y="399"/>
                </a:cubicBezTo>
                <a:cubicBezTo>
                  <a:pt x="137" y="384"/>
                  <a:pt x="115" y="364"/>
                  <a:pt x="94" y="325"/>
                </a:cubicBezTo>
                <a:cubicBezTo>
                  <a:pt x="46" y="236"/>
                  <a:pt x="82" y="134"/>
                  <a:pt x="137" y="134"/>
                </a:cubicBezTo>
                <a:cubicBezTo>
                  <a:pt x="195" y="134"/>
                  <a:pt x="201" y="201"/>
                  <a:pt x="192" y="269"/>
                </a:cubicBezTo>
                <a:cubicBezTo>
                  <a:pt x="188" y="301"/>
                  <a:pt x="191" y="329"/>
                  <a:pt x="202" y="346"/>
                </a:cubicBezTo>
                <a:cubicBezTo>
                  <a:pt x="213" y="363"/>
                  <a:pt x="224" y="370"/>
                  <a:pt x="223" y="371"/>
                </a:cubicBezTo>
                <a:close/>
                <a:moveTo>
                  <a:pt x="166" y="306"/>
                </a:moveTo>
                <a:cubicBezTo>
                  <a:pt x="163" y="275"/>
                  <a:pt x="185" y="172"/>
                  <a:pt x="135" y="170"/>
                </a:cubicBezTo>
                <a:cubicBezTo>
                  <a:pt x="104" y="169"/>
                  <a:pt x="77" y="248"/>
                  <a:pt x="125" y="329"/>
                </a:cubicBezTo>
                <a:cubicBezTo>
                  <a:pt x="143" y="361"/>
                  <a:pt x="166" y="383"/>
                  <a:pt x="179" y="395"/>
                </a:cubicBezTo>
                <a:cubicBezTo>
                  <a:pt x="182" y="394"/>
                  <a:pt x="185" y="393"/>
                  <a:pt x="188" y="392"/>
                </a:cubicBezTo>
                <a:cubicBezTo>
                  <a:pt x="177" y="381"/>
                  <a:pt x="153" y="358"/>
                  <a:pt x="135" y="324"/>
                </a:cubicBezTo>
                <a:cubicBezTo>
                  <a:pt x="101" y="266"/>
                  <a:pt x="110" y="186"/>
                  <a:pt x="135" y="186"/>
                </a:cubicBezTo>
                <a:cubicBezTo>
                  <a:pt x="168" y="186"/>
                  <a:pt x="149" y="268"/>
                  <a:pt x="154" y="308"/>
                </a:cubicBezTo>
                <a:cubicBezTo>
                  <a:pt x="160" y="352"/>
                  <a:pt x="187" y="377"/>
                  <a:pt x="200" y="386"/>
                </a:cubicBezTo>
                <a:cubicBezTo>
                  <a:pt x="203" y="385"/>
                  <a:pt x="205" y="384"/>
                  <a:pt x="208" y="382"/>
                </a:cubicBezTo>
                <a:cubicBezTo>
                  <a:pt x="199" y="375"/>
                  <a:pt x="170" y="350"/>
                  <a:pt x="166" y="306"/>
                </a:cubicBezTo>
                <a:close/>
                <a:moveTo>
                  <a:pt x="85" y="380"/>
                </a:moveTo>
                <a:cubicBezTo>
                  <a:pt x="65" y="357"/>
                  <a:pt x="36" y="313"/>
                  <a:pt x="31" y="261"/>
                </a:cubicBezTo>
                <a:cubicBezTo>
                  <a:pt x="25" y="164"/>
                  <a:pt x="66" y="82"/>
                  <a:pt x="143" y="82"/>
                </a:cubicBezTo>
                <a:cubicBezTo>
                  <a:pt x="213" y="82"/>
                  <a:pt x="241" y="157"/>
                  <a:pt x="235" y="231"/>
                </a:cubicBezTo>
                <a:cubicBezTo>
                  <a:pt x="234" y="251"/>
                  <a:pt x="228" y="269"/>
                  <a:pt x="228" y="288"/>
                </a:cubicBezTo>
                <a:cubicBezTo>
                  <a:pt x="227" y="320"/>
                  <a:pt x="236" y="334"/>
                  <a:pt x="248" y="347"/>
                </a:cubicBezTo>
                <a:cubicBezTo>
                  <a:pt x="250" y="345"/>
                  <a:pt x="251" y="343"/>
                  <a:pt x="253" y="340"/>
                </a:cubicBezTo>
                <a:cubicBezTo>
                  <a:pt x="246" y="330"/>
                  <a:pt x="237" y="313"/>
                  <a:pt x="238" y="289"/>
                </a:cubicBezTo>
                <a:cubicBezTo>
                  <a:pt x="239" y="273"/>
                  <a:pt x="243" y="254"/>
                  <a:pt x="247" y="233"/>
                </a:cubicBezTo>
                <a:cubicBezTo>
                  <a:pt x="257" y="169"/>
                  <a:pt x="233" y="66"/>
                  <a:pt x="143" y="65"/>
                </a:cubicBezTo>
                <a:cubicBezTo>
                  <a:pt x="77" y="64"/>
                  <a:pt x="7" y="129"/>
                  <a:pt x="20" y="263"/>
                </a:cubicBezTo>
                <a:cubicBezTo>
                  <a:pt x="24" y="299"/>
                  <a:pt x="39" y="330"/>
                  <a:pt x="54" y="354"/>
                </a:cubicBezTo>
                <a:cubicBezTo>
                  <a:pt x="64" y="365"/>
                  <a:pt x="74" y="373"/>
                  <a:pt x="85" y="380"/>
                </a:cubicBezTo>
                <a:close/>
                <a:moveTo>
                  <a:pt x="219" y="331"/>
                </a:moveTo>
                <a:cubicBezTo>
                  <a:pt x="211" y="309"/>
                  <a:pt x="212" y="277"/>
                  <a:pt x="219" y="242"/>
                </a:cubicBezTo>
                <a:cubicBezTo>
                  <a:pt x="228" y="183"/>
                  <a:pt x="216" y="99"/>
                  <a:pt x="137" y="99"/>
                </a:cubicBezTo>
                <a:cubicBezTo>
                  <a:pt x="73" y="99"/>
                  <a:pt x="16" y="198"/>
                  <a:pt x="56" y="305"/>
                </a:cubicBezTo>
                <a:cubicBezTo>
                  <a:pt x="72" y="346"/>
                  <a:pt x="96" y="376"/>
                  <a:pt x="113" y="393"/>
                </a:cubicBezTo>
                <a:cubicBezTo>
                  <a:pt x="118" y="395"/>
                  <a:pt x="123" y="396"/>
                  <a:pt x="129" y="397"/>
                </a:cubicBezTo>
                <a:cubicBezTo>
                  <a:pt x="113" y="382"/>
                  <a:pt x="84" y="348"/>
                  <a:pt x="67" y="300"/>
                </a:cubicBezTo>
                <a:cubicBezTo>
                  <a:pt x="37" y="213"/>
                  <a:pt x="79" y="116"/>
                  <a:pt x="137" y="115"/>
                </a:cubicBezTo>
                <a:cubicBezTo>
                  <a:pt x="189" y="114"/>
                  <a:pt x="216" y="168"/>
                  <a:pt x="208" y="239"/>
                </a:cubicBezTo>
                <a:cubicBezTo>
                  <a:pt x="201" y="274"/>
                  <a:pt x="200" y="310"/>
                  <a:pt x="210" y="334"/>
                </a:cubicBezTo>
                <a:cubicBezTo>
                  <a:pt x="217" y="351"/>
                  <a:pt x="228" y="359"/>
                  <a:pt x="233" y="363"/>
                </a:cubicBezTo>
                <a:cubicBezTo>
                  <a:pt x="235" y="361"/>
                  <a:pt x="237" y="359"/>
                  <a:pt x="239" y="357"/>
                </a:cubicBezTo>
                <a:cubicBezTo>
                  <a:pt x="235" y="354"/>
                  <a:pt x="225" y="347"/>
                  <a:pt x="219" y="331"/>
                </a:cubicBezTo>
                <a:close/>
                <a:moveTo>
                  <a:pt x="0" y="202"/>
                </a:moveTo>
                <a:cubicBezTo>
                  <a:pt x="0" y="217"/>
                  <a:pt x="1" y="231"/>
                  <a:pt x="4" y="245"/>
                </a:cubicBezTo>
                <a:cubicBezTo>
                  <a:pt x="6" y="146"/>
                  <a:pt x="40" y="49"/>
                  <a:pt x="144" y="51"/>
                </a:cubicBezTo>
                <a:cubicBezTo>
                  <a:pt x="230" y="51"/>
                  <a:pt x="271" y="143"/>
                  <a:pt x="262" y="219"/>
                </a:cubicBezTo>
                <a:cubicBezTo>
                  <a:pt x="259" y="248"/>
                  <a:pt x="252" y="276"/>
                  <a:pt x="252" y="298"/>
                </a:cubicBezTo>
                <a:cubicBezTo>
                  <a:pt x="252" y="315"/>
                  <a:pt x="258" y="326"/>
                  <a:pt x="260" y="330"/>
                </a:cubicBezTo>
                <a:cubicBezTo>
                  <a:pt x="262" y="327"/>
                  <a:pt x="264" y="323"/>
                  <a:pt x="266" y="320"/>
                </a:cubicBezTo>
                <a:cubicBezTo>
                  <a:pt x="263" y="314"/>
                  <a:pt x="261" y="308"/>
                  <a:pt x="262" y="298"/>
                </a:cubicBezTo>
                <a:cubicBezTo>
                  <a:pt x="262" y="279"/>
                  <a:pt x="272" y="252"/>
                  <a:pt x="277" y="221"/>
                </a:cubicBezTo>
                <a:cubicBezTo>
                  <a:pt x="288" y="144"/>
                  <a:pt x="247" y="31"/>
                  <a:pt x="144" y="31"/>
                </a:cubicBezTo>
                <a:cubicBezTo>
                  <a:pt x="62" y="32"/>
                  <a:pt x="18" y="92"/>
                  <a:pt x="3" y="162"/>
                </a:cubicBezTo>
                <a:cubicBezTo>
                  <a:pt x="1" y="175"/>
                  <a:pt x="0" y="188"/>
                  <a:pt x="0" y="201"/>
                </a:cubicBezTo>
                <a:cubicBezTo>
                  <a:pt x="0" y="201"/>
                  <a:pt x="0" y="202"/>
                  <a:pt x="0" y="202"/>
                </a:cubicBezTo>
                <a:close/>
                <a:moveTo>
                  <a:pt x="262" y="75"/>
                </a:moveTo>
                <a:cubicBezTo>
                  <a:pt x="244" y="44"/>
                  <a:pt x="206" y="0"/>
                  <a:pt x="145" y="0"/>
                </a:cubicBezTo>
                <a:cubicBezTo>
                  <a:pt x="108" y="0"/>
                  <a:pt x="80" y="18"/>
                  <a:pt x="58" y="40"/>
                </a:cubicBezTo>
                <a:cubicBezTo>
                  <a:pt x="60" y="39"/>
                  <a:pt x="91" y="18"/>
                  <a:pt x="144" y="18"/>
                </a:cubicBezTo>
                <a:cubicBezTo>
                  <a:pt x="220" y="18"/>
                  <a:pt x="262" y="75"/>
                  <a:pt x="262" y="75"/>
                </a:cubicBezTo>
                <a:close/>
                <a:moveTo>
                  <a:pt x="142" y="308"/>
                </a:moveTo>
                <a:cubicBezTo>
                  <a:pt x="140" y="294"/>
                  <a:pt x="141" y="277"/>
                  <a:pt x="142" y="260"/>
                </a:cubicBezTo>
                <a:cubicBezTo>
                  <a:pt x="143" y="238"/>
                  <a:pt x="144" y="209"/>
                  <a:pt x="137" y="201"/>
                </a:cubicBezTo>
                <a:cubicBezTo>
                  <a:pt x="137" y="201"/>
                  <a:pt x="137" y="201"/>
                  <a:pt x="135" y="201"/>
                </a:cubicBezTo>
                <a:cubicBezTo>
                  <a:pt x="135" y="201"/>
                  <a:pt x="132" y="202"/>
                  <a:pt x="130" y="208"/>
                </a:cubicBezTo>
                <a:cubicBezTo>
                  <a:pt x="122" y="227"/>
                  <a:pt x="122" y="271"/>
                  <a:pt x="141" y="308"/>
                </a:cubicBezTo>
                <a:cubicBezTo>
                  <a:pt x="141" y="309"/>
                  <a:pt x="142" y="309"/>
                  <a:pt x="142" y="30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75" tIns="41138" rIns="82275" bIns="41138" numCol="1" anchor="t" anchorCtr="0" compatLnSpc="1"/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pic>
        <p:nvPicPr>
          <p:cNvPr id="162" name="Picture 1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1126" y="1731293"/>
            <a:ext cx="600914" cy="600914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5456510" y="1763376"/>
            <a:ext cx="838894" cy="536749"/>
            <a:chOff x="10566021" y="820188"/>
            <a:chExt cx="963695" cy="616600"/>
          </a:xfrm>
          <a:solidFill>
            <a:schemeClr val="bg1"/>
          </a:solidFill>
        </p:grpSpPr>
        <p:sp>
          <p:nvSpPr>
            <p:cNvPr id="164" name="Freeform 398"/>
            <p:cNvSpPr/>
            <p:nvPr/>
          </p:nvSpPr>
          <p:spPr bwMode="auto">
            <a:xfrm>
              <a:off x="10718130" y="1017214"/>
              <a:ext cx="811586" cy="419574"/>
            </a:xfrm>
            <a:custGeom>
              <a:avLst/>
              <a:gdLst>
                <a:gd name="T0" fmla="*/ 334 w 337"/>
                <a:gd name="T1" fmla="*/ 14 h 174"/>
                <a:gd name="T2" fmla="*/ 334 w 337"/>
                <a:gd name="T3" fmla="*/ 14 h 174"/>
                <a:gd name="T4" fmla="*/ 333 w 337"/>
                <a:gd name="T5" fmla="*/ 13 h 174"/>
                <a:gd name="T6" fmla="*/ 333 w 337"/>
                <a:gd name="T7" fmla="*/ 13 h 174"/>
                <a:gd name="T8" fmla="*/ 316 w 337"/>
                <a:gd name="T9" fmla="*/ 0 h 174"/>
                <a:gd name="T10" fmla="*/ 298 w 337"/>
                <a:gd name="T11" fmla="*/ 18 h 174"/>
                <a:gd name="T12" fmla="*/ 299 w 337"/>
                <a:gd name="T13" fmla="*/ 24 h 174"/>
                <a:gd name="T14" fmla="*/ 299 w 337"/>
                <a:gd name="T15" fmla="*/ 24 h 174"/>
                <a:gd name="T16" fmla="*/ 300 w 337"/>
                <a:gd name="T17" fmla="*/ 40 h 174"/>
                <a:gd name="T18" fmla="*/ 229 w 337"/>
                <a:gd name="T19" fmla="*/ 112 h 174"/>
                <a:gd name="T20" fmla="*/ 49 w 337"/>
                <a:gd name="T21" fmla="*/ 112 h 174"/>
                <a:gd name="T22" fmla="*/ 49 w 337"/>
                <a:gd name="T23" fmla="*/ 87 h 174"/>
                <a:gd name="T24" fmla="*/ 0 w 337"/>
                <a:gd name="T25" fmla="*/ 130 h 174"/>
                <a:gd name="T26" fmla="*/ 49 w 337"/>
                <a:gd name="T27" fmla="*/ 174 h 174"/>
                <a:gd name="T28" fmla="*/ 49 w 337"/>
                <a:gd name="T29" fmla="*/ 149 h 174"/>
                <a:gd name="T30" fmla="*/ 229 w 337"/>
                <a:gd name="T31" fmla="*/ 149 h 174"/>
                <a:gd name="T32" fmla="*/ 337 w 337"/>
                <a:gd name="T33" fmla="*/ 40 h 174"/>
                <a:gd name="T34" fmla="*/ 334 w 337"/>
                <a:gd name="T35" fmla="*/ 1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7" h="174">
                  <a:moveTo>
                    <a:pt x="334" y="14"/>
                  </a:moveTo>
                  <a:cubicBezTo>
                    <a:pt x="334" y="14"/>
                    <a:pt x="334" y="14"/>
                    <a:pt x="334" y="14"/>
                  </a:cubicBezTo>
                  <a:cubicBezTo>
                    <a:pt x="333" y="14"/>
                    <a:pt x="333" y="13"/>
                    <a:pt x="333" y="13"/>
                  </a:cubicBezTo>
                  <a:cubicBezTo>
                    <a:pt x="333" y="13"/>
                    <a:pt x="333" y="13"/>
                    <a:pt x="333" y="13"/>
                  </a:cubicBezTo>
                  <a:cubicBezTo>
                    <a:pt x="331" y="5"/>
                    <a:pt x="324" y="0"/>
                    <a:pt x="316" y="0"/>
                  </a:cubicBezTo>
                  <a:cubicBezTo>
                    <a:pt x="306" y="0"/>
                    <a:pt x="298" y="8"/>
                    <a:pt x="298" y="18"/>
                  </a:cubicBezTo>
                  <a:cubicBezTo>
                    <a:pt x="298" y="20"/>
                    <a:pt x="298" y="22"/>
                    <a:pt x="299" y="24"/>
                  </a:cubicBezTo>
                  <a:cubicBezTo>
                    <a:pt x="299" y="24"/>
                    <a:pt x="299" y="24"/>
                    <a:pt x="299" y="24"/>
                  </a:cubicBezTo>
                  <a:cubicBezTo>
                    <a:pt x="300" y="30"/>
                    <a:pt x="300" y="35"/>
                    <a:pt x="300" y="40"/>
                  </a:cubicBezTo>
                  <a:cubicBezTo>
                    <a:pt x="300" y="80"/>
                    <a:pt x="268" y="112"/>
                    <a:pt x="229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49" y="174"/>
                    <a:pt x="49" y="174"/>
                    <a:pt x="49" y="17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29" y="149"/>
                    <a:pt x="229" y="149"/>
                    <a:pt x="229" y="149"/>
                  </a:cubicBezTo>
                  <a:cubicBezTo>
                    <a:pt x="288" y="149"/>
                    <a:pt x="337" y="100"/>
                    <a:pt x="337" y="40"/>
                  </a:cubicBezTo>
                  <a:cubicBezTo>
                    <a:pt x="337" y="31"/>
                    <a:pt x="336" y="23"/>
                    <a:pt x="334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165" name="Freeform 399"/>
            <p:cNvSpPr/>
            <p:nvPr/>
          </p:nvSpPr>
          <p:spPr bwMode="auto">
            <a:xfrm>
              <a:off x="10566021" y="820188"/>
              <a:ext cx="812607" cy="419574"/>
            </a:xfrm>
            <a:custGeom>
              <a:avLst/>
              <a:gdLst>
                <a:gd name="T0" fmla="*/ 337 w 337"/>
                <a:gd name="T1" fmla="*/ 44 h 174"/>
                <a:gd name="T2" fmla="*/ 288 w 337"/>
                <a:gd name="T3" fmla="*/ 0 h 174"/>
                <a:gd name="T4" fmla="*/ 288 w 337"/>
                <a:gd name="T5" fmla="*/ 25 h 174"/>
                <a:gd name="T6" fmla="*/ 108 w 337"/>
                <a:gd name="T7" fmla="*/ 25 h 174"/>
                <a:gd name="T8" fmla="*/ 0 w 337"/>
                <a:gd name="T9" fmla="*/ 134 h 174"/>
                <a:gd name="T10" fmla="*/ 3 w 337"/>
                <a:gd name="T11" fmla="*/ 160 h 174"/>
                <a:gd name="T12" fmla="*/ 3 w 337"/>
                <a:gd name="T13" fmla="*/ 160 h 174"/>
                <a:gd name="T14" fmla="*/ 4 w 337"/>
                <a:gd name="T15" fmla="*/ 161 h 174"/>
                <a:gd name="T16" fmla="*/ 4 w 337"/>
                <a:gd name="T17" fmla="*/ 161 h 174"/>
                <a:gd name="T18" fmla="*/ 21 w 337"/>
                <a:gd name="T19" fmla="*/ 174 h 174"/>
                <a:gd name="T20" fmla="*/ 39 w 337"/>
                <a:gd name="T21" fmla="*/ 156 h 174"/>
                <a:gd name="T22" fmla="*/ 38 w 337"/>
                <a:gd name="T23" fmla="*/ 150 h 174"/>
                <a:gd name="T24" fmla="*/ 38 w 337"/>
                <a:gd name="T25" fmla="*/ 150 h 174"/>
                <a:gd name="T26" fmla="*/ 37 w 337"/>
                <a:gd name="T27" fmla="*/ 134 h 174"/>
                <a:gd name="T28" fmla="*/ 108 w 337"/>
                <a:gd name="T29" fmla="*/ 62 h 174"/>
                <a:gd name="T30" fmla="*/ 288 w 337"/>
                <a:gd name="T31" fmla="*/ 62 h 174"/>
                <a:gd name="T32" fmla="*/ 288 w 337"/>
                <a:gd name="T33" fmla="*/ 87 h 174"/>
                <a:gd name="T34" fmla="*/ 337 w 337"/>
                <a:gd name="T35" fmla="*/ 4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7" h="174">
                  <a:moveTo>
                    <a:pt x="337" y="44"/>
                  </a:moveTo>
                  <a:cubicBezTo>
                    <a:pt x="288" y="0"/>
                    <a:pt x="288" y="0"/>
                    <a:pt x="288" y="0"/>
                  </a:cubicBezTo>
                  <a:cubicBezTo>
                    <a:pt x="288" y="25"/>
                    <a:pt x="288" y="25"/>
                    <a:pt x="28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49" y="25"/>
                    <a:pt x="0" y="74"/>
                    <a:pt x="0" y="134"/>
                  </a:cubicBezTo>
                  <a:cubicBezTo>
                    <a:pt x="0" y="143"/>
                    <a:pt x="1" y="151"/>
                    <a:pt x="3" y="160"/>
                  </a:cubicBezTo>
                  <a:cubicBezTo>
                    <a:pt x="3" y="160"/>
                    <a:pt x="3" y="160"/>
                    <a:pt x="3" y="160"/>
                  </a:cubicBezTo>
                  <a:cubicBezTo>
                    <a:pt x="4" y="160"/>
                    <a:pt x="4" y="161"/>
                    <a:pt x="4" y="161"/>
                  </a:cubicBezTo>
                  <a:cubicBezTo>
                    <a:pt x="4" y="161"/>
                    <a:pt x="4" y="161"/>
                    <a:pt x="4" y="161"/>
                  </a:cubicBezTo>
                  <a:cubicBezTo>
                    <a:pt x="6" y="169"/>
                    <a:pt x="13" y="174"/>
                    <a:pt x="21" y="174"/>
                  </a:cubicBezTo>
                  <a:cubicBezTo>
                    <a:pt x="31" y="174"/>
                    <a:pt x="39" y="166"/>
                    <a:pt x="39" y="156"/>
                  </a:cubicBezTo>
                  <a:cubicBezTo>
                    <a:pt x="39" y="154"/>
                    <a:pt x="39" y="152"/>
                    <a:pt x="38" y="150"/>
                  </a:cubicBezTo>
                  <a:cubicBezTo>
                    <a:pt x="38" y="150"/>
                    <a:pt x="38" y="150"/>
                    <a:pt x="38" y="150"/>
                  </a:cubicBezTo>
                  <a:cubicBezTo>
                    <a:pt x="37" y="144"/>
                    <a:pt x="37" y="139"/>
                    <a:pt x="37" y="134"/>
                  </a:cubicBezTo>
                  <a:cubicBezTo>
                    <a:pt x="37" y="94"/>
                    <a:pt x="69" y="62"/>
                    <a:pt x="108" y="62"/>
                  </a:cubicBezTo>
                  <a:cubicBezTo>
                    <a:pt x="288" y="62"/>
                    <a:pt x="288" y="62"/>
                    <a:pt x="288" y="62"/>
                  </a:cubicBezTo>
                  <a:cubicBezTo>
                    <a:pt x="288" y="87"/>
                    <a:pt x="288" y="87"/>
                    <a:pt x="288" y="87"/>
                  </a:cubicBezTo>
                  <a:lnTo>
                    <a:pt x="337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</p:grpSp>
      <p:pic>
        <p:nvPicPr>
          <p:cNvPr id="168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28384" y="555526"/>
            <a:ext cx="792088" cy="741099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5" name="Picture 38" descr="roadway.png"/>
          <p:cNvPicPr>
            <a:picLocks noChangeAspect="1"/>
          </p:cNvPicPr>
          <p:nvPr/>
        </p:nvPicPr>
        <p:blipFill>
          <a:blip r:embed="rId6" cstate="print"/>
          <a:srcRect l="11462" t="12449" r="11465" b="14937"/>
          <a:stretch>
            <a:fillRect/>
          </a:stretch>
        </p:blipFill>
        <p:spPr bwMode="auto">
          <a:xfrm>
            <a:off x="1608035" y="3949757"/>
            <a:ext cx="875733" cy="885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6" name="Group 134"/>
          <p:cNvGrpSpPr/>
          <p:nvPr/>
        </p:nvGrpSpPr>
        <p:grpSpPr>
          <a:xfrm>
            <a:off x="457905" y="4002271"/>
            <a:ext cx="667470" cy="667470"/>
            <a:chOff x="-4426857" y="3485372"/>
            <a:chExt cx="3483429" cy="3483427"/>
          </a:xfrm>
          <a:solidFill>
            <a:srgbClr val="FFFFFF"/>
          </a:solidFill>
        </p:grpSpPr>
        <p:sp>
          <p:nvSpPr>
            <p:cNvPr id="177" name="Oval 51"/>
            <p:cNvSpPr/>
            <p:nvPr/>
          </p:nvSpPr>
          <p:spPr bwMode="auto">
            <a:xfrm>
              <a:off x="-4426857" y="3485372"/>
              <a:ext cx="3483429" cy="3483427"/>
            </a:xfrm>
            <a:custGeom>
              <a:avLst/>
              <a:gdLst/>
              <a:ahLst/>
              <a:cxnLst/>
              <a:rect l="l" t="t" r="r" b="b"/>
              <a:pathLst>
                <a:path w="3483428" h="3483428">
                  <a:moveTo>
                    <a:pt x="1741714" y="149369"/>
                  </a:moveTo>
                  <a:cubicBezTo>
                    <a:pt x="862286" y="149369"/>
                    <a:pt x="149369" y="862286"/>
                    <a:pt x="149369" y="1741714"/>
                  </a:cubicBezTo>
                  <a:cubicBezTo>
                    <a:pt x="149369" y="2621142"/>
                    <a:pt x="862286" y="3334059"/>
                    <a:pt x="1741714" y="3334059"/>
                  </a:cubicBezTo>
                  <a:cubicBezTo>
                    <a:pt x="2621142" y="3334059"/>
                    <a:pt x="3334059" y="2621142"/>
                    <a:pt x="3334059" y="1741714"/>
                  </a:cubicBezTo>
                  <a:cubicBezTo>
                    <a:pt x="3334059" y="862286"/>
                    <a:pt x="2621142" y="149369"/>
                    <a:pt x="1741714" y="149369"/>
                  </a:cubicBezTo>
                  <a:close/>
                  <a:moveTo>
                    <a:pt x="1741714" y="0"/>
                  </a:moveTo>
                  <a:cubicBezTo>
                    <a:pt x="2703636" y="0"/>
                    <a:pt x="3483428" y="779792"/>
                    <a:pt x="3483428" y="1741714"/>
                  </a:cubicBezTo>
                  <a:cubicBezTo>
                    <a:pt x="3483428" y="2703636"/>
                    <a:pt x="2703636" y="3483428"/>
                    <a:pt x="1741714" y="3483428"/>
                  </a:cubicBezTo>
                  <a:cubicBezTo>
                    <a:pt x="779792" y="3483428"/>
                    <a:pt x="0" y="2703636"/>
                    <a:pt x="0" y="1741714"/>
                  </a:cubicBezTo>
                  <a:cubicBezTo>
                    <a:pt x="0" y="779792"/>
                    <a:pt x="779792" y="0"/>
                    <a:pt x="1741714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46630" rIns="0" bIns="46630" numCol="1" rtlCol="0" anchor="ctr" anchorCtr="0" compatLnSpc="1"/>
            <a:lstStyle/>
            <a:p>
              <a:pPr marL="0" marR="0" lvl="0" indent="0" algn="ctr" defTabSz="93154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178" name="Trapezoid 53"/>
            <p:cNvSpPr/>
            <p:nvPr/>
          </p:nvSpPr>
          <p:spPr bwMode="auto">
            <a:xfrm>
              <a:off x="-3832775" y="3794759"/>
              <a:ext cx="2295270" cy="2465920"/>
            </a:xfrm>
            <a:custGeom>
              <a:avLst/>
              <a:gdLst/>
              <a:ahLst/>
              <a:cxnLst/>
              <a:rect l="l" t="t" r="r" b="b"/>
              <a:pathLst>
                <a:path w="2295271" h="2465922">
                  <a:moveTo>
                    <a:pt x="1071425" y="0"/>
                  </a:moveTo>
                  <a:lnTo>
                    <a:pt x="1145549" y="0"/>
                  </a:lnTo>
                  <a:lnTo>
                    <a:pt x="1149722" y="0"/>
                  </a:lnTo>
                  <a:lnTo>
                    <a:pt x="1223845" y="0"/>
                  </a:lnTo>
                  <a:lnTo>
                    <a:pt x="2295271" y="2337677"/>
                  </a:lnTo>
                  <a:cubicBezTo>
                    <a:pt x="2260874" y="2383104"/>
                    <a:pt x="2223006" y="2425696"/>
                    <a:pt x="2182768" y="2465921"/>
                  </a:cubicBezTo>
                  <a:lnTo>
                    <a:pt x="1213025" y="1"/>
                  </a:lnTo>
                  <a:lnTo>
                    <a:pt x="1149722" y="1"/>
                  </a:lnTo>
                  <a:lnTo>
                    <a:pt x="1165282" y="1517206"/>
                  </a:lnTo>
                  <a:lnTo>
                    <a:pt x="1147635" y="1515427"/>
                  </a:lnTo>
                  <a:cubicBezTo>
                    <a:pt x="1141723" y="1515427"/>
                    <a:pt x="1135828" y="1515500"/>
                    <a:pt x="1129989" y="1517206"/>
                  </a:cubicBezTo>
                  <a:lnTo>
                    <a:pt x="1145549" y="1"/>
                  </a:lnTo>
                  <a:lnTo>
                    <a:pt x="1082245" y="1"/>
                  </a:lnTo>
                  <a:lnTo>
                    <a:pt x="112503" y="2465922"/>
                  </a:lnTo>
                  <a:cubicBezTo>
                    <a:pt x="72265" y="2425697"/>
                    <a:pt x="34397" y="2383104"/>
                    <a:pt x="0" y="2337677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0" tIns="46630" rIns="0" bIns="46630" numCol="1" rtlCol="0" anchor="ctr" anchorCtr="0" compatLnSpc="1"/>
            <a:lstStyle/>
            <a:p>
              <a:pPr marL="0" marR="0" lvl="0" indent="0" algn="ctr" defTabSz="93154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179" name="Freeform 30"/>
            <p:cNvSpPr>
              <a:spLocks noEditPoints="1"/>
            </p:cNvSpPr>
            <p:nvPr/>
          </p:nvSpPr>
          <p:spPr bwMode="black">
            <a:xfrm>
              <a:off x="-3350987" y="5350311"/>
              <a:ext cx="1331688" cy="1331340"/>
            </a:xfrm>
            <a:custGeom>
              <a:avLst/>
              <a:gdLst>
                <a:gd name="T0" fmla="*/ 0 w 300"/>
                <a:gd name="T1" fmla="*/ 150 h 300"/>
                <a:gd name="T2" fmla="*/ 300 w 300"/>
                <a:gd name="T3" fmla="*/ 150 h 300"/>
                <a:gd name="T4" fmla="*/ 217 w 300"/>
                <a:gd name="T5" fmla="*/ 258 h 300"/>
                <a:gd name="T6" fmla="*/ 207 w 300"/>
                <a:gd name="T7" fmla="*/ 256 h 300"/>
                <a:gd name="T8" fmla="*/ 154 w 300"/>
                <a:gd name="T9" fmla="*/ 277 h 300"/>
                <a:gd name="T10" fmla="*/ 146 w 300"/>
                <a:gd name="T11" fmla="*/ 255 h 300"/>
                <a:gd name="T12" fmla="*/ 89 w 300"/>
                <a:gd name="T13" fmla="*/ 262 h 300"/>
                <a:gd name="T14" fmla="*/ 87 w 300"/>
                <a:gd name="T15" fmla="*/ 252 h 300"/>
                <a:gd name="T16" fmla="*/ 41 w 300"/>
                <a:gd name="T17" fmla="*/ 217 h 300"/>
                <a:gd name="T18" fmla="*/ 44 w 300"/>
                <a:gd name="T19" fmla="*/ 206 h 300"/>
                <a:gd name="T20" fmla="*/ 22 w 300"/>
                <a:gd name="T21" fmla="*/ 153 h 300"/>
                <a:gd name="T22" fmla="*/ 51 w 300"/>
                <a:gd name="T23" fmla="*/ 146 h 300"/>
                <a:gd name="T24" fmla="*/ 38 w 300"/>
                <a:gd name="T25" fmla="*/ 89 h 300"/>
                <a:gd name="T26" fmla="*/ 48 w 300"/>
                <a:gd name="T27" fmla="*/ 86 h 300"/>
                <a:gd name="T28" fmla="*/ 83 w 300"/>
                <a:gd name="T29" fmla="*/ 41 h 300"/>
                <a:gd name="T30" fmla="*/ 93 w 300"/>
                <a:gd name="T31" fmla="*/ 44 h 300"/>
                <a:gd name="T32" fmla="*/ 146 w 300"/>
                <a:gd name="T33" fmla="*/ 22 h 300"/>
                <a:gd name="T34" fmla="*/ 154 w 300"/>
                <a:gd name="T35" fmla="*/ 45 h 300"/>
                <a:gd name="T36" fmla="*/ 210 w 300"/>
                <a:gd name="T37" fmla="*/ 37 h 300"/>
                <a:gd name="T38" fmla="*/ 213 w 300"/>
                <a:gd name="T39" fmla="*/ 48 h 300"/>
                <a:gd name="T40" fmla="*/ 258 w 300"/>
                <a:gd name="T41" fmla="*/ 83 h 300"/>
                <a:gd name="T42" fmla="*/ 256 w 300"/>
                <a:gd name="T43" fmla="*/ 93 h 300"/>
                <a:gd name="T44" fmla="*/ 277 w 300"/>
                <a:gd name="T45" fmla="*/ 146 h 300"/>
                <a:gd name="T46" fmla="*/ 255 w 300"/>
                <a:gd name="T47" fmla="*/ 153 h 300"/>
                <a:gd name="T48" fmla="*/ 262 w 300"/>
                <a:gd name="T49" fmla="*/ 210 h 300"/>
                <a:gd name="T50" fmla="*/ 252 w 300"/>
                <a:gd name="T51" fmla="*/ 213 h 300"/>
                <a:gd name="T52" fmla="*/ 217 w 300"/>
                <a:gd name="T53" fmla="*/ 258 h 300"/>
                <a:gd name="T54" fmla="*/ 141 w 300"/>
                <a:gd name="T55" fmla="*/ 158 h 300"/>
                <a:gd name="T56" fmla="*/ 158 w 300"/>
                <a:gd name="T57" fmla="*/ 141 h 300"/>
                <a:gd name="T58" fmla="*/ 211 w 300"/>
                <a:gd name="T59" fmla="*/ 88 h 300"/>
                <a:gd name="T60" fmla="*/ 125 w 300"/>
                <a:gd name="T61" fmla="*/ 132 h 300"/>
                <a:gd name="T62" fmla="*/ 168 w 300"/>
                <a:gd name="T63" fmla="*/ 174 h 300"/>
                <a:gd name="T64" fmla="*/ 211 w 300"/>
                <a:gd name="T65" fmla="*/ 88 h 300"/>
                <a:gd name="T66" fmla="*/ 135 w 300"/>
                <a:gd name="T67" fmla="*/ 135 h 300"/>
                <a:gd name="T68" fmla="*/ 165 w 300"/>
                <a:gd name="T69" fmla="*/ 16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00">
                  <a:moveTo>
                    <a:pt x="150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3"/>
                    <a:pt x="67" y="300"/>
                    <a:pt x="150" y="300"/>
                  </a:cubicBezTo>
                  <a:cubicBezTo>
                    <a:pt x="233" y="300"/>
                    <a:pt x="300" y="233"/>
                    <a:pt x="300" y="150"/>
                  </a:cubicBezTo>
                  <a:cubicBezTo>
                    <a:pt x="300" y="67"/>
                    <a:pt x="233" y="0"/>
                    <a:pt x="150" y="0"/>
                  </a:cubicBezTo>
                  <a:close/>
                  <a:moveTo>
                    <a:pt x="217" y="258"/>
                  </a:moveTo>
                  <a:cubicBezTo>
                    <a:pt x="213" y="252"/>
                    <a:pt x="213" y="252"/>
                    <a:pt x="213" y="252"/>
                  </a:cubicBezTo>
                  <a:cubicBezTo>
                    <a:pt x="207" y="256"/>
                    <a:pt x="207" y="256"/>
                    <a:pt x="207" y="256"/>
                  </a:cubicBezTo>
                  <a:cubicBezTo>
                    <a:pt x="210" y="262"/>
                    <a:pt x="210" y="262"/>
                    <a:pt x="210" y="262"/>
                  </a:cubicBezTo>
                  <a:cubicBezTo>
                    <a:pt x="193" y="271"/>
                    <a:pt x="174" y="276"/>
                    <a:pt x="154" y="277"/>
                  </a:cubicBezTo>
                  <a:cubicBezTo>
                    <a:pt x="154" y="255"/>
                    <a:pt x="154" y="255"/>
                    <a:pt x="154" y="255"/>
                  </a:cubicBezTo>
                  <a:cubicBezTo>
                    <a:pt x="146" y="255"/>
                    <a:pt x="146" y="255"/>
                    <a:pt x="146" y="255"/>
                  </a:cubicBezTo>
                  <a:cubicBezTo>
                    <a:pt x="146" y="277"/>
                    <a:pt x="146" y="277"/>
                    <a:pt x="146" y="277"/>
                  </a:cubicBezTo>
                  <a:cubicBezTo>
                    <a:pt x="126" y="276"/>
                    <a:pt x="106" y="271"/>
                    <a:pt x="89" y="262"/>
                  </a:cubicBezTo>
                  <a:cubicBezTo>
                    <a:pt x="93" y="256"/>
                    <a:pt x="93" y="256"/>
                    <a:pt x="93" y="256"/>
                  </a:cubicBezTo>
                  <a:cubicBezTo>
                    <a:pt x="87" y="252"/>
                    <a:pt x="87" y="252"/>
                    <a:pt x="87" y="252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66" y="248"/>
                    <a:pt x="52" y="233"/>
                    <a:pt x="41" y="217"/>
                  </a:cubicBezTo>
                  <a:cubicBezTo>
                    <a:pt x="48" y="213"/>
                    <a:pt x="48" y="213"/>
                    <a:pt x="48" y="213"/>
                  </a:cubicBezTo>
                  <a:cubicBezTo>
                    <a:pt x="44" y="206"/>
                    <a:pt x="44" y="206"/>
                    <a:pt x="44" y="206"/>
                  </a:cubicBezTo>
                  <a:cubicBezTo>
                    <a:pt x="38" y="210"/>
                    <a:pt x="38" y="210"/>
                    <a:pt x="38" y="210"/>
                  </a:cubicBezTo>
                  <a:cubicBezTo>
                    <a:pt x="28" y="193"/>
                    <a:pt x="23" y="174"/>
                    <a:pt x="22" y="153"/>
                  </a:cubicBezTo>
                  <a:cubicBezTo>
                    <a:pt x="51" y="153"/>
                    <a:pt x="51" y="153"/>
                    <a:pt x="51" y="153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3" y="125"/>
                    <a:pt x="28" y="106"/>
                    <a:pt x="38" y="89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52" y="66"/>
                    <a:pt x="66" y="52"/>
                    <a:pt x="83" y="41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06" y="28"/>
                    <a:pt x="126" y="23"/>
                    <a:pt x="146" y="22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4" y="22"/>
                    <a:pt x="154" y="22"/>
                    <a:pt x="154" y="22"/>
                  </a:cubicBezTo>
                  <a:cubicBezTo>
                    <a:pt x="174" y="23"/>
                    <a:pt x="193" y="28"/>
                    <a:pt x="210" y="37"/>
                  </a:cubicBezTo>
                  <a:cubicBezTo>
                    <a:pt x="207" y="44"/>
                    <a:pt x="207" y="44"/>
                    <a:pt x="207" y="44"/>
                  </a:cubicBezTo>
                  <a:cubicBezTo>
                    <a:pt x="213" y="48"/>
                    <a:pt x="213" y="48"/>
                    <a:pt x="213" y="48"/>
                  </a:cubicBezTo>
                  <a:cubicBezTo>
                    <a:pt x="217" y="41"/>
                    <a:pt x="217" y="41"/>
                    <a:pt x="217" y="41"/>
                  </a:cubicBezTo>
                  <a:cubicBezTo>
                    <a:pt x="234" y="52"/>
                    <a:pt x="248" y="66"/>
                    <a:pt x="258" y="83"/>
                  </a:cubicBezTo>
                  <a:cubicBezTo>
                    <a:pt x="252" y="86"/>
                    <a:pt x="252" y="86"/>
                    <a:pt x="252" y="86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62" y="89"/>
                    <a:pt x="262" y="89"/>
                    <a:pt x="262" y="89"/>
                  </a:cubicBezTo>
                  <a:cubicBezTo>
                    <a:pt x="271" y="106"/>
                    <a:pt x="277" y="125"/>
                    <a:pt x="277" y="146"/>
                  </a:cubicBezTo>
                  <a:cubicBezTo>
                    <a:pt x="255" y="146"/>
                    <a:pt x="255" y="146"/>
                    <a:pt x="255" y="146"/>
                  </a:cubicBezTo>
                  <a:cubicBezTo>
                    <a:pt x="255" y="153"/>
                    <a:pt x="255" y="153"/>
                    <a:pt x="255" y="153"/>
                  </a:cubicBezTo>
                  <a:cubicBezTo>
                    <a:pt x="277" y="153"/>
                    <a:pt x="277" y="153"/>
                    <a:pt x="277" y="153"/>
                  </a:cubicBezTo>
                  <a:cubicBezTo>
                    <a:pt x="276" y="174"/>
                    <a:pt x="271" y="193"/>
                    <a:pt x="262" y="210"/>
                  </a:cubicBezTo>
                  <a:cubicBezTo>
                    <a:pt x="256" y="206"/>
                    <a:pt x="256" y="206"/>
                    <a:pt x="256" y="206"/>
                  </a:cubicBezTo>
                  <a:cubicBezTo>
                    <a:pt x="252" y="213"/>
                    <a:pt x="252" y="213"/>
                    <a:pt x="252" y="213"/>
                  </a:cubicBezTo>
                  <a:cubicBezTo>
                    <a:pt x="258" y="217"/>
                    <a:pt x="258" y="217"/>
                    <a:pt x="258" y="217"/>
                  </a:cubicBezTo>
                  <a:cubicBezTo>
                    <a:pt x="248" y="233"/>
                    <a:pt x="234" y="248"/>
                    <a:pt x="217" y="258"/>
                  </a:cubicBezTo>
                  <a:close/>
                  <a:moveTo>
                    <a:pt x="158" y="158"/>
                  </a:moveTo>
                  <a:cubicBezTo>
                    <a:pt x="154" y="163"/>
                    <a:pt x="146" y="163"/>
                    <a:pt x="141" y="158"/>
                  </a:cubicBezTo>
                  <a:cubicBezTo>
                    <a:pt x="137" y="154"/>
                    <a:pt x="137" y="146"/>
                    <a:pt x="141" y="141"/>
                  </a:cubicBezTo>
                  <a:cubicBezTo>
                    <a:pt x="146" y="137"/>
                    <a:pt x="154" y="137"/>
                    <a:pt x="158" y="141"/>
                  </a:cubicBezTo>
                  <a:cubicBezTo>
                    <a:pt x="163" y="146"/>
                    <a:pt x="163" y="154"/>
                    <a:pt x="158" y="158"/>
                  </a:cubicBezTo>
                  <a:close/>
                  <a:moveTo>
                    <a:pt x="211" y="88"/>
                  </a:moveTo>
                  <a:cubicBezTo>
                    <a:pt x="134" y="123"/>
                    <a:pt x="134" y="123"/>
                    <a:pt x="134" y="123"/>
                  </a:cubicBezTo>
                  <a:cubicBezTo>
                    <a:pt x="125" y="132"/>
                    <a:pt x="125" y="132"/>
                    <a:pt x="125" y="132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168" y="174"/>
                    <a:pt x="168" y="174"/>
                    <a:pt x="168" y="174"/>
                  </a:cubicBezTo>
                  <a:cubicBezTo>
                    <a:pt x="176" y="166"/>
                    <a:pt x="176" y="166"/>
                    <a:pt x="176" y="166"/>
                  </a:cubicBezTo>
                  <a:lnTo>
                    <a:pt x="211" y="88"/>
                  </a:lnTo>
                  <a:close/>
                  <a:moveTo>
                    <a:pt x="135" y="165"/>
                  </a:moveTo>
                  <a:cubicBezTo>
                    <a:pt x="127" y="156"/>
                    <a:pt x="127" y="143"/>
                    <a:pt x="135" y="135"/>
                  </a:cubicBezTo>
                  <a:cubicBezTo>
                    <a:pt x="143" y="127"/>
                    <a:pt x="156" y="127"/>
                    <a:pt x="165" y="135"/>
                  </a:cubicBezTo>
                  <a:cubicBezTo>
                    <a:pt x="173" y="143"/>
                    <a:pt x="173" y="156"/>
                    <a:pt x="165" y="165"/>
                  </a:cubicBezTo>
                  <a:cubicBezTo>
                    <a:pt x="156" y="173"/>
                    <a:pt x="143" y="173"/>
                    <a:pt x="135" y="1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2293" tIns="41147" rIns="82293" bIns="41147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pic>
        <p:nvPicPr>
          <p:cNvPr id="180" name="Picture 2" descr="C:\Users\sigurdg\Desktop\Road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81" y="3996254"/>
            <a:ext cx="792231" cy="79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3" name="Picture 2" descr="W:\Open Engagements\Productivity\MS-Unified Communications\#1601 BizProd MOD Team Core Content Work\New Iconography\Words\Draft\061312_Word_Icons\Shield_061312_white-1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4011910"/>
            <a:ext cx="729782" cy="729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5" name="Freeform 14"/>
          <p:cNvSpPr>
            <a:spLocks noEditPoints="1"/>
          </p:cNvSpPr>
          <p:nvPr/>
        </p:nvSpPr>
        <p:spPr bwMode="black">
          <a:xfrm>
            <a:off x="6792305" y="498597"/>
            <a:ext cx="720080" cy="762049"/>
          </a:xfrm>
          <a:custGeom>
            <a:avLst/>
            <a:gdLst>
              <a:gd name="T0" fmla="*/ 0 w 383"/>
              <a:gd name="T1" fmla="*/ 378 h 405"/>
              <a:gd name="T2" fmla="*/ 0 w 383"/>
              <a:gd name="T3" fmla="*/ 163 h 405"/>
              <a:gd name="T4" fmla="*/ 39 w 383"/>
              <a:gd name="T5" fmla="*/ 163 h 405"/>
              <a:gd name="T6" fmla="*/ 39 w 383"/>
              <a:gd name="T7" fmla="*/ 378 h 405"/>
              <a:gd name="T8" fmla="*/ 0 w 383"/>
              <a:gd name="T9" fmla="*/ 378 h 405"/>
              <a:gd name="T10" fmla="*/ 357 w 383"/>
              <a:gd name="T11" fmla="*/ 158 h 405"/>
              <a:gd name="T12" fmla="*/ 263 w 383"/>
              <a:gd name="T13" fmla="*/ 156 h 405"/>
              <a:gd name="T14" fmla="*/ 286 w 383"/>
              <a:gd name="T15" fmla="*/ 97 h 405"/>
              <a:gd name="T16" fmla="*/ 260 w 383"/>
              <a:gd name="T17" fmla="*/ 0 h 405"/>
              <a:gd name="T18" fmla="*/ 233 w 383"/>
              <a:gd name="T19" fmla="*/ 26 h 405"/>
              <a:gd name="T20" fmla="*/ 131 w 383"/>
              <a:gd name="T21" fmla="*/ 145 h 405"/>
              <a:gd name="T22" fmla="*/ 59 w 383"/>
              <a:gd name="T23" fmla="*/ 185 h 405"/>
              <a:gd name="T24" fmla="*/ 59 w 383"/>
              <a:gd name="T25" fmla="*/ 364 h 405"/>
              <a:gd name="T26" fmla="*/ 162 w 383"/>
              <a:gd name="T27" fmla="*/ 405 h 405"/>
              <a:gd name="T28" fmla="*/ 276 w 383"/>
              <a:gd name="T29" fmla="*/ 403 h 405"/>
              <a:gd name="T30" fmla="*/ 305 w 383"/>
              <a:gd name="T31" fmla="*/ 377 h 405"/>
              <a:gd name="T32" fmla="*/ 291 w 383"/>
              <a:gd name="T33" fmla="*/ 351 h 405"/>
              <a:gd name="T34" fmla="*/ 291 w 383"/>
              <a:gd name="T35" fmla="*/ 351 h 405"/>
              <a:gd name="T36" fmla="*/ 290 w 383"/>
              <a:gd name="T37" fmla="*/ 351 h 405"/>
              <a:gd name="T38" fmla="*/ 286 w 383"/>
              <a:gd name="T39" fmla="*/ 346 h 405"/>
              <a:gd name="T40" fmla="*/ 291 w 383"/>
              <a:gd name="T41" fmla="*/ 340 h 405"/>
              <a:gd name="T42" fmla="*/ 302 w 383"/>
              <a:gd name="T43" fmla="*/ 340 h 405"/>
              <a:gd name="T44" fmla="*/ 331 w 383"/>
              <a:gd name="T45" fmla="*/ 314 h 405"/>
              <a:gd name="T46" fmla="*/ 317 w 383"/>
              <a:gd name="T47" fmla="*/ 288 h 405"/>
              <a:gd name="T48" fmla="*/ 317 w 383"/>
              <a:gd name="T49" fmla="*/ 288 h 405"/>
              <a:gd name="T50" fmla="*/ 316 w 383"/>
              <a:gd name="T51" fmla="*/ 287 h 405"/>
              <a:gd name="T52" fmla="*/ 312 w 383"/>
              <a:gd name="T53" fmla="*/ 282 h 405"/>
              <a:gd name="T54" fmla="*/ 317 w 383"/>
              <a:gd name="T55" fmla="*/ 277 h 405"/>
              <a:gd name="T56" fmla="*/ 328 w 383"/>
              <a:gd name="T57" fmla="*/ 276 h 405"/>
              <a:gd name="T58" fmla="*/ 357 w 383"/>
              <a:gd name="T59" fmla="*/ 250 h 405"/>
              <a:gd name="T60" fmla="*/ 343 w 383"/>
              <a:gd name="T61" fmla="*/ 225 h 405"/>
              <a:gd name="T62" fmla="*/ 343 w 383"/>
              <a:gd name="T63" fmla="*/ 225 h 405"/>
              <a:gd name="T64" fmla="*/ 342 w 383"/>
              <a:gd name="T65" fmla="*/ 224 h 405"/>
              <a:gd name="T66" fmla="*/ 338 w 383"/>
              <a:gd name="T67" fmla="*/ 219 h 405"/>
              <a:gd name="T68" fmla="*/ 343 w 383"/>
              <a:gd name="T69" fmla="*/ 213 h 405"/>
              <a:gd name="T70" fmla="*/ 354 w 383"/>
              <a:gd name="T71" fmla="*/ 213 h 405"/>
              <a:gd name="T72" fmla="*/ 383 w 383"/>
              <a:gd name="T73" fmla="*/ 187 h 405"/>
              <a:gd name="T74" fmla="*/ 357 w 383"/>
              <a:gd name="T75" fmla="*/ 158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3" h="405">
                <a:moveTo>
                  <a:pt x="0" y="378"/>
                </a:moveTo>
                <a:cubicBezTo>
                  <a:pt x="0" y="163"/>
                  <a:pt x="0" y="163"/>
                  <a:pt x="0" y="163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39" y="378"/>
                  <a:pt x="39" y="378"/>
                  <a:pt x="39" y="378"/>
                </a:cubicBezTo>
                <a:cubicBezTo>
                  <a:pt x="0" y="378"/>
                  <a:pt x="0" y="378"/>
                  <a:pt x="0" y="378"/>
                </a:cubicBezTo>
                <a:close/>
                <a:moveTo>
                  <a:pt x="357" y="158"/>
                </a:moveTo>
                <a:cubicBezTo>
                  <a:pt x="357" y="158"/>
                  <a:pt x="309" y="157"/>
                  <a:pt x="263" y="156"/>
                </a:cubicBezTo>
                <a:cubicBezTo>
                  <a:pt x="271" y="137"/>
                  <a:pt x="281" y="113"/>
                  <a:pt x="286" y="97"/>
                </a:cubicBezTo>
                <a:cubicBezTo>
                  <a:pt x="295" y="65"/>
                  <a:pt x="299" y="1"/>
                  <a:pt x="260" y="0"/>
                </a:cubicBezTo>
                <a:cubicBezTo>
                  <a:pt x="245" y="0"/>
                  <a:pt x="233" y="11"/>
                  <a:pt x="233" y="26"/>
                </a:cubicBezTo>
                <a:cubicBezTo>
                  <a:pt x="233" y="83"/>
                  <a:pt x="197" y="131"/>
                  <a:pt x="131" y="145"/>
                </a:cubicBezTo>
                <a:cubicBezTo>
                  <a:pt x="100" y="152"/>
                  <a:pt x="69" y="169"/>
                  <a:pt x="59" y="185"/>
                </a:cubicBezTo>
                <a:cubicBezTo>
                  <a:pt x="59" y="223"/>
                  <a:pt x="59" y="364"/>
                  <a:pt x="59" y="364"/>
                </a:cubicBezTo>
                <a:cubicBezTo>
                  <a:pt x="59" y="364"/>
                  <a:pt x="127" y="405"/>
                  <a:pt x="162" y="405"/>
                </a:cubicBezTo>
                <a:cubicBezTo>
                  <a:pt x="163" y="405"/>
                  <a:pt x="276" y="403"/>
                  <a:pt x="276" y="403"/>
                </a:cubicBezTo>
                <a:cubicBezTo>
                  <a:pt x="291" y="404"/>
                  <a:pt x="304" y="392"/>
                  <a:pt x="305" y="377"/>
                </a:cubicBezTo>
                <a:cubicBezTo>
                  <a:pt x="305" y="366"/>
                  <a:pt x="300" y="356"/>
                  <a:pt x="291" y="351"/>
                </a:cubicBezTo>
                <a:cubicBezTo>
                  <a:pt x="291" y="351"/>
                  <a:pt x="291" y="351"/>
                  <a:pt x="291" y="351"/>
                </a:cubicBezTo>
                <a:cubicBezTo>
                  <a:pt x="290" y="351"/>
                  <a:pt x="290" y="351"/>
                  <a:pt x="290" y="351"/>
                </a:cubicBezTo>
                <a:cubicBezTo>
                  <a:pt x="287" y="350"/>
                  <a:pt x="286" y="348"/>
                  <a:pt x="286" y="346"/>
                </a:cubicBezTo>
                <a:cubicBezTo>
                  <a:pt x="286" y="342"/>
                  <a:pt x="288" y="340"/>
                  <a:pt x="291" y="340"/>
                </a:cubicBezTo>
                <a:cubicBezTo>
                  <a:pt x="302" y="340"/>
                  <a:pt x="302" y="340"/>
                  <a:pt x="302" y="340"/>
                </a:cubicBezTo>
                <a:cubicBezTo>
                  <a:pt x="317" y="340"/>
                  <a:pt x="330" y="329"/>
                  <a:pt x="331" y="314"/>
                </a:cubicBezTo>
                <a:cubicBezTo>
                  <a:pt x="331" y="303"/>
                  <a:pt x="326" y="293"/>
                  <a:pt x="317" y="288"/>
                </a:cubicBezTo>
                <a:cubicBezTo>
                  <a:pt x="317" y="288"/>
                  <a:pt x="317" y="288"/>
                  <a:pt x="317" y="288"/>
                </a:cubicBezTo>
                <a:cubicBezTo>
                  <a:pt x="316" y="288"/>
                  <a:pt x="316" y="288"/>
                  <a:pt x="316" y="287"/>
                </a:cubicBezTo>
                <a:cubicBezTo>
                  <a:pt x="313" y="287"/>
                  <a:pt x="312" y="285"/>
                  <a:pt x="312" y="282"/>
                </a:cubicBezTo>
                <a:cubicBezTo>
                  <a:pt x="312" y="279"/>
                  <a:pt x="314" y="277"/>
                  <a:pt x="317" y="277"/>
                </a:cubicBezTo>
                <a:cubicBezTo>
                  <a:pt x="328" y="276"/>
                  <a:pt x="328" y="276"/>
                  <a:pt x="328" y="276"/>
                </a:cubicBezTo>
                <a:cubicBezTo>
                  <a:pt x="343" y="277"/>
                  <a:pt x="356" y="265"/>
                  <a:pt x="357" y="250"/>
                </a:cubicBezTo>
                <a:cubicBezTo>
                  <a:pt x="357" y="239"/>
                  <a:pt x="352" y="229"/>
                  <a:pt x="343" y="225"/>
                </a:cubicBezTo>
                <a:cubicBezTo>
                  <a:pt x="343" y="225"/>
                  <a:pt x="343" y="225"/>
                  <a:pt x="343" y="225"/>
                </a:cubicBezTo>
                <a:cubicBezTo>
                  <a:pt x="342" y="224"/>
                  <a:pt x="342" y="224"/>
                  <a:pt x="342" y="224"/>
                </a:cubicBezTo>
                <a:cubicBezTo>
                  <a:pt x="339" y="223"/>
                  <a:pt x="338" y="221"/>
                  <a:pt x="338" y="219"/>
                </a:cubicBezTo>
                <a:cubicBezTo>
                  <a:pt x="338" y="216"/>
                  <a:pt x="340" y="213"/>
                  <a:pt x="343" y="213"/>
                </a:cubicBezTo>
                <a:cubicBezTo>
                  <a:pt x="354" y="213"/>
                  <a:pt x="354" y="213"/>
                  <a:pt x="354" y="213"/>
                </a:cubicBezTo>
                <a:cubicBezTo>
                  <a:pt x="369" y="214"/>
                  <a:pt x="382" y="202"/>
                  <a:pt x="383" y="187"/>
                </a:cubicBezTo>
                <a:cubicBezTo>
                  <a:pt x="383" y="172"/>
                  <a:pt x="374" y="159"/>
                  <a:pt x="357" y="158"/>
                </a:cubicBezTo>
                <a:close/>
              </a:path>
            </a:pathLst>
          </a:cu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83940" tIns="41970" rIns="83940" bIns="41970" numCol="1" rtlCol="0" anchor="ctr" anchorCtr="0" compatLnSpc="1"/>
          <a:lstStyle/>
          <a:p>
            <a:pPr defTabSz="755015"/>
            <a:endParaRPr lang="en-US" sz="1000" spc="-124">
              <a:solidFill>
                <a:schemeClr val="tx1">
                  <a:lumMod val="50000"/>
                </a:schemeClr>
              </a:solidFill>
              <a:latin typeface="Segoe Light" pitchFamily="34" charset="0"/>
            </a:endParaRPr>
          </a:p>
        </p:txBody>
      </p:sp>
      <p:pic>
        <p:nvPicPr>
          <p:cNvPr id="189" name="Picture 16" descr="W:\Open Engagements\Productivity\MS-Unified Communications\#1601 BizProd MOD Team Core Content Work\New Iconography\Words\Draft\060712_words\Hand_060712.png"/>
          <p:cNvPicPr>
            <a:picLocks noChangeAspect="1" noChangeArrowheads="1"/>
          </p:cNvPicPr>
          <p:nvPr/>
        </p:nvPicPr>
        <p:blipFill rotWithShape="1">
          <a:blip r:embed="rId9" cstate="screen"/>
          <a:srcRect/>
          <a:stretch>
            <a:fillRect/>
          </a:stretch>
        </p:blipFill>
        <p:spPr bwMode="auto">
          <a:xfrm>
            <a:off x="8096958" y="2805270"/>
            <a:ext cx="651506" cy="82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4" name="Freeform 74"/>
          <p:cNvSpPr>
            <a:spLocks noEditPoints="1"/>
          </p:cNvSpPr>
          <p:nvPr/>
        </p:nvSpPr>
        <p:spPr bwMode="auto">
          <a:xfrm>
            <a:off x="4242609" y="3969819"/>
            <a:ext cx="777947" cy="801936"/>
          </a:xfrm>
          <a:custGeom>
            <a:avLst/>
            <a:gdLst>
              <a:gd name="T0" fmla="*/ 65 w 81"/>
              <a:gd name="T1" fmla="*/ 12 h 84"/>
              <a:gd name="T2" fmla="*/ 73 w 81"/>
              <a:gd name="T3" fmla="*/ 12 h 84"/>
              <a:gd name="T4" fmla="*/ 67 w 81"/>
              <a:gd name="T5" fmla="*/ 17 h 84"/>
              <a:gd name="T6" fmla="*/ 69 w 81"/>
              <a:gd name="T7" fmla="*/ 24 h 84"/>
              <a:gd name="T8" fmla="*/ 63 w 81"/>
              <a:gd name="T9" fmla="*/ 19 h 84"/>
              <a:gd name="T10" fmla="*/ 57 w 81"/>
              <a:gd name="T11" fmla="*/ 24 h 84"/>
              <a:gd name="T12" fmla="*/ 59 w 81"/>
              <a:gd name="T13" fmla="*/ 17 h 84"/>
              <a:gd name="T14" fmla="*/ 53 w 81"/>
              <a:gd name="T15" fmla="*/ 12 h 84"/>
              <a:gd name="T16" fmla="*/ 61 w 81"/>
              <a:gd name="T17" fmla="*/ 12 h 84"/>
              <a:gd name="T18" fmla="*/ 63 w 81"/>
              <a:gd name="T19" fmla="*/ 4 h 84"/>
              <a:gd name="T20" fmla="*/ 65 w 81"/>
              <a:gd name="T21" fmla="*/ 12 h 84"/>
              <a:gd name="T22" fmla="*/ 67 w 81"/>
              <a:gd name="T23" fmla="*/ 33 h 84"/>
              <a:gd name="T24" fmla="*/ 70 w 81"/>
              <a:gd name="T25" fmla="*/ 39 h 84"/>
              <a:gd name="T26" fmla="*/ 65 w 81"/>
              <a:gd name="T27" fmla="*/ 43 h 84"/>
              <a:gd name="T28" fmla="*/ 71 w 81"/>
              <a:gd name="T29" fmla="*/ 42 h 84"/>
              <a:gd name="T30" fmla="*/ 74 w 81"/>
              <a:gd name="T31" fmla="*/ 47 h 84"/>
              <a:gd name="T32" fmla="*/ 75 w 81"/>
              <a:gd name="T33" fmla="*/ 42 h 84"/>
              <a:gd name="T34" fmla="*/ 81 w 81"/>
              <a:gd name="T35" fmla="*/ 41 h 84"/>
              <a:gd name="T36" fmla="*/ 76 w 81"/>
              <a:gd name="T37" fmla="*/ 38 h 84"/>
              <a:gd name="T38" fmla="*/ 77 w 81"/>
              <a:gd name="T39" fmla="*/ 32 h 84"/>
              <a:gd name="T40" fmla="*/ 72 w 81"/>
              <a:gd name="T41" fmla="*/ 36 h 84"/>
              <a:gd name="T42" fmla="*/ 67 w 81"/>
              <a:gd name="T43" fmla="*/ 33 h 84"/>
              <a:gd name="T44" fmla="*/ 39 w 81"/>
              <a:gd name="T45" fmla="*/ 49 h 84"/>
              <a:gd name="T46" fmla="*/ 45 w 81"/>
              <a:gd name="T47" fmla="*/ 0 h 84"/>
              <a:gd name="T48" fmla="*/ 24 w 81"/>
              <a:gd name="T49" fmla="*/ 6 h 84"/>
              <a:gd name="T50" fmla="*/ 12 w 81"/>
              <a:gd name="T51" fmla="*/ 60 h 84"/>
              <a:gd name="T52" fmla="*/ 66 w 81"/>
              <a:gd name="T53" fmla="*/ 72 h 84"/>
              <a:gd name="T54" fmla="*/ 72 w 81"/>
              <a:gd name="T55" fmla="*/ 68 h 84"/>
              <a:gd name="T56" fmla="*/ 39 w 81"/>
              <a:gd name="T57" fmla="*/ 49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" h="84">
                <a:moveTo>
                  <a:pt x="65" y="12"/>
                </a:moveTo>
                <a:cubicBezTo>
                  <a:pt x="73" y="12"/>
                  <a:pt x="73" y="12"/>
                  <a:pt x="73" y="12"/>
                </a:cubicBezTo>
                <a:cubicBezTo>
                  <a:pt x="67" y="17"/>
                  <a:pt x="67" y="17"/>
                  <a:pt x="67" y="17"/>
                </a:cubicBezTo>
                <a:cubicBezTo>
                  <a:pt x="69" y="24"/>
                  <a:pt x="69" y="24"/>
                  <a:pt x="69" y="24"/>
                </a:cubicBezTo>
                <a:cubicBezTo>
                  <a:pt x="63" y="19"/>
                  <a:pt x="63" y="19"/>
                  <a:pt x="63" y="19"/>
                </a:cubicBezTo>
                <a:cubicBezTo>
                  <a:pt x="57" y="24"/>
                  <a:pt x="57" y="24"/>
                  <a:pt x="57" y="24"/>
                </a:cubicBezTo>
                <a:cubicBezTo>
                  <a:pt x="59" y="17"/>
                  <a:pt x="59" y="17"/>
                  <a:pt x="59" y="17"/>
                </a:cubicBezTo>
                <a:cubicBezTo>
                  <a:pt x="53" y="12"/>
                  <a:pt x="53" y="12"/>
                  <a:pt x="53" y="12"/>
                </a:cubicBezTo>
                <a:cubicBezTo>
                  <a:pt x="61" y="12"/>
                  <a:pt x="61" y="12"/>
                  <a:pt x="61" y="12"/>
                </a:cubicBezTo>
                <a:cubicBezTo>
                  <a:pt x="63" y="4"/>
                  <a:pt x="63" y="4"/>
                  <a:pt x="63" y="4"/>
                </a:cubicBezTo>
                <a:lnTo>
                  <a:pt x="65" y="12"/>
                </a:lnTo>
                <a:close/>
                <a:moveTo>
                  <a:pt x="67" y="33"/>
                </a:moveTo>
                <a:cubicBezTo>
                  <a:pt x="70" y="39"/>
                  <a:pt x="70" y="39"/>
                  <a:pt x="70" y="39"/>
                </a:cubicBezTo>
                <a:cubicBezTo>
                  <a:pt x="65" y="43"/>
                  <a:pt x="65" y="43"/>
                  <a:pt x="65" y="43"/>
                </a:cubicBezTo>
                <a:cubicBezTo>
                  <a:pt x="71" y="42"/>
                  <a:pt x="71" y="42"/>
                  <a:pt x="71" y="42"/>
                </a:cubicBezTo>
                <a:cubicBezTo>
                  <a:pt x="74" y="47"/>
                  <a:pt x="74" y="47"/>
                  <a:pt x="74" y="47"/>
                </a:cubicBezTo>
                <a:cubicBezTo>
                  <a:pt x="75" y="42"/>
                  <a:pt x="75" y="42"/>
                  <a:pt x="75" y="42"/>
                </a:cubicBezTo>
                <a:cubicBezTo>
                  <a:pt x="81" y="41"/>
                  <a:pt x="81" y="41"/>
                  <a:pt x="81" y="41"/>
                </a:cubicBezTo>
                <a:cubicBezTo>
                  <a:pt x="76" y="38"/>
                  <a:pt x="76" y="38"/>
                  <a:pt x="76" y="38"/>
                </a:cubicBezTo>
                <a:cubicBezTo>
                  <a:pt x="77" y="32"/>
                  <a:pt x="77" y="32"/>
                  <a:pt x="77" y="32"/>
                </a:cubicBezTo>
                <a:cubicBezTo>
                  <a:pt x="72" y="36"/>
                  <a:pt x="72" y="36"/>
                  <a:pt x="72" y="36"/>
                </a:cubicBezTo>
                <a:lnTo>
                  <a:pt x="67" y="33"/>
                </a:lnTo>
                <a:close/>
                <a:moveTo>
                  <a:pt x="39" y="49"/>
                </a:moveTo>
                <a:cubicBezTo>
                  <a:pt x="29" y="33"/>
                  <a:pt x="32" y="12"/>
                  <a:pt x="45" y="0"/>
                </a:cubicBezTo>
                <a:cubicBezTo>
                  <a:pt x="38" y="0"/>
                  <a:pt x="31" y="2"/>
                  <a:pt x="24" y="6"/>
                </a:cubicBezTo>
                <a:cubicBezTo>
                  <a:pt x="6" y="17"/>
                  <a:pt x="0" y="41"/>
                  <a:pt x="12" y="60"/>
                </a:cubicBezTo>
                <a:cubicBezTo>
                  <a:pt x="23" y="78"/>
                  <a:pt x="47" y="84"/>
                  <a:pt x="66" y="72"/>
                </a:cubicBezTo>
                <a:cubicBezTo>
                  <a:pt x="68" y="71"/>
                  <a:pt x="70" y="69"/>
                  <a:pt x="72" y="68"/>
                </a:cubicBezTo>
                <a:cubicBezTo>
                  <a:pt x="59" y="67"/>
                  <a:pt x="47" y="61"/>
                  <a:pt x="39" y="4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3243" tIns="46620" rIns="93243" bIns="46620" numCol="1" anchor="t" anchorCtr="0" compatLnSpc="1"/>
          <a:lstStyle/>
          <a:p>
            <a:endParaRPr lang="en-US"/>
          </a:p>
        </p:txBody>
      </p:sp>
      <p:pic>
        <p:nvPicPr>
          <p:cNvPr id="195" name="Picture 47" descr="C:\Users\sakuu\Documents\Ballmer MGX 2011\Tile Icons\Calendar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5588920" y="4071107"/>
            <a:ext cx="630779" cy="577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7" name="Freeform 6"/>
          <p:cNvSpPr>
            <a:spLocks noEditPoints="1"/>
          </p:cNvSpPr>
          <p:nvPr/>
        </p:nvSpPr>
        <p:spPr bwMode="auto">
          <a:xfrm>
            <a:off x="6804248" y="3956542"/>
            <a:ext cx="753850" cy="785149"/>
          </a:xfrm>
          <a:custGeom>
            <a:avLst/>
            <a:gdLst>
              <a:gd name="T0" fmla="*/ 909 w 2280"/>
              <a:gd name="T1" fmla="*/ 319 h 2374"/>
              <a:gd name="T2" fmla="*/ 789 w 2280"/>
              <a:gd name="T3" fmla="*/ 395 h 2374"/>
              <a:gd name="T4" fmla="*/ 953 w 2280"/>
              <a:gd name="T5" fmla="*/ 219 h 2374"/>
              <a:gd name="T6" fmla="*/ 881 w 2280"/>
              <a:gd name="T7" fmla="*/ 3 h 2374"/>
              <a:gd name="T8" fmla="*/ 1017 w 2280"/>
              <a:gd name="T9" fmla="*/ 219 h 2374"/>
              <a:gd name="T10" fmla="*/ 441 w 2280"/>
              <a:gd name="T11" fmla="*/ 515 h 2374"/>
              <a:gd name="T12" fmla="*/ 969 w 2280"/>
              <a:gd name="T13" fmla="*/ 719 h 2374"/>
              <a:gd name="T14" fmla="*/ 729 w 2280"/>
              <a:gd name="T15" fmla="*/ 487 h 2374"/>
              <a:gd name="T16" fmla="*/ 753 w 2280"/>
              <a:gd name="T17" fmla="*/ 395 h 2374"/>
              <a:gd name="T18" fmla="*/ 1981 w 2280"/>
              <a:gd name="T19" fmla="*/ 499 h 2374"/>
              <a:gd name="T20" fmla="*/ 1685 w 2280"/>
              <a:gd name="T21" fmla="*/ 635 h 2374"/>
              <a:gd name="T22" fmla="*/ 833 w 2280"/>
              <a:gd name="T23" fmla="*/ 1023 h 2374"/>
              <a:gd name="T24" fmla="*/ 133 w 2280"/>
              <a:gd name="T25" fmla="*/ 883 h 2374"/>
              <a:gd name="T26" fmla="*/ 229 w 2280"/>
              <a:gd name="T27" fmla="*/ 763 h 2374"/>
              <a:gd name="T28" fmla="*/ 9 w 2280"/>
              <a:gd name="T29" fmla="*/ 775 h 2374"/>
              <a:gd name="T30" fmla="*/ 757 w 2280"/>
              <a:gd name="T31" fmla="*/ 2359 h 2374"/>
              <a:gd name="T32" fmla="*/ 953 w 2280"/>
              <a:gd name="T33" fmla="*/ 2311 h 2374"/>
              <a:gd name="T34" fmla="*/ 2093 w 2280"/>
              <a:gd name="T35" fmla="*/ 1759 h 2374"/>
              <a:gd name="T36" fmla="*/ 2269 w 2280"/>
              <a:gd name="T37" fmla="*/ 1515 h 2374"/>
              <a:gd name="T38" fmla="*/ 2081 w 2280"/>
              <a:gd name="T39" fmla="*/ 1447 h 2374"/>
              <a:gd name="T40" fmla="*/ 945 w 2280"/>
              <a:gd name="T41" fmla="*/ 2003 h 2374"/>
              <a:gd name="T42" fmla="*/ 857 w 2280"/>
              <a:gd name="T43" fmla="*/ 2295 h 2374"/>
              <a:gd name="T44" fmla="*/ 61 w 2280"/>
              <a:gd name="T45" fmla="*/ 2063 h 2374"/>
              <a:gd name="T46" fmla="*/ 61 w 2280"/>
              <a:gd name="T47" fmla="*/ 899 h 2374"/>
              <a:gd name="T48" fmla="*/ 837 w 2280"/>
              <a:gd name="T49" fmla="*/ 1083 h 2374"/>
              <a:gd name="T50" fmla="*/ 2165 w 2280"/>
              <a:gd name="T51" fmla="*/ 483 h 2374"/>
              <a:gd name="T52" fmla="*/ 2097 w 2280"/>
              <a:gd name="T53" fmla="*/ 419 h 2374"/>
              <a:gd name="T54" fmla="*/ 1029 w 2280"/>
              <a:gd name="T55" fmla="*/ 623 h 2374"/>
              <a:gd name="T56" fmla="*/ 1117 w 2280"/>
              <a:gd name="T57" fmla="*/ 719 h 2374"/>
              <a:gd name="T58" fmla="*/ 993 w 2280"/>
              <a:gd name="T59" fmla="*/ 891 h 2374"/>
              <a:gd name="T60" fmla="*/ 1257 w 2280"/>
              <a:gd name="T61" fmla="*/ 695 h 2374"/>
              <a:gd name="T62" fmla="*/ 1981 w 2280"/>
              <a:gd name="T63" fmla="*/ 499 h 2374"/>
              <a:gd name="T64" fmla="*/ 285 w 2280"/>
              <a:gd name="T65" fmla="*/ 787 h 2374"/>
              <a:gd name="T66" fmla="*/ 349 w 2280"/>
              <a:gd name="T67" fmla="*/ 767 h 2374"/>
              <a:gd name="T68" fmla="*/ 413 w 2280"/>
              <a:gd name="T69" fmla="*/ 495 h 2374"/>
              <a:gd name="T70" fmla="*/ 1041 w 2280"/>
              <a:gd name="T71" fmla="*/ 1415 h 2374"/>
              <a:gd name="T72" fmla="*/ 2097 w 2280"/>
              <a:gd name="T73" fmla="*/ 903 h 2374"/>
              <a:gd name="T74" fmla="*/ 2269 w 2280"/>
              <a:gd name="T75" fmla="*/ 735 h 2374"/>
              <a:gd name="T76" fmla="*/ 2233 w 2280"/>
              <a:gd name="T77" fmla="*/ 523 h 2374"/>
              <a:gd name="T78" fmla="*/ 1025 w 2280"/>
              <a:gd name="T79" fmla="*/ 1107 h 2374"/>
              <a:gd name="T80" fmla="*/ 857 w 2280"/>
              <a:gd name="T81" fmla="*/ 1347 h 2374"/>
              <a:gd name="T82" fmla="*/ 1041 w 2280"/>
              <a:gd name="T83" fmla="*/ 1415 h 2374"/>
              <a:gd name="T84" fmla="*/ 597 w 2280"/>
              <a:gd name="T85" fmla="*/ 1007 h 2374"/>
              <a:gd name="T86" fmla="*/ 797 w 2280"/>
              <a:gd name="T87" fmla="*/ 899 h 2374"/>
              <a:gd name="T88" fmla="*/ 453 w 2280"/>
              <a:gd name="T89" fmla="*/ 791 h 2374"/>
              <a:gd name="T90" fmla="*/ 949 w 2280"/>
              <a:gd name="T91" fmla="*/ 1903 h 2374"/>
              <a:gd name="T92" fmla="*/ 2265 w 2280"/>
              <a:gd name="T93" fmla="*/ 1255 h 2374"/>
              <a:gd name="T94" fmla="*/ 2269 w 2280"/>
              <a:gd name="T95" fmla="*/ 1019 h 2374"/>
              <a:gd name="T96" fmla="*/ 1025 w 2280"/>
              <a:gd name="T97" fmla="*/ 1547 h 2374"/>
              <a:gd name="T98" fmla="*/ 857 w 2280"/>
              <a:gd name="T99" fmla="*/ 1787 h 2374"/>
              <a:gd name="T100" fmla="*/ 949 w 2280"/>
              <a:gd name="T101" fmla="*/ 190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80" h="2374">
                <a:moveTo>
                  <a:pt x="1017" y="219"/>
                </a:moveTo>
                <a:cubicBezTo>
                  <a:pt x="996" y="264"/>
                  <a:pt x="946" y="288"/>
                  <a:pt x="909" y="319"/>
                </a:cubicBezTo>
                <a:cubicBezTo>
                  <a:pt x="892" y="334"/>
                  <a:pt x="872" y="351"/>
                  <a:pt x="853" y="367"/>
                </a:cubicBezTo>
                <a:cubicBezTo>
                  <a:pt x="837" y="381"/>
                  <a:pt x="818" y="411"/>
                  <a:pt x="789" y="395"/>
                </a:cubicBezTo>
                <a:cubicBezTo>
                  <a:pt x="804" y="355"/>
                  <a:pt x="840" y="330"/>
                  <a:pt x="869" y="303"/>
                </a:cubicBezTo>
                <a:cubicBezTo>
                  <a:pt x="898" y="277"/>
                  <a:pt x="931" y="253"/>
                  <a:pt x="953" y="219"/>
                </a:cubicBezTo>
                <a:cubicBezTo>
                  <a:pt x="919" y="159"/>
                  <a:pt x="868" y="115"/>
                  <a:pt x="829" y="59"/>
                </a:cubicBezTo>
                <a:cubicBezTo>
                  <a:pt x="838" y="35"/>
                  <a:pt x="857" y="0"/>
                  <a:pt x="881" y="3"/>
                </a:cubicBezTo>
                <a:cubicBezTo>
                  <a:pt x="913" y="32"/>
                  <a:pt x="927" y="75"/>
                  <a:pt x="949" y="111"/>
                </a:cubicBezTo>
                <a:cubicBezTo>
                  <a:pt x="971" y="148"/>
                  <a:pt x="997" y="182"/>
                  <a:pt x="1017" y="219"/>
                </a:cubicBezTo>
                <a:close/>
                <a:moveTo>
                  <a:pt x="477" y="431"/>
                </a:moveTo>
                <a:cubicBezTo>
                  <a:pt x="455" y="462"/>
                  <a:pt x="449" y="487"/>
                  <a:pt x="441" y="515"/>
                </a:cubicBezTo>
                <a:cubicBezTo>
                  <a:pt x="384" y="705"/>
                  <a:pt x="489" y="843"/>
                  <a:pt x="661" y="855"/>
                </a:cubicBezTo>
                <a:cubicBezTo>
                  <a:pt x="784" y="864"/>
                  <a:pt x="926" y="813"/>
                  <a:pt x="969" y="719"/>
                </a:cubicBezTo>
                <a:cubicBezTo>
                  <a:pt x="1016" y="617"/>
                  <a:pt x="973" y="475"/>
                  <a:pt x="905" y="435"/>
                </a:cubicBezTo>
                <a:cubicBezTo>
                  <a:pt x="836" y="396"/>
                  <a:pt x="757" y="437"/>
                  <a:pt x="729" y="487"/>
                </a:cubicBezTo>
                <a:cubicBezTo>
                  <a:pt x="719" y="506"/>
                  <a:pt x="720" y="538"/>
                  <a:pt x="693" y="551"/>
                </a:cubicBezTo>
                <a:cubicBezTo>
                  <a:pt x="645" y="488"/>
                  <a:pt x="746" y="455"/>
                  <a:pt x="753" y="395"/>
                </a:cubicBezTo>
                <a:cubicBezTo>
                  <a:pt x="677" y="318"/>
                  <a:pt x="523" y="367"/>
                  <a:pt x="477" y="431"/>
                </a:cubicBezTo>
                <a:close/>
                <a:moveTo>
                  <a:pt x="1981" y="499"/>
                </a:moveTo>
                <a:cubicBezTo>
                  <a:pt x="1981" y="503"/>
                  <a:pt x="1978" y="504"/>
                  <a:pt x="1977" y="507"/>
                </a:cubicBezTo>
                <a:cubicBezTo>
                  <a:pt x="1882" y="547"/>
                  <a:pt x="1787" y="590"/>
                  <a:pt x="1685" y="635"/>
                </a:cubicBezTo>
                <a:cubicBezTo>
                  <a:pt x="1425" y="752"/>
                  <a:pt x="1164" y="873"/>
                  <a:pt x="905" y="991"/>
                </a:cubicBezTo>
                <a:cubicBezTo>
                  <a:pt x="879" y="1003"/>
                  <a:pt x="853" y="1020"/>
                  <a:pt x="833" y="1023"/>
                </a:cubicBezTo>
                <a:cubicBezTo>
                  <a:pt x="799" y="1030"/>
                  <a:pt x="756" y="1027"/>
                  <a:pt x="717" y="1027"/>
                </a:cubicBezTo>
                <a:cubicBezTo>
                  <a:pt x="481" y="1031"/>
                  <a:pt x="255" y="991"/>
                  <a:pt x="133" y="883"/>
                </a:cubicBezTo>
                <a:cubicBezTo>
                  <a:pt x="113" y="866"/>
                  <a:pt x="88" y="843"/>
                  <a:pt x="85" y="815"/>
                </a:cubicBezTo>
                <a:cubicBezTo>
                  <a:pt x="124" y="805"/>
                  <a:pt x="236" y="814"/>
                  <a:pt x="229" y="763"/>
                </a:cubicBezTo>
                <a:cubicBezTo>
                  <a:pt x="223" y="724"/>
                  <a:pt x="162" y="745"/>
                  <a:pt x="125" y="751"/>
                </a:cubicBezTo>
                <a:cubicBezTo>
                  <a:pt x="78" y="759"/>
                  <a:pt x="39" y="761"/>
                  <a:pt x="9" y="775"/>
                </a:cubicBezTo>
                <a:cubicBezTo>
                  <a:pt x="0" y="1205"/>
                  <a:pt x="8" y="1651"/>
                  <a:pt x="5" y="2087"/>
                </a:cubicBezTo>
                <a:cubicBezTo>
                  <a:pt x="98" y="2327"/>
                  <a:pt x="425" y="2374"/>
                  <a:pt x="757" y="2359"/>
                </a:cubicBezTo>
                <a:cubicBezTo>
                  <a:pt x="796" y="2358"/>
                  <a:pt x="838" y="2363"/>
                  <a:pt x="869" y="2355"/>
                </a:cubicBezTo>
                <a:cubicBezTo>
                  <a:pt x="893" y="2350"/>
                  <a:pt x="922" y="2326"/>
                  <a:pt x="953" y="2311"/>
                </a:cubicBezTo>
                <a:cubicBezTo>
                  <a:pt x="1164" y="2210"/>
                  <a:pt x="1360" y="2114"/>
                  <a:pt x="1569" y="2015"/>
                </a:cubicBezTo>
                <a:cubicBezTo>
                  <a:pt x="1737" y="1936"/>
                  <a:pt x="1918" y="1843"/>
                  <a:pt x="2093" y="1759"/>
                </a:cubicBezTo>
                <a:cubicBezTo>
                  <a:pt x="2128" y="1743"/>
                  <a:pt x="2252" y="1696"/>
                  <a:pt x="2265" y="1667"/>
                </a:cubicBezTo>
                <a:cubicBezTo>
                  <a:pt x="2280" y="1635"/>
                  <a:pt x="2269" y="1566"/>
                  <a:pt x="2269" y="1515"/>
                </a:cubicBezTo>
                <a:cubicBezTo>
                  <a:pt x="2269" y="1457"/>
                  <a:pt x="2275" y="1400"/>
                  <a:pt x="2261" y="1367"/>
                </a:cubicBezTo>
                <a:cubicBezTo>
                  <a:pt x="2199" y="1387"/>
                  <a:pt x="2141" y="1419"/>
                  <a:pt x="2081" y="1447"/>
                </a:cubicBezTo>
                <a:cubicBezTo>
                  <a:pt x="1902" y="1532"/>
                  <a:pt x="1736" y="1615"/>
                  <a:pt x="1557" y="1703"/>
                </a:cubicBezTo>
                <a:cubicBezTo>
                  <a:pt x="1361" y="1800"/>
                  <a:pt x="1147" y="1906"/>
                  <a:pt x="945" y="2003"/>
                </a:cubicBezTo>
                <a:cubicBezTo>
                  <a:pt x="910" y="2021"/>
                  <a:pt x="870" y="2031"/>
                  <a:pt x="861" y="2051"/>
                </a:cubicBezTo>
                <a:cubicBezTo>
                  <a:pt x="836" y="2108"/>
                  <a:pt x="872" y="2237"/>
                  <a:pt x="857" y="2295"/>
                </a:cubicBezTo>
                <a:cubicBezTo>
                  <a:pt x="634" y="2314"/>
                  <a:pt x="363" y="2303"/>
                  <a:pt x="213" y="2227"/>
                </a:cubicBezTo>
                <a:cubicBezTo>
                  <a:pt x="157" y="2199"/>
                  <a:pt x="74" y="2127"/>
                  <a:pt x="61" y="2063"/>
                </a:cubicBezTo>
                <a:cubicBezTo>
                  <a:pt x="53" y="2023"/>
                  <a:pt x="61" y="1968"/>
                  <a:pt x="61" y="1919"/>
                </a:cubicBezTo>
                <a:cubicBezTo>
                  <a:pt x="61" y="1576"/>
                  <a:pt x="61" y="1236"/>
                  <a:pt x="61" y="899"/>
                </a:cubicBezTo>
                <a:cubicBezTo>
                  <a:pt x="172" y="1015"/>
                  <a:pt x="376" y="1071"/>
                  <a:pt x="601" y="1083"/>
                </a:cubicBezTo>
                <a:cubicBezTo>
                  <a:pt x="678" y="1088"/>
                  <a:pt x="762" y="1092"/>
                  <a:pt x="837" y="1083"/>
                </a:cubicBezTo>
                <a:cubicBezTo>
                  <a:pt x="875" y="1079"/>
                  <a:pt x="905" y="1056"/>
                  <a:pt x="941" y="1039"/>
                </a:cubicBezTo>
                <a:cubicBezTo>
                  <a:pt x="1351" y="848"/>
                  <a:pt x="1752" y="671"/>
                  <a:pt x="2165" y="483"/>
                </a:cubicBezTo>
                <a:cubicBezTo>
                  <a:pt x="2183" y="475"/>
                  <a:pt x="2242" y="459"/>
                  <a:pt x="2237" y="427"/>
                </a:cubicBezTo>
                <a:cubicBezTo>
                  <a:pt x="2230" y="386"/>
                  <a:pt x="2123" y="415"/>
                  <a:pt x="2097" y="419"/>
                </a:cubicBezTo>
                <a:cubicBezTo>
                  <a:pt x="1778" y="474"/>
                  <a:pt x="1484" y="522"/>
                  <a:pt x="1165" y="575"/>
                </a:cubicBezTo>
                <a:cubicBezTo>
                  <a:pt x="1122" y="583"/>
                  <a:pt x="1031" y="587"/>
                  <a:pt x="1029" y="623"/>
                </a:cubicBezTo>
                <a:cubicBezTo>
                  <a:pt x="1027" y="651"/>
                  <a:pt x="1055" y="653"/>
                  <a:pt x="1077" y="667"/>
                </a:cubicBezTo>
                <a:cubicBezTo>
                  <a:pt x="1096" y="680"/>
                  <a:pt x="1116" y="692"/>
                  <a:pt x="1117" y="719"/>
                </a:cubicBezTo>
                <a:cubicBezTo>
                  <a:pt x="1119" y="762"/>
                  <a:pt x="1077" y="787"/>
                  <a:pt x="1053" y="807"/>
                </a:cubicBezTo>
                <a:cubicBezTo>
                  <a:pt x="1027" y="829"/>
                  <a:pt x="990" y="854"/>
                  <a:pt x="993" y="891"/>
                </a:cubicBezTo>
                <a:cubicBezTo>
                  <a:pt x="1046" y="883"/>
                  <a:pt x="1094" y="857"/>
                  <a:pt x="1153" y="819"/>
                </a:cubicBezTo>
                <a:cubicBezTo>
                  <a:pt x="1193" y="794"/>
                  <a:pt x="1273" y="742"/>
                  <a:pt x="1257" y="695"/>
                </a:cubicBezTo>
                <a:cubicBezTo>
                  <a:pt x="1241" y="650"/>
                  <a:pt x="1163" y="673"/>
                  <a:pt x="1125" y="643"/>
                </a:cubicBezTo>
                <a:cubicBezTo>
                  <a:pt x="1411" y="596"/>
                  <a:pt x="1698" y="550"/>
                  <a:pt x="1981" y="499"/>
                </a:cubicBezTo>
                <a:close/>
                <a:moveTo>
                  <a:pt x="221" y="627"/>
                </a:moveTo>
                <a:cubicBezTo>
                  <a:pt x="216" y="706"/>
                  <a:pt x="252" y="745"/>
                  <a:pt x="285" y="787"/>
                </a:cubicBezTo>
                <a:cubicBezTo>
                  <a:pt x="312" y="823"/>
                  <a:pt x="338" y="864"/>
                  <a:pt x="377" y="875"/>
                </a:cubicBezTo>
                <a:cubicBezTo>
                  <a:pt x="372" y="838"/>
                  <a:pt x="358" y="804"/>
                  <a:pt x="349" y="767"/>
                </a:cubicBezTo>
                <a:cubicBezTo>
                  <a:pt x="339" y="729"/>
                  <a:pt x="320" y="689"/>
                  <a:pt x="325" y="651"/>
                </a:cubicBezTo>
                <a:cubicBezTo>
                  <a:pt x="334" y="583"/>
                  <a:pt x="406" y="556"/>
                  <a:pt x="413" y="495"/>
                </a:cubicBezTo>
                <a:cubicBezTo>
                  <a:pt x="321" y="511"/>
                  <a:pt x="271" y="569"/>
                  <a:pt x="221" y="627"/>
                </a:cubicBezTo>
                <a:close/>
                <a:moveTo>
                  <a:pt x="1041" y="1415"/>
                </a:moveTo>
                <a:cubicBezTo>
                  <a:pt x="1099" y="1386"/>
                  <a:pt x="1158" y="1359"/>
                  <a:pt x="1217" y="1331"/>
                </a:cubicBezTo>
                <a:cubicBezTo>
                  <a:pt x="1502" y="1198"/>
                  <a:pt x="1806" y="1040"/>
                  <a:pt x="2097" y="903"/>
                </a:cubicBezTo>
                <a:cubicBezTo>
                  <a:pt x="2141" y="883"/>
                  <a:pt x="2252" y="843"/>
                  <a:pt x="2265" y="807"/>
                </a:cubicBezTo>
                <a:cubicBezTo>
                  <a:pt x="2274" y="783"/>
                  <a:pt x="2269" y="772"/>
                  <a:pt x="2269" y="735"/>
                </a:cubicBezTo>
                <a:cubicBezTo>
                  <a:pt x="2269" y="680"/>
                  <a:pt x="2270" y="636"/>
                  <a:pt x="2269" y="575"/>
                </a:cubicBezTo>
                <a:cubicBezTo>
                  <a:pt x="2268" y="524"/>
                  <a:pt x="2268" y="506"/>
                  <a:pt x="2233" y="523"/>
                </a:cubicBezTo>
                <a:cubicBezTo>
                  <a:pt x="2003" y="640"/>
                  <a:pt x="1789" y="731"/>
                  <a:pt x="1541" y="855"/>
                </a:cubicBezTo>
                <a:cubicBezTo>
                  <a:pt x="1381" y="936"/>
                  <a:pt x="1197" y="1027"/>
                  <a:pt x="1025" y="1107"/>
                </a:cubicBezTo>
                <a:cubicBezTo>
                  <a:pt x="975" y="1131"/>
                  <a:pt x="874" y="1169"/>
                  <a:pt x="861" y="1203"/>
                </a:cubicBezTo>
                <a:cubicBezTo>
                  <a:pt x="847" y="1239"/>
                  <a:pt x="857" y="1298"/>
                  <a:pt x="857" y="1347"/>
                </a:cubicBezTo>
                <a:cubicBezTo>
                  <a:pt x="857" y="1401"/>
                  <a:pt x="854" y="1455"/>
                  <a:pt x="861" y="1495"/>
                </a:cubicBezTo>
                <a:cubicBezTo>
                  <a:pt x="928" y="1483"/>
                  <a:pt x="984" y="1444"/>
                  <a:pt x="1041" y="1415"/>
                </a:cubicBezTo>
                <a:close/>
                <a:moveTo>
                  <a:pt x="449" y="803"/>
                </a:moveTo>
                <a:cubicBezTo>
                  <a:pt x="473" y="883"/>
                  <a:pt x="520" y="984"/>
                  <a:pt x="597" y="1007"/>
                </a:cubicBezTo>
                <a:cubicBezTo>
                  <a:pt x="637" y="1019"/>
                  <a:pt x="685" y="991"/>
                  <a:pt x="721" y="971"/>
                </a:cubicBezTo>
                <a:cubicBezTo>
                  <a:pt x="752" y="954"/>
                  <a:pt x="789" y="934"/>
                  <a:pt x="797" y="899"/>
                </a:cubicBezTo>
                <a:cubicBezTo>
                  <a:pt x="725" y="889"/>
                  <a:pt x="676" y="940"/>
                  <a:pt x="609" y="927"/>
                </a:cubicBezTo>
                <a:cubicBezTo>
                  <a:pt x="532" y="913"/>
                  <a:pt x="523" y="816"/>
                  <a:pt x="453" y="791"/>
                </a:cubicBezTo>
                <a:cubicBezTo>
                  <a:pt x="453" y="797"/>
                  <a:pt x="448" y="797"/>
                  <a:pt x="449" y="803"/>
                </a:cubicBezTo>
                <a:close/>
                <a:moveTo>
                  <a:pt x="949" y="1903"/>
                </a:moveTo>
                <a:cubicBezTo>
                  <a:pt x="1326" y="1717"/>
                  <a:pt x="1713" y="1535"/>
                  <a:pt x="2093" y="1347"/>
                </a:cubicBezTo>
                <a:cubicBezTo>
                  <a:pt x="2132" y="1328"/>
                  <a:pt x="2251" y="1285"/>
                  <a:pt x="2265" y="1255"/>
                </a:cubicBezTo>
                <a:cubicBezTo>
                  <a:pt x="2277" y="1229"/>
                  <a:pt x="2269" y="1215"/>
                  <a:pt x="2269" y="1179"/>
                </a:cubicBezTo>
                <a:cubicBezTo>
                  <a:pt x="2269" y="1125"/>
                  <a:pt x="2270" y="1080"/>
                  <a:pt x="2269" y="1019"/>
                </a:cubicBezTo>
                <a:cubicBezTo>
                  <a:pt x="2268" y="971"/>
                  <a:pt x="2272" y="944"/>
                  <a:pt x="2233" y="963"/>
                </a:cubicBezTo>
                <a:cubicBezTo>
                  <a:pt x="1832" y="1166"/>
                  <a:pt x="1431" y="1343"/>
                  <a:pt x="1025" y="1547"/>
                </a:cubicBezTo>
                <a:cubicBezTo>
                  <a:pt x="976" y="1572"/>
                  <a:pt x="874" y="1609"/>
                  <a:pt x="861" y="1643"/>
                </a:cubicBezTo>
                <a:cubicBezTo>
                  <a:pt x="847" y="1679"/>
                  <a:pt x="857" y="1738"/>
                  <a:pt x="857" y="1787"/>
                </a:cubicBezTo>
                <a:cubicBezTo>
                  <a:pt x="857" y="1842"/>
                  <a:pt x="854" y="1894"/>
                  <a:pt x="861" y="1935"/>
                </a:cubicBezTo>
                <a:cubicBezTo>
                  <a:pt x="893" y="1939"/>
                  <a:pt x="921" y="1917"/>
                  <a:pt x="949" y="190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77680" tIns="38843" rIns="77680" bIns="38843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198" name="Picture 9" descr="C:\Users\Jonahs\Dropbox\Projects SCOTT\MEET Windows Azure\source\Background\tile-icon-messaging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916" y="1750627"/>
            <a:ext cx="663818" cy="66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28384" y="1707654"/>
            <a:ext cx="729241" cy="729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47664" y="2859782"/>
            <a:ext cx="971091" cy="71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" name="Freeform 17"/>
          <p:cNvSpPr>
            <a:spLocks noEditPoints="1"/>
          </p:cNvSpPr>
          <p:nvPr/>
        </p:nvSpPr>
        <p:spPr bwMode="auto">
          <a:xfrm>
            <a:off x="2904735" y="2859782"/>
            <a:ext cx="885098" cy="795610"/>
          </a:xfrm>
          <a:custGeom>
            <a:avLst/>
            <a:gdLst>
              <a:gd name="T0" fmla="*/ 112 w 268"/>
              <a:gd name="T1" fmla="*/ 130 h 241"/>
              <a:gd name="T2" fmla="*/ 112 w 268"/>
              <a:gd name="T3" fmla="*/ 78 h 241"/>
              <a:gd name="T4" fmla="*/ 134 w 268"/>
              <a:gd name="T5" fmla="*/ 78 h 241"/>
              <a:gd name="T6" fmla="*/ 134 w 268"/>
              <a:gd name="T7" fmla="*/ 130 h 241"/>
              <a:gd name="T8" fmla="*/ 112 w 268"/>
              <a:gd name="T9" fmla="*/ 130 h 241"/>
              <a:gd name="T10" fmla="*/ 103 w 268"/>
              <a:gd name="T11" fmla="*/ 102 h 241"/>
              <a:gd name="T12" fmla="*/ 0 w 268"/>
              <a:gd name="T13" fmla="*/ 102 h 241"/>
              <a:gd name="T14" fmla="*/ 0 w 268"/>
              <a:gd name="T15" fmla="*/ 38 h 241"/>
              <a:gd name="T16" fmla="*/ 63 w 268"/>
              <a:gd name="T17" fmla="*/ 38 h 241"/>
              <a:gd name="T18" fmla="*/ 63 w 268"/>
              <a:gd name="T19" fmla="*/ 22 h 241"/>
              <a:gd name="T20" fmla="*/ 86 w 268"/>
              <a:gd name="T21" fmla="*/ 0 h 241"/>
              <a:gd name="T22" fmla="*/ 170 w 268"/>
              <a:gd name="T23" fmla="*/ 0 h 241"/>
              <a:gd name="T24" fmla="*/ 192 w 268"/>
              <a:gd name="T25" fmla="*/ 22 h 241"/>
              <a:gd name="T26" fmla="*/ 192 w 268"/>
              <a:gd name="T27" fmla="*/ 38 h 241"/>
              <a:gd name="T28" fmla="*/ 255 w 268"/>
              <a:gd name="T29" fmla="*/ 38 h 241"/>
              <a:gd name="T30" fmla="*/ 255 w 268"/>
              <a:gd name="T31" fmla="*/ 102 h 241"/>
              <a:gd name="T32" fmla="*/ 234 w 268"/>
              <a:gd name="T33" fmla="*/ 102 h 241"/>
              <a:gd name="T34" fmla="*/ 233 w 268"/>
              <a:gd name="T35" fmla="*/ 76 h 241"/>
              <a:gd name="T36" fmla="*/ 210 w 268"/>
              <a:gd name="T37" fmla="*/ 54 h 241"/>
              <a:gd name="T38" fmla="*/ 192 w 268"/>
              <a:gd name="T39" fmla="*/ 48 h 241"/>
              <a:gd name="T40" fmla="*/ 206 w 268"/>
              <a:gd name="T41" fmla="*/ 83 h 241"/>
              <a:gd name="T42" fmla="*/ 186 w 268"/>
              <a:gd name="T43" fmla="*/ 91 h 241"/>
              <a:gd name="T44" fmla="*/ 172 w 268"/>
              <a:gd name="T45" fmla="*/ 56 h 241"/>
              <a:gd name="T46" fmla="*/ 163 w 268"/>
              <a:gd name="T47" fmla="*/ 73 h 241"/>
              <a:gd name="T48" fmla="*/ 160 w 268"/>
              <a:gd name="T49" fmla="*/ 102 h 241"/>
              <a:gd name="T50" fmla="*/ 142 w 268"/>
              <a:gd name="T51" fmla="*/ 102 h 241"/>
              <a:gd name="T52" fmla="*/ 142 w 268"/>
              <a:gd name="T53" fmla="*/ 70 h 241"/>
              <a:gd name="T54" fmla="*/ 103 w 268"/>
              <a:gd name="T55" fmla="*/ 70 h 241"/>
              <a:gd name="T56" fmla="*/ 103 w 268"/>
              <a:gd name="T57" fmla="*/ 102 h 241"/>
              <a:gd name="T58" fmla="*/ 79 w 268"/>
              <a:gd name="T59" fmla="*/ 38 h 241"/>
              <a:gd name="T60" fmla="*/ 176 w 268"/>
              <a:gd name="T61" fmla="*/ 38 h 241"/>
              <a:gd name="T62" fmla="*/ 176 w 268"/>
              <a:gd name="T63" fmla="*/ 22 h 241"/>
              <a:gd name="T64" fmla="*/ 170 w 268"/>
              <a:gd name="T65" fmla="*/ 16 h 241"/>
              <a:gd name="T66" fmla="*/ 86 w 268"/>
              <a:gd name="T67" fmla="*/ 16 h 241"/>
              <a:gd name="T68" fmla="*/ 79 w 268"/>
              <a:gd name="T69" fmla="*/ 22 h 241"/>
              <a:gd name="T70" fmla="*/ 79 w 268"/>
              <a:gd name="T71" fmla="*/ 38 h 241"/>
              <a:gd name="T72" fmla="*/ 255 w 268"/>
              <a:gd name="T73" fmla="*/ 172 h 241"/>
              <a:gd name="T74" fmla="*/ 255 w 268"/>
              <a:gd name="T75" fmla="*/ 112 h 241"/>
              <a:gd name="T76" fmla="*/ 232 w 268"/>
              <a:gd name="T77" fmla="*/ 112 h 241"/>
              <a:gd name="T78" fmla="*/ 255 w 268"/>
              <a:gd name="T79" fmla="*/ 172 h 241"/>
              <a:gd name="T80" fmla="*/ 166 w 268"/>
              <a:gd name="T81" fmla="*/ 112 h 241"/>
              <a:gd name="T82" fmla="*/ 142 w 268"/>
              <a:gd name="T83" fmla="*/ 112 h 241"/>
              <a:gd name="T84" fmla="*/ 142 w 268"/>
              <a:gd name="T85" fmla="*/ 139 h 241"/>
              <a:gd name="T86" fmla="*/ 103 w 268"/>
              <a:gd name="T87" fmla="*/ 139 h 241"/>
              <a:gd name="T88" fmla="*/ 103 w 268"/>
              <a:gd name="T89" fmla="*/ 112 h 241"/>
              <a:gd name="T90" fmla="*/ 0 w 268"/>
              <a:gd name="T91" fmla="*/ 112 h 241"/>
              <a:gd name="T92" fmla="*/ 0 w 268"/>
              <a:gd name="T93" fmla="*/ 203 h 241"/>
              <a:gd name="T94" fmla="*/ 216 w 268"/>
              <a:gd name="T95" fmla="*/ 203 h 241"/>
              <a:gd name="T96" fmla="*/ 186 w 268"/>
              <a:gd name="T97" fmla="*/ 127 h 241"/>
              <a:gd name="T98" fmla="*/ 166 w 268"/>
              <a:gd name="T99" fmla="*/ 112 h 241"/>
              <a:gd name="T100" fmla="*/ 266 w 268"/>
              <a:gd name="T101" fmla="*/ 222 h 241"/>
              <a:gd name="T102" fmla="*/ 221 w 268"/>
              <a:gd name="T103" fmla="*/ 108 h 241"/>
              <a:gd name="T104" fmla="*/ 225 w 268"/>
              <a:gd name="T105" fmla="*/ 79 h 241"/>
              <a:gd name="T106" fmla="*/ 207 w 268"/>
              <a:gd name="T107" fmla="*/ 62 h 241"/>
              <a:gd name="T108" fmla="*/ 217 w 268"/>
              <a:gd name="T109" fmla="*/ 88 h 241"/>
              <a:gd name="T110" fmla="*/ 181 w 268"/>
              <a:gd name="T111" fmla="*/ 103 h 241"/>
              <a:gd name="T112" fmla="*/ 171 w 268"/>
              <a:gd name="T113" fmla="*/ 77 h 241"/>
              <a:gd name="T114" fmla="*/ 170 w 268"/>
              <a:gd name="T115" fmla="*/ 101 h 241"/>
              <a:gd name="T116" fmla="*/ 192 w 268"/>
              <a:gd name="T117" fmla="*/ 120 h 241"/>
              <a:gd name="T118" fmla="*/ 238 w 268"/>
              <a:gd name="T119" fmla="*/ 233 h 241"/>
              <a:gd name="T120" fmla="*/ 250 w 268"/>
              <a:gd name="T121" fmla="*/ 239 h 241"/>
              <a:gd name="T122" fmla="*/ 261 w 268"/>
              <a:gd name="T123" fmla="*/ 235 h 241"/>
              <a:gd name="T124" fmla="*/ 266 w 268"/>
              <a:gd name="T125" fmla="*/ 22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8" h="241">
                <a:moveTo>
                  <a:pt x="112" y="130"/>
                </a:moveTo>
                <a:cubicBezTo>
                  <a:pt x="112" y="78"/>
                  <a:pt x="112" y="78"/>
                  <a:pt x="112" y="78"/>
                </a:cubicBezTo>
                <a:cubicBezTo>
                  <a:pt x="134" y="78"/>
                  <a:pt x="134" y="78"/>
                  <a:pt x="134" y="78"/>
                </a:cubicBezTo>
                <a:cubicBezTo>
                  <a:pt x="134" y="130"/>
                  <a:pt x="134" y="130"/>
                  <a:pt x="134" y="130"/>
                </a:cubicBezTo>
                <a:lnTo>
                  <a:pt x="112" y="130"/>
                </a:lnTo>
                <a:close/>
                <a:moveTo>
                  <a:pt x="103" y="102"/>
                </a:moveTo>
                <a:cubicBezTo>
                  <a:pt x="0" y="102"/>
                  <a:pt x="0" y="102"/>
                  <a:pt x="0" y="102"/>
                </a:cubicBezTo>
                <a:cubicBezTo>
                  <a:pt x="0" y="38"/>
                  <a:pt x="0" y="38"/>
                  <a:pt x="0" y="38"/>
                </a:cubicBezTo>
                <a:cubicBezTo>
                  <a:pt x="63" y="38"/>
                  <a:pt x="63" y="38"/>
                  <a:pt x="63" y="38"/>
                </a:cubicBezTo>
                <a:cubicBezTo>
                  <a:pt x="63" y="22"/>
                  <a:pt x="63" y="22"/>
                  <a:pt x="63" y="22"/>
                </a:cubicBezTo>
                <a:cubicBezTo>
                  <a:pt x="63" y="10"/>
                  <a:pt x="73" y="0"/>
                  <a:pt x="86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82" y="0"/>
                  <a:pt x="192" y="10"/>
                  <a:pt x="192" y="22"/>
                </a:cubicBezTo>
                <a:cubicBezTo>
                  <a:pt x="192" y="38"/>
                  <a:pt x="192" y="38"/>
                  <a:pt x="192" y="38"/>
                </a:cubicBezTo>
                <a:cubicBezTo>
                  <a:pt x="255" y="38"/>
                  <a:pt x="255" y="38"/>
                  <a:pt x="255" y="38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34" y="102"/>
                  <a:pt x="234" y="102"/>
                  <a:pt x="234" y="102"/>
                </a:cubicBezTo>
                <a:cubicBezTo>
                  <a:pt x="236" y="93"/>
                  <a:pt x="236" y="84"/>
                  <a:pt x="233" y="76"/>
                </a:cubicBezTo>
                <a:cubicBezTo>
                  <a:pt x="229" y="66"/>
                  <a:pt x="220" y="58"/>
                  <a:pt x="210" y="54"/>
                </a:cubicBezTo>
                <a:cubicBezTo>
                  <a:pt x="192" y="48"/>
                  <a:pt x="192" y="48"/>
                  <a:pt x="192" y="48"/>
                </a:cubicBezTo>
                <a:cubicBezTo>
                  <a:pt x="206" y="83"/>
                  <a:pt x="206" y="83"/>
                  <a:pt x="206" y="83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72" y="56"/>
                  <a:pt x="172" y="56"/>
                  <a:pt x="172" y="56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58" y="82"/>
                  <a:pt x="158" y="92"/>
                  <a:pt x="160" y="102"/>
                </a:cubicBezTo>
                <a:cubicBezTo>
                  <a:pt x="142" y="102"/>
                  <a:pt x="142" y="102"/>
                  <a:pt x="142" y="102"/>
                </a:cubicBezTo>
                <a:cubicBezTo>
                  <a:pt x="142" y="70"/>
                  <a:pt x="142" y="70"/>
                  <a:pt x="142" y="70"/>
                </a:cubicBezTo>
                <a:cubicBezTo>
                  <a:pt x="103" y="70"/>
                  <a:pt x="103" y="70"/>
                  <a:pt x="103" y="70"/>
                </a:cubicBezTo>
                <a:lnTo>
                  <a:pt x="103" y="102"/>
                </a:lnTo>
                <a:close/>
                <a:moveTo>
                  <a:pt x="79" y="38"/>
                </a:moveTo>
                <a:cubicBezTo>
                  <a:pt x="176" y="38"/>
                  <a:pt x="176" y="38"/>
                  <a:pt x="176" y="38"/>
                </a:cubicBezTo>
                <a:cubicBezTo>
                  <a:pt x="176" y="22"/>
                  <a:pt x="176" y="22"/>
                  <a:pt x="176" y="22"/>
                </a:cubicBezTo>
                <a:cubicBezTo>
                  <a:pt x="176" y="19"/>
                  <a:pt x="173" y="16"/>
                  <a:pt x="170" y="16"/>
                </a:cubicBezTo>
                <a:cubicBezTo>
                  <a:pt x="86" y="16"/>
                  <a:pt x="86" y="16"/>
                  <a:pt x="86" y="16"/>
                </a:cubicBezTo>
                <a:cubicBezTo>
                  <a:pt x="82" y="16"/>
                  <a:pt x="79" y="19"/>
                  <a:pt x="79" y="22"/>
                </a:cubicBezTo>
                <a:lnTo>
                  <a:pt x="79" y="38"/>
                </a:lnTo>
                <a:close/>
                <a:moveTo>
                  <a:pt x="255" y="172"/>
                </a:moveTo>
                <a:cubicBezTo>
                  <a:pt x="255" y="112"/>
                  <a:pt x="255" y="112"/>
                  <a:pt x="255" y="112"/>
                </a:cubicBezTo>
                <a:cubicBezTo>
                  <a:pt x="232" y="112"/>
                  <a:pt x="232" y="112"/>
                  <a:pt x="232" y="112"/>
                </a:cubicBezTo>
                <a:lnTo>
                  <a:pt x="255" y="172"/>
                </a:lnTo>
                <a:close/>
                <a:moveTo>
                  <a:pt x="166" y="112"/>
                </a:moveTo>
                <a:cubicBezTo>
                  <a:pt x="142" y="112"/>
                  <a:pt x="142" y="112"/>
                  <a:pt x="142" y="112"/>
                </a:cubicBezTo>
                <a:cubicBezTo>
                  <a:pt x="142" y="139"/>
                  <a:pt x="142" y="139"/>
                  <a:pt x="142" y="139"/>
                </a:cubicBezTo>
                <a:cubicBezTo>
                  <a:pt x="103" y="139"/>
                  <a:pt x="103" y="139"/>
                  <a:pt x="103" y="139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203"/>
                  <a:pt x="0" y="203"/>
                  <a:pt x="0" y="203"/>
                </a:cubicBezTo>
                <a:cubicBezTo>
                  <a:pt x="216" y="203"/>
                  <a:pt x="216" y="203"/>
                  <a:pt x="216" y="203"/>
                </a:cubicBezTo>
                <a:cubicBezTo>
                  <a:pt x="186" y="127"/>
                  <a:pt x="186" y="127"/>
                  <a:pt x="186" y="127"/>
                </a:cubicBezTo>
                <a:cubicBezTo>
                  <a:pt x="178" y="124"/>
                  <a:pt x="171" y="119"/>
                  <a:pt x="166" y="112"/>
                </a:cubicBezTo>
                <a:close/>
                <a:moveTo>
                  <a:pt x="266" y="222"/>
                </a:moveTo>
                <a:cubicBezTo>
                  <a:pt x="221" y="108"/>
                  <a:pt x="221" y="108"/>
                  <a:pt x="221" y="108"/>
                </a:cubicBezTo>
                <a:cubicBezTo>
                  <a:pt x="227" y="100"/>
                  <a:pt x="229" y="89"/>
                  <a:pt x="225" y="79"/>
                </a:cubicBezTo>
                <a:cubicBezTo>
                  <a:pt x="221" y="71"/>
                  <a:pt x="215" y="65"/>
                  <a:pt x="207" y="62"/>
                </a:cubicBezTo>
                <a:cubicBezTo>
                  <a:pt x="217" y="88"/>
                  <a:pt x="217" y="88"/>
                  <a:pt x="217" y="88"/>
                </a:cubicBezTo>
                <a:cubicBezTo>
                  <a:pt x="181" y="103"/>
                  <a:pt x="181" y="103"/>
                  <a:pt x="181" y="103"/>
                </a:cubicBezTo>
                <a:cubicBezTo>
                  <a:pt x="171" y="77"/>
                  <a:pt x="171" y="77"/>
                  <a:pt x="171" y="77"/>
                </a:cubicBezTo>
                <a:cubicBezTo>
                  <a:pt x="167" y="84"/>
                  <a:pt x="166" y="93"/>
                  <a:pt x="170" y="101"/>
                </a:cubicBezTo>
                <a:cubicBezTo>
                  <a:pt x="174" y="111"/>
                  <a:pt x="182" y="118"/>
                  <a:pt x="192" y="12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40" y="238"/>
                  <a:pt x="245" y="241"/>
                  <a:pt x="250" y="239"/>
                </a:cubicBezTo>
                <a:cubicBezTo>
                  <a:pt x="261" y="235"/>
                  <a:pt x="261" y="235"/>
                  <a:pt x="261" y="235"/>
                </a:cubicBezTo>
                <a:cubicBezTo>
                  <a:pt x="266" y="233"/>
                  <a:pt x="268" y="227"/>
                  <a:pt x="266" y="2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06" tIns="45702" rIns="91406" bIns="45702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207" name="Picture 5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35" y="2787774"/>
            <a:ext cx="660205" cy="794160"/>
          </a:xfrm>
          <a:prstGeom prst="rect">
            <a:avLst/>
          </a:prstGeom>
        </p:spPr>
      </p:pic>
      <p:pic>
        <p:nvPicPr>
          <p:cNvPr id="208" name="Picture 1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814" y="2931790"/>
            <a:ext cx="616370" cy="5658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44" name="Picture 15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9393" y="3951965"/>
            <a:ext cx="768082" cy="768082"/>
          </a:xfrm>
          <a:prstGeom prst="rect">
            <a:avLst/>
          </a:prstGeom>
        </p:spPr>
      </p:pic>
      <p:sp>
        <p:nvSpPr>
          <p:cNvPr id="49" name="Freeform 127"/>
          <p:cNvSpPr>
            <a:spLocks noEditPoints="1"/>
          </p:cNvSpPr>
          <p:nvPr/>
        </p:nvSpPr>
        <p:spPr bwMode="black">
          <a:xfrm>
            <a:off x="2943464" y="4071190"/>
            <a:ext cx="692432" cy="564001"/>
          </a:xfrm>
          <a:custGeom>
            <a:avLst/>
            <a:gdLst>
              <a:gd name="T0" fmla="*/ 72 w 75"/>
              <a:gd name="T1" fmla="*/ 23 h 61"/>
              <a:gd name="T2" fmla="*/ 71 w 75"/>
              <a:gd name="T3" fmla="*/ 22 h 61"/>
              <a:gd name="T4" fmla="*/ 63 w 75"/>
              <a:gd name="T5" fmla="*/ 3 h 61"/>
              <a:gd name="T6" fmla="*/ 59 w 75"/>
              <a:gd name="T7" fmla="*/ 0 h 61"/>
              <a:gd name="T8" fmla="*/ 16 w 75"/>
              <a:gd name="T9" fmla="*/ 0 h 61"/>
              <a:gd name="T10" fmla="*/ 13 w 75"/>
              <a:gd name="T11" fmla="*/ 3 h 61"/>
              <a:gd name="T12" fmla="*/ 4 w 75"/>
              <a:gd name="T13" fmla="*/ 23 h 61"/>
              <a:gd name="T14" fmla="*/ 0 w 75"/>
              <a:gd name="T15" fmla="*/ 28 h 61"/>
              <a:gd name="T16" fmla="*/ 0 w 75"/>
              <a:gd name="T17" fmla="*/ 45 h 61"/>
              <a:gd name="T18" fmla="*/ 5 w 75"/>
              <a:gd name="T19" fmla="*/ 50 h 61"/>
              <a:gd name="T20" fmla="*/ 10 w 75"/>
              <a:gd name="T21" fmla="*/ 50 h 61"/>
              <a:gd name="T22" fmla="*/ 10 w 75"/>
              <a:gd name="T23" fmla="*/ 56 h 61"/>
              <a:gd name="T24" fmla="*/ 14 w 75"/>
              <a:gd name="T25" fmla="*/ 61 h 61"/>
              <a:gd name="T26" fmla="*/ 19 w 75"/>
              <a:gd name="T27" fmla="*/ 56 h 61"/>
              <a:gd name="T28" fmla="*/ 19 w 75"/>
              <a:gd name="T29" fmla="*/ 50 h 61"/>
              <a:gd name="T30" fmla="*/ 56 w 75"/>
              <a:gd name="T31" fmla="*/ 50 h 61"/>
              <a:gd name="T32" fmla="*/ 56 w 75"/>
              <a:gd name="T33" fmla="*/ 56 h 61"/>
              <a:gd name="T34" fmla="*/ 61 w 75"/>
              <a:gd name="T35" fmla="*/ 61 h 61"/>
              <a:gd name="T36" fmla="*/ 66 w 75"/>
              <a:gd name="T37" fmla="*/ 56 h 61"/>
              <a:gd name="T38" fmla="*/ 66 w 75"/>
              <a:gd name="T39" fmla="*/ 50 h 61"/>
              <a:gd name="T40" fmla="*/ 70 w 75"/>
              <a:gd name="T41" fmla="*/ 50 h 61"/>
              <a:gd name="T42" fmla="*/ 75 w 75"/>
              <a:gd name="T43" fmla="*/ 45 h 61"/>
              <a:gd name="T44" fmla="*/ 75 w 75"/>
              <a:gd name="T45" fmla="*/ 28 h 61"/>
              <a:gd name="T46" fmla="*/ 72 w 75"/>
              <a:gd name="T47" fmla="*/ 23 h 61"/>
              <a:gd name="T48" fmla="*/ 18 w 75"/>
              <a:gd name="T49" fmla="*/ 8 h 61"/>
              <a:gd name="T50" fmla="*/ 57 w 75"/>
              <a:gd name="T51" fmla="*/ 8 h 61"/>
              <a:gd name="T52" fmla="*/ 62 w 75"/>
              <a:gd name="T53" fmla="*/ 20 h 61"/>
              <a:gd name="T54" fmla="*/ 13 w 75"/>
              <a:gd name="T55" fmla="*/ 20 h 61"/>
              <a:gd name="T56" fmla="*/ 18 w 75"/>
              <a:gd name="T57" fmla="*/ 8 h 61"/>
              <a:gd name="T58" fmla="*/ 14 w 75"/>
              <a:gd name="T59" fmla="*/ 38 h 61"/>
              <a:gd name="T60" fmla="*/ 9 w 75"/>
              <a:gd name="T61" fmla="*/ 33 h 61"/>
              <a:gd name="T62" fmla="*/ 14 w 75"/>
              <a:gd name="T63" fmla="*/ 28 h 61"/>
              <a:gd name="T64" fmla="*/ 19 w 75"/>
              <a:gd name="T65" fmla="*/ 33 h 61"/>
              <a:gd name="T66" fmla="*/ 14 w 75"/>
              <a:gd name="T67" fmla="*/ 38 h 61"/>
              <a:gd name="T68" fmla="*/ 61 w 75"/>
              <a:gd name="T69" fmla="*/ 38 h 61"/>
              <a:gd name="T70" fmla="*/ 56 w 75"/>
              <a:gd name="T71" fmla="*/ 33 h 61"/>
              <a:gd name="T72" fmla="*/ 61 w 75"/>
              <a:gd name="T73" fmla="*/ 28 h 61"/>
              <a:gd name="T74" fmla="*/ 67 w 75"/>
              <a:gd name="T75" fmla="*/ 33 h 61"/>
              <a:gd name="T76" fmla="*/ 61 w 75"/>
              <a:gd name="T77" fmla="*/ 3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5" h="61">
                <a:moveTo>
                  <a:pt x="72" y="23"/>
                </a:moveTo>
                <a:cubicBezTo>
                  <a:pt x="72" y="22"/>
                  <a:pt x="71" y="22"/>
                  <a:pt x="71" y="22"/>
                </a:cubicBezTo>
                <a:cubicBezTo>
                  <a:pt x="63" y="3"/>
                  <a:pt x="63" y="3"/>
                  <a:pt x="63" y="3"/>
                </a:cubicBezTo>
                <a:cubicBezTo>
                  <a:pt x="62" y="1"/>
                  <a:pt x="61" y="0"/>
                  <a:pt x="5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4" y="0"/>
                  <a:pt x="13" y="1"/>
                  <a:pt x="13" y="3"/>
                </a:cubicBezTo>
                <a:cubicBezTo>
                  <a:pt x="4" y="23"/>
                  <a:pt x="4" y="23"/>
                  <a:pt x="4" y="23"/>
                </a:cubicBezTo>
                <a:cubicBezTo>
                  <a:pt x="2" y="23"/>
                  <a:pt x="0" y="25"/>
                  <a:pt x="0" y="28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8"/>
                  <a:pt x="2" y="50"/>
                  <a:pt x="5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6"/>
                  <a:pt x="10" y="56"/>
                  <a:pt x="10" y="56"/>
                </a:cubicBezTo>
                <a:cubicBezTo>
                  <a:pt x="10" y="59"/>
                  <a:pt x="12" y="61"/>
                  <a:pt x="14" y="61"/>
                </a:cubicBezTo>
                <a:cubicBezTo>
                  <a:pt x="17" y="61"/>
                  <a:pt x="19" y="59"/>
                  <a:pt x="19" y="56"/>
                </a:cubicBezTo>
                <a:cubicBezTo>
                  <a:pt x="19" y="50"/>
                  <a:pt x="19" y="50"/>
                  <a:pt x="19" y="50"/>
                </a:cubicBezTo>
                <a:cubicBezTo>
                  <a:pt x="56" y="50"/>
                  <a:pt x="56" y="50"/>
                  <a:pt x="56" y="50"/>
                </a:cubicBezTo>
                <a:cubicBezTo>
                  <a:pt x="56" y="56"/>
                  <a:pt x="56" y="56"/>
                  <a:pt x="56" y="56"/>
                </a:cubicBezTo>
                <a:cubicBezTo>
                  <a:pt x="56" y="59"/>
                  <a:pt x="58" y="61"/>
                  <a:pt x="61" y="61"/>
                </a:cubicBezTo>
                <a:cubicBezTo>
                  <a:pt x="64" y="61"/>
                  <a:pt x="66" y="59"/>
                  <a:pt x="66" y="56"/>
                </a:cubicBezTo>
                <a:cubicBezTo>
                  <a:pt x="66" y="50"/>
                  <a:pt x="66" y="50"/>
                  <a:pt x="66" y="50"/>
                </a:cubicBezTo>
                <a:cubicBezTo>
                  <a:pt x="70" y="50"/>
                  <a:pt x="70" y="50"/>
                  <a:pt x="70" y="50"/>
                </a:cubicBezTo>
                <a:cubicBezTo>
                  <a:pt x="73" y="50"/>
                  <a:pt x="75" y="48"/>
                  <a:pt x="75" y="45"/>
                </a:cubicBezTo>
                <a:cubicBezTo>
                  <a:pt x="75" y="28"/>
                  <a:pt x="75" y="28"/>
                  <a:pt x="75" y="28"/>
                </a:cubicBezTo>
                <a:cubicBezTo>
                  <a:pt x="75" y="25"/>
                  <a:pt x="74" y="23"/>
                  <a:pt x="72" y="23"/>
                </a:cubicBezTo>
                <a:close/>
                <a:moveTo>
                  <a:pt x="18" y="8"/>
                </a:moveTo>
                <a:cubicBezTo>
                  <a:pt x="57" y="8"/>
                  <a:pt x="57" y="8"/>
                  <a:pt x="57" y="8"/>
                </a:cubicBezTo>
                <a:cubicBezTo>
                  <a:pt x="62" y="20"/>
                  <a:pt x="62" y="20"/>
                  <a:pt x="62" y="20"/>
                </a:cubicBezTo>
                <a:cubicBezTo>
                  <a:pt x="13" y="20"/>
                  <a:pt x="13" y="20"/>
                  <a:pt x="13" y="20"/>
                </a:cubicBezTo>
                <a:lnTo>
                  <a:pt x="18" y="8"/>
                </a:lnTo>
                <a:close/>
                <a:moveTo>
                  <a:pt x="14" y="38"/>
                </a:moveTo>
                <a:cubicBezTo>
                  <a:pt x="11" y="38"/>
                  <a:pt x="9" y="36"/>
                  <a:pt x="9" y="33"/>
                </a:cubicBezTo>
                <a:cubicBezTo>
                  <a:pt x="9" y="30"/>
                  <a:pt x="11" y="28"/>
                  <a:pt x="14" y="28"/>
                </a:cubicBezTo>
                <a:cubicBezTo>
                  <a:pt x="17" y="28"/>
                  <a:pt x="19" y="30"/>
                  <a:pt x="19" y="33"/>
                </a:cubicBezTo>
                <a:cubicBezTo>
                  <a:pt x="19" y="36"/>
                  <a:pt x="17" y="38"/>
                  <a:pt x="14" y="38"/>
                </a:cubicBezTo>
                <a:close/>
                <a:moveTo>
                  <a:pt x="61" y="38"/>
                </a:moveTo>
                <a:cubicBezTo>
                  <a:pt x="58" y="38"/>
                  <a:pt x="56" y="36"/>
                  <a:pt x="56" y="33"/>
                </a:cubicBezTo>
                <a:cubicBezTo>
                  <a:pt x="56" y="30"/>
                  <a:pt x="58" y="28"/>
                  <a:pt x="61" y="28"/>
                </a:cubicBezTo>
                <a:cubicBezTo>
                  <a:pt x="64" y="28"/>
                  <a:pt x="67" y="30"/>
                  <a:pt x="67" y="33"/>
                </a:cubicBezTo>
                <a:cubicBezTo>
                  <a:pt x="67" y="36"/>
                  <a:pt x="64" y="38"/>
                  <a:pt x="61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6" tIns="45702" rIns="91406" bIns="45702" numCol="1" anchor="t" anchorCtr="0" compatLnSpc="1"/>
          <a:lstStyle/>
          <a:p>
            <a:pPr defTabSz="930910">
              <a:defRPr/>
            </a:pPr>
            <a:endParaRPr lang="en-US" kern="0">
              <a:solidFill>
                <a:srgbClr val="505050"/>
              </a:solidFill>
              <a:latin typeface="Segoe UI" panose="020B0502040204020203"/>
            </a:endParaRPr>
          </a:p>
        </p:txBody>
      </p:sp>
      <p:grpSp>
        <p:nvGrpSpPr>
          <p:cNvPr id="54" name="组合 53"/>
          <p:cNvGrpSpPr/>
          <p:nvPr/>
        </p:nvGrpSpPr>
        <p:grpSpPr>
          <a:xfrm>
            <a:off x="6813423" y="3977982"/>
            <a:ext cx="677844" cy="706363"/>
            <a:chOff x="10271767" y="2413727"/>
            <a:chExt cx="898588" cy="936394"/>
          </a:xfrm>
        </p:grpSpPr>
        <p:sp>
          <p:nvSpPr>
            <p:cNvPr id="55" name="Freeform 132"/>
            <p:cNvSpPr/>
            <p:nvPr/>
          </p:nvSpPr>
          <p:spPr bwMode="auto">
            <a:xfrm>
              <a:off x="10289219" y="3125358"/>
              <a:ext cx="218101" cy="224718"/>
            </a:xfrm>
            <a:custGeom>
              <a:avLst/>
              <a:gdLst/>
              <a:ahLst/>
              <a:cxnLst>
                <a:cxn ang="0">
                  <a:pos x="29" y="55"/>
                </a:cxn>
                <a:cxn ang="0">
                  <a:pos x="1" y="28"/>
                </a:cxn>
                <a:cxn ang="0">
                  <a:pos x="25" y="0"/>
                </a:cxn>
                <a:cxn ang="0">
                  <a:pos x="54" y="28"/>
                </a:cxn>
                <a:cxn ang="0">
                  <a:pos x="29" y="55"/>
                </a:cxn>
              </a:cxnLst>
              <a:rect l="0" t="0" r="r" b="b"/>
              <a:pathLst>
                <a:path w="55" h="55">
                  <a:moveTo>
                    <a:pt x="29" y="55"/>
                  </a:moveTo>
                  <a:cubicBezTo>
                    <a:pt x="15" y="55"/>
                    <a:pt x="2" y="43"/>
                    <a:pt x="1" y="28"/>
                  </a:cubicBezTo>
                  <a:cubicBezTo>
                    <a:pt x="0" y="13"/>
                    <a:pt x="10" y="1"/>
                    <a:pt x="25" y="0"/>
                  </a:cubicBezTo>
                  <a:cubicBezTo>
                    <a:pt x="40" y="0"/>
                    <a:pt x="53" y="12"/>
                    <a:pt x="54" y="28"/>
                  </a:cubicBezTo>
                  <a:cubicBezTo>
                    <a:pt x="55" y="43"/>
                    <a:pt x="44" y="55"/>
                    <a:pt x="29" y="55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 vert="horz" wrap="square" lIns="93223" tIns="46611" rIns="93223" bIns="46611" numCol="1" anchor="t" anchorCtr="0" compatLnSpc="1"/>
            <a:lstStyle/>
            <a:p>
              <a:pPr defTabSz="931545">
                <a:defRPr/>
              </a:pPr>
              <a:endParaRPr lang="en-US" sz="1400" kern="0">
                <a:solidFill>
                  <a:srgbClr val="4D4D4D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56" name="Freeform 133"/>
            <p:cNvSpPr/>
            <p:nvPr/>
          </p:nvSpPr>
          <p:spPr bwMode="auto">
            <a:xfrm>
              <a:off x="10271767" y="2413727"/>
              <a:ext cx="898588" cy="908236"/>
            </a:xfrm>
            <a:custGeom>
              <a:avLst/>
              <a:gdLst/>
              <a:ahLst/>
              <a:cxnLst>
                <a:cxn ang="0">
                  <a:pos x="234" y="213"/>
                </a:cxn>
                <a:cxn ang="0">
                  <a:pos x="123" y="26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34"/>
                </a:cxn>
                <a:cxn ang="0">
                  <a:pos x="4" y="38"/>
                </a:cxn>
                <a:cxn ang="0">
                  <a:pos x="104" y="63"/>
                </a:cxn>
                <a:cxn ang="0">
                  <a:pos x="196" y="217"/>
                </a:cxn>
                <a:cxn ang="0">
                  <a:pos x="200" y="222"/>
                </a:cxn>
                <a:cxn ang="0">
                  <a:pos x="230" y="219"/>
                </a:cxn>
                <a:cxn ang="0">
                  <a:pos x="234" y="213"/>
                </a:cxn>
              </a:cxnLst>
              <a:rect l="0" t="0" r="r" b="b"/>
              <a:pathLst>
                <a:path w="234" h="222">
                  <a:moveTo>
                    <a:pt x="234" y="213"/>
                  </a:moveTo>
                  <a:cubicBezTo>
                    <a:pt x="231" y="110"/>
                    <a:pt x="177" y="53"/>
                    <a:pt x="123" y="26"/>
                  </a:cubicBezTo>
                  <a:cubicBezTo>
                    <a:pt x="71" y="0"/>
                    <a:pt x="19" y="1"/>
                    <a:pt x="5" y="2"/>
                  </a:cubicBezTo>
                  <a:cubicBezTo>
                    <a:pt x="3" y="2"/>
                    <a:pt x="2" y="3"/>
                    <a:pt x="2" y="6"/>
                  </a:cubicBezTo>
                  <a:cubicBezTo>
                    <a:pt x="1" y="8"/>
                    <a:pt x="1" y="32"/>
                    <a:pt x="0" y="34"/>
                  </a:cubicBezTo>
                  <a:cubicBezTo>
                    <a:pt x="0" y="38"/>
                    <a:pt x="2" y="38"/>
                    <a:pt x="4" y="38"/>
                  </a:cubicBezTo>
                  <a:cubicBezTo>
                    <a:pt x="17" y="37"/>
                    <a:pt x="61" y="39"/>
                    <a:pt x="104" y="63"/>
                  </a:cubicBezTo>
                  <a:cubicBezTo>
                    <a:pt x="149" y="87"/>
                    <a:pt x="192" y="134"/>
                    <a:pt x="196" y="217"/>
                  </a:cubicBezTo>
                  <a:cubicBezTo>
                    <a:pt x="196" y="220"/>
                    <a:pt x="197" y="222"/>
                    <a:pt x="200" y="222"/>
                  </a:cubicBezTo>
                  <a:cubicBezTo>
                    <a:pt x="201" y="222"/>
                    <a:pt x="228" y="219"/>
                    <a:pt x="230" y="219"/>
                  </a:cubicBezTo>
                  <a:cubicBezTo>
                    <a:pt x="233" y="219"/>
                    <a:pt x="234" y="217"/>
                    <a:pt x="234" y="2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3223" tIns="46611" rIns="93223" bIns="46611" numCol="1" anchor="t" anchorCtr="0" compatLnSpc="1"/>
            <a:lstStyle/>
            <a:p>
              <a:pPr defTabSz="931545">
                <a:defRPr/>
              </a:pPr>
              <a:endParaRPr lang="en-US" sz="1400" kern="0">
                <a:solidFill>
                  <a:srgbClr val="4D4D4D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57" name="Freeform 134"/>
            <p:cNvSpPr/>
            <p:nvPr/>
          </p:nvSpPr>
          <p:spPr bwMode="auto">
            <a:xfrm>
              <a:off x="10271785" y="2769599"/>
              <a:ext cx="575797" cy="580522"/>
            </a:xfrm>
            <a:custGeom>
              <a:avLst/>
              <a:gdLst/>
              <a:ahLst/>
              <a:cxnLst>
                <a:cxn ang="0">
                  <a:pos x="151" y="133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1" y="35"/>
                </a:cxn>
                <a:cxn ang="0">
                  <a:pos x="5" y="40"/>
                </a:cxn>
                <a:cxn ang="0">
                  <a:pos x="110" y="135"/>
                </a:cxn>
                <a:cxn ang="0">
                  <a:pos x="115" y="141"/>
                </a:cxn>
                <a:cxn ang="0">
                  <a:pos x="146" y="139"/>
                </a:cxn>
                <a:cxn ang="0">
                  <a:pos x="151" y="133"/>
                </a:cxn>
              </a:cxnLst>
              <a:rect l="0" t="0" r="r" b="b"/>
              <a:pathLst>
                <a:path w="151" h="141">
                  <a:moveTo>
                    <a:pt x="151" y="133"/>
                  </a:moveTo>
                  <a:cubicBezTo>
                    <a:pt x="142" y="30"/>
                    <a:pt x="5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5"/>
                    <a:pt x="0" y="33"/>
                    <a:pt x="1" y="35"/>
                  </a:cubicBezTo>
                  <a:cubicBezTo>
                    <a:pt x="1" y="38"/>
                    <a:pt x="2" y="40"/>
                    <a:pt x="5" y="40"/>
                  </a:cubicBezTo>
                  <a:cubicBezTo>
                    <a:pt x="31" y="42"/>
                    <a:pt x="100" y="55"/>
                    <a:pt x="110" y="135"/>
                  </a:cubicBezTo>
                  <a:cubicBezTo>
                    <a:pt x="111" y="139"/>
                    <a:pt x="111" y="141"/>
                    <a:pt x="115" y="141"/>
                  </a:cubicBezTo>
                  <a:cubicBezTo>
                    <a:pt x="117" y="141"/>
                    <a:pt x="145" y="139"/>
                    <a:pt x="146" y="139"/>
                  </a:cubicBezTo>
                  <a:cubicBezTo>
                    <a:pt x="150" y="139"/>
                    <a:pt x="151" y="137"/>
                    <a:pt x="151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3223" tIns="46611" rIns="93223" bIns="46611" numCol="1" anchor="t" anchorCtr="0" compatLnSpc="1"/>
            <a:lstStyle/>
            <a:p>
              <a:pPr defTabSz="931545">
                <a:defRPr/>
              </a:pPr>
              <a:endParaRPr lang="en-US" sz="1400" kern="0">
                <a:solidFill>
                  <a:srgbClr val="4D4D4D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58" name="Rectangle 107548"/>
          <p:cNvSpPr/>
          <p:nvPr/>
        </p:nvSpPr>
        <p:spPr bwMode="auto">
          <a:xfrm rot="755747">
            <a:off x="8148733" y="4004905"/>
            <a:ext cx="551508" cy="597775"/>
          </a:xfrm>
          <a:custGeom>
            <a:avLst/>
            <a:gdLst/>
            <a:ahLst/>
            <a:cxnLst/>
            <a:rect l="l" t="t" r="r" b="b"/>
            <a:pathLst>
              <a:path w="8212826" h="8901817">
                <a:moveTo>
                  <a:pt x="4497681" y="7201125"/>
                </a:moveTo>
                <a:lnTo>
                  <a:pt x="4497681" y="8491711"/>
                </a:lnTo>
                <a:lnTo>
                  <a:pt x="5081600" y="7571751"/>
                </a:lnTo>
                <a:close/>
                <a:moveTo>
                  <a:pt x="5836176" y="6890495"/>
                </a:moveTo>
                <a:lnTo>
                  <a:pt x="5457014" y="7487862"/>
                </a:lnTo>
                <a:lnTo>
                  <a:pt x="6398161" y="8085230"/>
                </a:lnTo>
                <a:close/>
                <a:moveTo>
                  <a:pt x="4895788" y="5994363"/>
                </a:moveTo>
                <a:lnTo>
                  <a:pt x="4497681" y="6621578"/>
                </a:lnTo>
                <a:lnTo>
                  <a:pt x="4497681" y="6902697"/>
                </a:lnTo>
                <a:lnTo>
                  <a:pt x="5198089" y="7347261"/>
                </a:lnTo>
                <a:lnTo>
                  <a:pt x="5687980" y="6575442"/>
                </a:lnTo>
                <a:lnTo>
                  <a:pt x="5635501" y="6463876"/>
                </a:lnTo>
                <a:close/>
                <a:moveTo>
                  <a:pt x="4497681" y="5715678"/>
                </a:moveTo>
                <a:lnTo>
                  <a:pt x="4497681" y="6151406"/>
                </a:lnTo>
                <a:lnTo>
                  <a:pt x="4694824" y="5840809"/>
                </a:lnTo>
                <a:close/>
                <a:moveTo>
                  <a:pt x="5203902" y="5546330"/>
                </a:moveTo>
                <a:lnTo>
                  <a:pt x="5070235" y="5756921"/>
                </a:lnTo>
                <a:lnTo>
                  <a:pt x="5402019" y="5967512"/>
                </a:lnTo>
                <a:close/>
                <a:moveTo>
                  <a:pt x="5193775" y="4574281"/>
                </a:moveTo>
                <a:lnTo>
                  <a:pt x="6931089" y="8267670"/>
                </a:lnTo>
                <a:lnTo>
                  <a:pt x="6343807" y="8398898"/>
                </a:lnTo>
                <a:lnTo>
                  <a:pt x="5282566" y="7725304"/>
                </a:lnTo>
                <a:lnTo>
                  <a:pt x="4608974" y="8786545"/>
                </a:lnTo>
                <a:lnTo>
                  <a:pt x="4093096" y="8901817"/>
                </a:lnTo>
                <a:lnTo>
                  <a:pt x="4093096" y="4820228"/>
                </a:lnTo>
                <a:lnTo>
                  <a:pt x="4497681" y="4820228"/>
                </a:lnTo>
                <a:lnTo>
                  <a:pt x="4497681" y="5417250"/>
                </a:lnTo>
                <a:lnTo>
                  <a:pt x="4811312" y="5616319"/>
                </a:lnTo>
                <a:lnTo>
                  <a:pt x="5055706" y="5231277"/>
                </a:lnTo>
                <a:lnTo>
                  <a:pt x="4827670" y="4746491"/>
                </a:lnTo>
                <a:close/>
                <a:moveTo>
                  <a:pt x="5064" y="5190605"/>
                </a:moveTo>
                <a:lnTo>
                  <a:pt x="696552" y="5276114"/>
                </a:lnTo>
                <a:cubicBezTo>
                  <a:pt x="673849" y="5830665"/>
                  <a:pt x="905790" y="6387729"/>
                  <a:pt x="1329298" y="6795803"/>
                </a:cubicBezTo>
                <a:cubicBezTo>
                  <a:pt x="1742308" y="7193763"/>
                  <a:pt x="2296214" y="7410173"/>
                  <a:pt x="2847106" y="7388810"/>
                </a:cubicBezTo>
                <a:lnTo>
                  <a:pt x="2935322" y="8080183"/>
                </a:lnTo>
                <a:cubicBezTo>
                  <a:pt x="2171520" y="8127883"/>
                  <a:pt x="1404010" y="7838139"/>
                  <a:pt x="838426" y="7288578"/>
                </a:cubicBezTo>
                <a:cubicBezTo>
                  <a:pt x="262300" y="6728776"/>
                  <a:pt x="-43753" y="5958291"/>
                  <a:pt x="5064" y="5190605"/>
                </a:cubicBezTo>
                <a:close/>
                <a:moveTo>
                  <a:pt x="2315372" y="4553207"/>
                </a:moveTo>
                <a:lnTo>
                  <a:pt x="2576079" y="4585445"/>
                </a:lnTo>
                <a:cubicBezTo>
                  <a:pt x="2567519" y="4794524"/>
                  <a:pt x="2654967" y="5004551"/>
                  <a:pt x="2814640" y="5158404"/>
                </a:cubicBezTo>
                <a:cubicBezTo>
                  <a:pt x="2970355" y="5308445"/>
                  <a:pt x="3179191" y="5390036"/>
                  <a:pt x="3386890" y="5381982"/>
                </a:cubicBezTo>
                <a:lnTo>
                  <a:pt x="3420150" y="5642648"/>
                </a:lnTo>
                <a:cubicBezTo>
                  <a:pt x="3132179" y="5660631"/>
                  <a:pt x="2842809" y="5551391"/>
                  <a:pt x="2629569" y="5344193"/>
                </a:cubicBezTo>
                <a:cubicBezTo>
                  <a:pt x="2412356" y="5133135"/>
                  <a:pt x="2296967" y="4842643"/>
                  <a:pt x="2315372" y="4553207"/>
                </a:cubicBezTo>
                <a:close/>
                <a:moveTo>
                  <a:pt x="1314524" y="4639948"/>
                </a:moveTo>
                <a:lnTo>
                  <a:pt x="1800223" y="4700010"/>
                </a:lnTo>
                <a:cubicBezTo>
                  <a:pt x="1784276" y="5089524"/>
                  <a:pt x="1947192" y="5480804"/>
                  <a:pt x="2244663" y="5767434"/>
                </a:cubicBezTo>
                <a:cubicBezTo>
                  <a:pt x="2534761" y="6046959"/>
                  <a:pt x="2923822" y="6198966"/>
                  <a:pt x="3310767" y="6183961"/>
                </a:cubicBezTo>
                <a:lnTo>
                  <a:pt x="3372729" y="6669578"/>
                </a:lnTo>
                <a:cubicBezTo>
                  <a:pt x="2836237" y="6703081"/>
                  <a:pt x="2297141" y="6499566"/>
                  <a:pt x="1899876" y="6113557"/>
                </a:cubicBezTo>
                <a:cubicBezTo>
                  <a:pt x="1495207" y="5720353"/>
                  <a:pt x="1280237" y="5179167"/>
                  <a:pt x="1314524" y="4639948"/>
                </a:cubicBezTo>
                <a:close/>
                <a:moveTo>
                  <a:pt x="4245423" y="3138341"/>
                </a:moveTo>
                <a:cubicBezTo>
                  <a:pt x="4678825" y="3041496"/>
                  <a:pt x="5108673" y="3314331"/>
                  <a:pt x="5205517" y="3747734"/>
                </a:cubicBezTo>
                <a:cubicBezTo>
                  <a:pt x="5302360" y="4181136"/>
                  <a:pt x="5029526" y="4610985"/>
                  <a:pt x="4596124" y="4707827"/>
                </a:cubicBezTo>
                <a:cubicBezTo>
                  <a:pt x="4162721" y="4804671"/>
                  <a:pt x="3732873" y="4531836"/>
                  <a:pt x="3636029" y="4098434"/>
                </a:cubicBezTo>
                <a:cubicBezTo>
                  <a:pt x="3539186" y="3665032"/>
                  <a:pt x="3812021" y="3235183"/>
                  <a:pt x="4245423" y="3138341"/>
                </a:cubicBezTo>
                <a:close/>
                <a:moveTo>
                  <a:pt x="4646799" y="2381722"/>
                </a:moveTo>
                <a:cubicBezTo>
                  <a:pt x="4933740" y="2339564"/>
                  <a:pt x="5232740" y="2430660"/>
                  <a:pt x="5460957" y="2629771"/>
                </a:cubicBezTo>
                <a:cubicBezTo>
                  <a:pt x="5684997" y="2825239"/>
                  <a:pt x="5817677" y="3104639"/>
                  <a:pt x="5823449" y="3393113"/>
                </a:cubicBezTo>
                <a:lnTo>
                  <a:pt x="5560931" y="3381413"/>
                </a:lnTo>
                <a:cubicBezTo>
                  <a:pt x="5551868" y="3173757"/>
                  <a:pt x="5453371" y="2972341"/>
                  <a:pt x="5291025" y="2829500"/>
                </a:cubicBezTo>
                <a:cubicBezTo>
                  <a:pt x="5124555" y="2683029"/>
                  <a:pt x="4908046" y="2613158"/>
                  <a:pt x="4700380" y="2638892"/>
                </a:cubicBezTo>
                <a:close/>
                <a:moveTo>
                  <a:pt x="4650897" y="1377131"/>
                </a:moveTo>
                <a:cubicBezTo>
                  <a:pt x="5185468" y="1298593"/>
                  <a:pt x="5742506" y="1468305"/>
                  <a:pt x="6167673" y="1839250"/>
                </a:cubicBezTo>
                <a:cubicBezTo>
                  <a:pt x="6585061" y="2203406"/>
                  <a:pt x="6832243" y="2723929"/>
                  <a:pt x="6842996" y="3261358"/>
                </a:cubicBezTo>
                <a:lnTo>
                  <a:pt x="6353927" y="3239563"/>
                </a:lnTo>
                <a:cubicBezTo>
                  <a:pt x="6337043" y="2852696"/>
                  <a:pt x="6153539" y="2477460"/>
                  <a:pt x="5851092" y="2211346"/>
                </a:cubicBezTo>
                <a:cubicBezTo>
                  <a:pt x="5540958" y="1938467"/>
                  <a:pt x="5137601" y="1808299"/>
                  <a:pt x="4750719" y="1856241"/>
                </a:cubicBezTo>
                <a:close/>
                <a:moveTo>
                  <a:pt x="5091943" y="26803"/>
                </a:moveTo>
                <a:cubicBezTo>
                  <a:pt x="5853010" y="-85015"/>
                  <a:pt x="6646064" y="156605"/>
                  <a:pt x="7251373" y="684716"/>
                </a:cubicBezTo>
                <a:cubicBezTo>
                  <a:pt x="7845607" y="1203164"/>
                  <a:pt x="8197519" y="1944231"/>
                  <a:pt x="8212826" y="2709368"/>
                </a:cubicBezTo>
                <a:lnTo>
                  <a:pt x="7516540" y="2678338"/>
                </a:lnTo>
                <a:cubicBezTo>
                  <a:pt x="7492502" y="2127556"/>
                  <a:pt x="7231249" y="1593336"/>
                  <a:pt x="6800657" y="1214470"/>
                </a:cubicBezTo>
                <a:cubicBezTo>
                  <a:pt x="6359121" y="825975"/>
                  <a:pt x="5784862" y="640655"/>
                  <a:pt x="5234059" y="708911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grpSp>
        <p:nvGrpSpPr>
          <p:cNvPr id="60" name="Group 152"/>
          <p:cNvGrpSpPr/>
          <p:nvPr/>
        </p:nvGrpSpPr>
        <p:grpSpPr>
          <a:xfrm>
            <a:off x="4286600" y="4002599"/>
            <a:ext cx="717448" cy="717448"/>
            <a:chOff x="425450" y="5729288"/>
            <a:chExt cx="717550" cy="717550"/>
          </a:xfrm>
          <a:solidFill>
            <a:schemeClr val="bg1"/>
          </a:solidFill>
        </p:grpSpPr>
        <p:sp>
          <p:nvSpPr>
            <p:cNvPr id="61" name="Freeform 23"/>
            <p:cNvSpPr>
              <a:spLocks noEditPoints="1"/>
            </p:cNvSpPr>
            <p:nvPr/>
          </p:nvSpPr>
          <p:spPr bwMode="auto">
            <a:xfrm>
              <a:off x="425450" y="5729288"/>
              <a:ext cx="717550" cy="717550"/>
            </a:xfrm>
            <a:custGeom>
              <a:avLst/>
              <a:gdLst>
                <a:gd name="T0" fmla="*/ 320 w 358"/>
                <a:gd name="T1" fmla="*/ 70 h 358"/>
                <a:gd name="T2" fmla="*/ 178 w 358"/>
                <a:gd name="T3" fmla="*/ 0 h 358"/>
                <a:gd name="T4" fmla="*/ 69 w 358"/>
                <a:gd name="T5" fmla="*/ 38 h 358"/>
                <a:gd name="T6" fmla="*/ 0 w 358"/>
                <a:gd name="T7" fmla="*/ 180 h 358"/>
                <a:gd name="T8" fmla="*/ 37 w 358"/>
                <a:gd name="T9" fmla="*/ 289 h 358"/>
                <a:gd name="T10" fmla="*/ 179 w 358"/>
                <a:gd name="T11" fmla="*/ 358 h 358"/>
                <a:gd name="T12" fmla="*/ 179 w 358"/>
                <a:gd name="T13" fmla="*/ 358 h 358"/>
                <a:gd name="T14" fmla="*/ 288 w 358"/>
                <a:gd name="T15" fmla="*/ 321 h 358"/>
                <a:gd name="T16" fmla="*/ 358 w 358"/>
                <a:gd name="T17" fmla="*/ 179 h 358"/>
                <a:gd name="T18" fmla="*/ 320 w 358"/>
                <a:gd name="T19" fmla="*/ 70 h 358"/>
                <a:gd name="T20" fmla="*/ 297 w 358"/>
                <a:gd name="T21" fmla="*/ 210 h 358"/>
                <a:gd name="T22" fmla="*/ 291 w 358"/>
                <a:gd name="T23" fmla="*/ 216 h 358"/>
                <a:gd name="T24" fmla="*/ 284 w 358"/>
                <a:gd name="T25" fmla="*/ 220 h 358"/>
                <a:gd name="T26" fmla="*/ 303 w 358"/>
                <a:gd name="T27" fmla="*/ 269 h 358"/>
                <a:gd name="T28" fmla="*/ 272 w 358"/>
                <a:gd name="T29" fmla="*/ 300 h 358"/>
                <a:gd name="T30" fmla="*/ 196 w 358"/>
                <a:gd name="T31" fmla="*/ 331 h 358"/>
                <a:gd name="T32" fmla="*/ 176 w 358"/>
                <a:gd name="T33" fmla="*/ 299 h 358"/>
                <a:gd name="T34" fmla="*/ 162 w 358"/>
                <a:gd name="T35" fmla="*/ 305 h 358"/>
                <a:gd name="T36" fmla="*/ 177 w 358"/>
                <a:gd name="T37" fmla="*/ 332 h 358"/>
                <a:gd name="T38" fmla="*/ 77 w 358"/>
                <a:gd name="T39" fmla="*/ 294 h 358"/>
                <a:gd name="T40" fmla="*/ 78 w 358"/>
                <a:gd name="T41" fmla="*/ 294 h 358"/>
                <a:gd name="T42" fmla="*/ 122 w 358"/>
                <a:gd name="T43" fmla="*/ 288 h 358"/>
                <a:gd name="T44" fmla="*/ 117 w 358"/>
                <a:gd name="T45" fmla="*/ 272 h 358"/>
                <a:gd name="T46" fmla="*/ 78 w 358"/>
                <a:gd name="T47" fmla="*/ 278 h 358"/>
                <a:gd name="T48" fmla="*/ 60 w 358"/>
                <a:gd name="T49" fmla="*/ 276 h 358"/>
                <a:gd name="T50" fmla="*/ 58 w 358"/>
                <a:gd name="T51" fmla="*/ 273 h 358"/>
                <a:gd name="T52" fmla="*/ 26 w 358"/>
                <a:gd name="T53" fmla="*/ 180 h 358"/>
                <a:gd name="T54" fmla="*/ 43 w 358"/>
                <a:gd name="T55" fmla="*/ 110 h 358"/>
                <a:gd name="T56" fmla="*/ 82 w 358"/>
                <a:gd name="T57" fmla="*/ 102 h 358"/>
                <a:gd name="T58" fmla="*/ 105 w 358"/>
                <a:gd name="T59" fmla="*/ 104 h 358"/>
                <a:gd name="T60" fmla="*/ 109 w 358"/>
                <a:gd name="T61" fmla="*/ 88 h 358"/>
                <a:gd name="T62" fmla="*/ 82 w 358"/>
                <a:gd name="T63" fmla="*/ 86 h 358"/>
                <a:gd name="T64" fmla="*/ 55 w 358"/>
                <a:gd name="T65" fmla="*/ 89 h 358"/>
                <a:gd name="T66" fmla="*/ 85 w 358"/>
                <a:gd name="T67" fmla="*/ 58 h 358"/>
                <a:gd name="T68" fmla="*/ 167 w 358"/>
                <a:gd name="T69" fmla="*/ 27 h 358"/>
                <a:gd name="T70" fmla="*/ 146 w 358"/>
                <a:gd name="T71" fmla="*/ 68 h 358"/>
                <a:gd name="T72" fmla="*/ 162 w 358"/>
                <a:gd name="T73" fmla="*/ 72 h 358"/>
                <a:gd name="T74" fmla="*/ 187 w 358"/>
                <a:gd name="T75" fmla="*/ 27 h 358"/>
                <a:gd name="T76" fmla="*/ 300 w 358"/>
                <a:gd name="T77" fmla="*/ 86 h 358"/>
                <a:gd name="T78" fmla="*/ 304 w 358"/>
                <a:gd name="T79" fmla="*/ 92 h 358"/>
                <a:gd name="T80" fmla="*/ 283 w 358"/>
                <a:gd name="T81" fmla="*/ 152 h 358"/>
                <a:gd name="T82" fmla="*/ 296 w 358"/>
                <a:gd name="T83" fmla="*/ 161 h 358"/>
                <a:gd name="T84" fmla="*/ 317 w 358"/>
                <a:gd name="T85" fmla="*/ 114 h 358"/>
                <a:gd name="T86" fmla="*/ 332 w 358"/>
                <a:gd name="T87" fmla="*/ 179 h 358"/>
                <a:gd name="T88" fmla="*/ 315 w 358"/>
                <a:gd name="T89" fmla="*/ 248 h 358"/>
                <a:gd name="T90" fmla="*/ 297 w 358"/>
                <a:gd name="T91" fmla="*/ 21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8" h="358">
                  <a:moveTo>
                    <a:pt x="320" y="70"/>
                  </a:moveTo>
                  <a:cubicBezTo>
                    <a:pt x="285" y="24"/>
                    <a:pt x="232" y="0"/>
                    <a:pt x="178" y="0"/>
                  </a:cubicBezTo>
                  <a:cubicBezTo>
                    <a:pt x="140" y="0"/>
                    <a:pt x="102" y="13"/>
                    <a:pt x="69" y="38"/>
                  </a:cubicBezTo>
                  <a:cubicBezTo>
                    <a:pt x="23" y="73"/>
                    <a:pt x="0" y="126"/>
                    <a:pt x="0" y="180"/>
                  </a:cubicBezTo>
                  <a:cubicBezTo>
                    <a:pt x="0" y="218"/>
                    <a:pt x="12" y="256"/>
                    <a:pt x="37" y="289"/>
                  </a:cubicBezTo>
                  <a:cubicBezTo>
                    <a:pt x="72" y="335"/>
                    <a:pt x="125" y="358"/>
                    <a:pt x="179" y="358"/>
                  </a:cubicBezTo>
                  <a:cubicBezTo>
                    <a:pt x="179" y="358"/>
                    <a:pt x="179" y="358"/>
                    <a:pt x="179" y="358"/>
                  </a:cubicBezTo>
                  <a:cubicBezTo>
                    <a:pt x="217" y="358"/>
                    <a:pt x="256" y="346"/>
                    <a:pt x="288" y="321"/>
                  </a:cubicBezTo>
                  <a:cubicBezTo>
                    <a:pt x="334" y="286"/>
                    <a:pt x="358" y="233"/>
                    <a:pt x="358" y="179"/>
                  </a:cubicBezTo>
                  <a:cubicBezTo>
                    <a:pt x="358" y="141"/>
                    <a:pt x="345" y="102"/>
                    <a:pt x="320" y="70"/>
                  </a:cubicBezTo>
                  <a:close/>
                  <a:moveTo>
                    <a:pt x="297" y="210"/>
                  </a:moveTo>
                  <a:cubicBezTo>
                    <a:pt x="295" y="212"/>
                    <a:pt x="293" y="214"/>
                    <a:pt x="291" y="216"/>
                  </a:cubicBezTo>
                  <a:cubicBezTo>
                    <a:pt x="289" y="218"/>
                    <a:pt x="286" y="219"/>
                    <a:pt x="284" y="220"/>
                  </a:cubicBezTo>
                  <a:cubicBezTo>
                    <a:pt x="295" y="237"/>
                    <a:pt x="302" y="254"/>
                    <a:pt x="303" y="269"/>
                  </a:cubicBezTo>
                  <a:cubicBezTo>
                    <a:pt x="294" y="280"/>
                    <a:pt x="284" y="291"/>
                    <a:pt x="272" y="300"/>
                  </a:cubicBezTo>
                  <a:cubicBezTo>
                    <a:pt x="249" y="318"/>
                    <a:pt x="223" y="328"/>
                    <a:pt x="196" y="331"/>
                  </a:cubicBezTo>
                  <a:cubicBezTo>
                    <a:pt x="189" y="321"/>
                    <a:pt x="182" y="310"/>
                    <a:pt x="176" y="299"/>
                  </a:cubicBezTo>
                  <a:cubicBezTo>
                    <a:pt x="172" y="302"/>
                    <a:pt x="167" y="304"/>
                    <a:pt x="162" y="305"/>
                  </a:cubicBezTo>
                  <a:cubicBezTo>
                    <a:pt x="166" y="314"/>
                    <a:pt x="172" y="324"/>
                    <a:pt x="177" y="332"/>
                  </a:cubicBezTo>
                  <a:cubicBezTo>
                    <a:pt x="141" y="332"/>
                    <a:pt x="105" y="319"/>
                    <a:pt x="77" y="294"/>
                  </a:cubicBezTo>
                  <a:cubicBezTo>
                    <a:pt x="77" y="294"/>
                    <a:pt x="78" y="294"/>
                    <a:pt x="78" y="294"/>
                  </a:cubicBezTo>
                  <a:cubicBezTo>
                    <a:pt x="92" y="294"/>
                    <a:pt x="107" y="291"/>
                    <a:pt x="122" y="288"/>
                  </a:cubicBezTo>
                  <a:cubicBezTo>
                    <a:pt x="119" y="283"/>
                    <a:pt x="117" y="278"/>
                    <a:pt x="117" y="272"/>
                  </a:cubicBezTo>
                  <a:cubicBezTo>
                    <a:pt x="103" y="276"/>
                    <a:pt x="90" y="278"/>
                    <a:pt x="78" y="278"/>
                  </a:cubicBezTo>
                  <a:cubicBezTo>
                    <a:pt x="72" y="278"/>
                    <a:pt x="66" y="277"/>
                    <a:pt x="60" y="276"/>
                  </a:cubicBezTo>
                  <a:cubicBezTo>
                    <a:pt x="59" y="275"/>
                    <a:pt x="58" y="274"/>
                    <a:pt x="58" y="273"/>
                  </a:cubicBezTo>
                  <a:cubicBezTo>
                    <a:pt x="36" y="245"/>
                    <a:pt x="26" y="212"/>
                    <a:pt x="26" y="180"/>
                  </a:cubicBezTo>
                  <a:cubicBezTo>
                    <a:pt x="26" y="155"/>
                    <a:pt x="31" y="131"/>
                    <a:pt x="43" y="110"/>
                  </a:cubicBezTo>
                  <a:cubicBezTo>
                    <a:pt x="54" y="104"/>
                    <a:pt x="68" y="102"/>
                    <a:pt x="82" y="102"/>
                  </a:cubicBezTo>
                  <a:cubicBezTo>
                    <a:pt x="90" y="102"/>
                    <a:pt x="97" y="103"/>
                    <a:pt x="105" y="104"/>
                  </a:cubicBezTo>
                  <a:cubicBezTo>
                    <a:pt x="105" y="99"/>
                    <a:pt x="107" y="93"/>
                    <a:pt x="109" y="88"/>
                  </a:cubicBezTo>
                  <a:cubicBezTo>
                    <a:pt x="100" y="87"/>
                    <a:pt x="91" y="86"/>
                    <a:pt x="82" y="86"/>
                  </a:cubicBezTo>
                  <a:cubicBezTo>
                    <a:pt x="73" y="86"/>
                    <a:pt x="64" y="87"/>
                    <a:pt x="55" y="89"/>
                  </a:cubicBezTo>
                  <a:cubicBezTo>
                    <a:pt x="64" y="78"/>
                    <a:pt x="73" y="67"/>
                    <a:pt x="85" y="58"/>
                  </a:cubicBezTo>
                  <a:cubicBezTo>
                    <a:pt x="110" y="39"/>
                    <a:pt x="138" y="29"/>
                    <a:pt x="167" y="27"/>
                  </a:cubicBezTo>
                  <a:cubicBezTo>
                    <a:pt x="159" y="40"/>
                    <a:pt x="152" y="53"/>
                    <a:pt x="146" y="68"/>
                  </a:cubicBezTo>
                  <a:cubicBezTo>
                    <a:pt x="152" y="68"/>
                    <a:pt x="157" y="70"/>
                    <a:pt x="162" y="72"/>
                  </a:cubicBezTo>
                  <a:cubicBezTo>
                    <a:pt x="168" y="56"/>
                    <a:pt x="177" y="40"/>
                    <a:pt x="187" y="27"/>
                  </a:cubicBezTo>
                  <a:cubicBezTo>
                    <a:pt x="230" y="29"/>
                    <a:pt x="271" y="49"/>
                    <a:pt x="300" y="86"/>
                  </a:cubicBezTo>
                  <a:cubicBezTo>
                    <a:pt x="301" y="88"/>
                    <a:pt x="303" y="90"/>
                    <a:pt x="304" y="92"/>
                  </a:cubicBezTo>
                  <a:cubicBezTo>
                    <a:pt x="303" y="111"/>
                    <a:pt x="296" y="132"/>
                    <a:pt x="283" y="152"/>
                  </a:cubicBezTo>
                  <a:cubicBezTo>
                    <a:pt x="288" y="154"/>
                    <a:pt x="292" y="157"/>
                    <a:pt x="296" y="161"/>
                  </a:cubicBezTo>
                  <a:cubicBezTo>
                    <a:pt x="306" y="146"/>
                    <a:pt x="313" y="130"/>
                    <a:pt x="317" y="114"/>
                  </a:cubicBezTo>
                  <a:cubicBezTo>
                    <a:pt x="327" y="135"/>
                    <a:pt x="332" y="157"/>
                    <a:pt x="332" y="179"/>
                  </a:cubicBezTo>
                  <a:cubicBezTo>
                    <a:pt x="332" y="203"/>
                    <a:pt x="326" y="227"/>
                    <a:pt x="315" y="248"/>
                  </a:cubicBezTo>
                  <a:cubicBezTo>
                    <a:pt x="312" y="235"/>
                    <a:pt x="305" y="223"/>
                    <a:pt x="297" y="2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62" name="Freeform 24"/>
            <p:cNvSpPr/>
            <p:nvPr/>
          </p:nvSpPr>
          <p:spPr bwMode="auto">
            <a:xfrm>
              <a:off x="793750" y="6143625"/>
              <a:ext cx="127000" cy="103188"/>
            </a:xfrm>
            <a:custGeom>
              <a:avLst/>
              <a:gdLst>
                <a:gd name="T0" fmla="*/ 0 w 63"/>
                <a:gd name="T1" fmla="*/ 37 h 51"/>
                <a:gd name="T2" fmla="*/ 0 w 63"/>
                <a:gd name="T3" fmla="*/ 38 h 51"/>
                <a:gd name="T4" fmla="*/ 7 w 63"/>
                <a:gd name="T5" fmla="*/ 51 h 51"/>
                <a:gd name="T6" fmla="*/ 52 w 63"/>
                <a:gd name="T7" fmla="*/ 20 h 51"/>
                <a:gd name="T8" fmla="*/ 63 w 63"/>
                <a:gd name="T9" fmla="*/ 11 h 51"/>
                <a:gd name="T10" fmla="*/ 53 w 63"/>
                <a:gd name="T11" fmla="*/ 2 h 51"/>
                <a:gd name="T12" fmla="*/ 52 w 63"/>
                <a:gd name="T13" fmla="*/ 0 h 51"/>
                <a:gd name="T14" fmla="*/ 42 w 63"/>
                <a:gd name="T15" fmla="*/ 8 h 51"/>
                <a:gd name="T16" fmla="*/ 0 w 63"/>
                <a:gd name="T17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51">
                  <a:moveTo>
                    <a:pt x="0" y="37"/>
                  </a:moveTo>
                  <a:cubicBezTo>
                    <a:pt x="0" y="37"/>
                    <a:pt x="0" y="37"/>
                    <a:pt x="0" y="38"/>
                  </a:cubicBezTo>
                  <a:cubicBezTo>
                    <a:pt x="4" y="42"/>
                    <a:pt x="6" y="46"/>
                    <a:pt x="7" y="51"/>
                  </a:cubicBezTo>
                  <a:cubicBezTo>
                    <a:pt x="23" y="42"/>
                    <a:pt x="38" y="32"/>
                    <a:pt x="52" y="20"/>
                  </a:cubicBezTo>
                  <a:cubicBezTo>
                    <a:pt x="56" y="17"/>
                    <a:pt x="59" y="14"/>
                    <a:pt x="63" y="11"/>
                  </a:cubicBezTo>
                  <a:cubicBezTo>
                    <a:pt x="59" y="9"/>
                    <a:pt x="56" y="6"/>
                    <a:pt x="53" y="2"/>
                  </a:cubicBezTo>
                  <a:cubicBezTo>
                    <a:pt x="53" y="1"/>
                    <a:pt x="52" y="1"/>
                    <a:pt x="52" y="0"/>
                  </a:cubicBezTo>
                  <a:cubicBezTo>
                    <a:pt x="48" y="2"/>
                    <a:pt x="45" y="5"/>
                    <a:pt x="42" y="8"/>
                  </a:cubicBezTo>
                  <a:cubicBezTo>
                    <a:pt x="29" y="19"/>
                    <a:pt x="14" y="28"/>
                    <a:pt x="0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63" name="Freeform 25"/>
            <p:cNvSpPr/>
            <p:nvPr/>
          </p:nvSpPr>
          <p:spPr bwMode="auto">
            <a:xfrm>
              <a:off x="773113" y="5953125"/>
              <a:ext cx="144463" cy="111125"/>
            </a:xfrm>
            <a:custGeom>
              <a:avLst/>
              <a:gdLst>
                <a:gd name="T0" fmla="*/ 6 w 72"/>
                <a:gd name="T1" fmla="*/ 0 h 55"/>
                <a:gd name="T2" fmla="*/ 0 w 72"/>
                <a:gd name="T3" fmla="*/ 15 h 55"/>
                <a:gd name="T4" fmla="*/ 54 w 72"/>
                <a:gd name="T5" fmla="*/ 49 h 55"/>
                <a:gd name="T6" fmla="*/ 61 w 72"/>
                <a:gd name="T7" fmla="*/ 55 h 55"/>
                <a:gd name="T8" fmla="*/ 70 w 72"/>
                <a:gd name="T9" fmla="*/ 44 h 55"/>
                <a:gd name="T10" fmla="*/ 72 w 72"/>
                <a:gd name="T11" fmla="*/ 43 h 55"/>
                <a:gd name="T12" fmla="*/ 64 w 72"/>
                <a:gd name="T13" fmla="*/ 37 h 55"/>
                <a:gd name="T14" fmla="*/ 6 w 72"/>
                <a:gd name="T1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55">
                  <a:moveTo>
                    <a:pt x="6" y="0"/>
                  </a:moveTo>
                  <a:cubicBezTo>
                    <a:pt x="5" y="6"/>
                    <a:pt x="3" y="11"/>
                    <a:pt x="0" y="15"/>
                  </a:cubicBezTo>
                  <a:cubicBezTo>
                    <a:pt x="19" y="25"/>
                    <a:pt x="38" y="36"/>
                    <a:pt x="54" y="49"/>
                  </a:cubicBezTo>
                  <a:cubicBezTo>
                    <a:pt x="57" y="51"/>
                    <a:pt x="59" y="53"/>
                    <a:pt x="61" y="55"/>
                  </a:cubicBezTo>
                  <a:cubicBezTo>
                    <a:pt x="63" y="51"/>
                    <a:pt x="66" y="47"/>
                    <a:pt x="70" y="44"/>
                  </a:cubicBezTo>
                  <a:cubicBezTo>
                    <a:pt x="71" y="44"/>
                    <a:pt x="71" y="43"/>
                    <a:pt x="72" y="43"/>
                  </a:cubicBezTo>
                  <a:cubicBezTo>
                    <a:pt x="69" y="41"/>
                    <a:pt x="67" y="39"/>
                    <a:pt x="64" y="37"/>
                  </a:cubicBezTo>
                  <a:cubicBezTo>
                    <a:pt x="46" y="23"/>
                    <a:pt x="27" y="1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64" name="Freeform 26"/>
            <p:cNvSpPr/>
            <p:nvPr/>
          </p:nvSpPr>
          <p:spPr bwMode="auto">
            <a:xfrm>
              <a:off x="684213" y="6011863"/>
              <a:ext cx="46038" cy="185738"/>
            </a:xfrm>
            <a:custGeom>
              <a:avLst/>
              <a:gdLst>
                <a:gd name="T0" fmla="*/ 17 w 23"/>
                <a:gd name="T1" fmla="*/ 2 h 93"/>
                <a:gd name="T2" fmla="*/ 14 w 23"/>
                <a:gd name="T3" fmla="*/ 2 h 93"/>
                <a:gd name="T4" fmla="*/ 1 w 23"/>
                <a:gd name="T5" fmla="*/ 0 h 93"/>
                <a:gd name="T6" fmla="*/ 0 w 23"/>
                <a:gd name="T7" fmla="*/ 24 h 93"/>
                <a:gd name="T8" fmla="*/ 7 w 23"/>
                <a:gd name="T9" fmla="*/ 93 h 93"/>
                <a:gd name="T10" fmla="*/ 23 w 23"/>
                <a:gd name="T11" fmla="*/ 89 h 93"/>
                <a:gd name="T12" fmla="*/ 16 w 23"/>
                <a:gd name="T13" fmla="*/ 24 h 93"/>
                <a:gd name="T14" fmla="*/ 17 w 23"/>
                <a:gd name="T15" fmla="*/ 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3">
                  <a:moveTo>
                    <a:pt x="17" y="2"/>
                  </a:moveTo>
                  <a:cubicBezTo>
                    <a:pt x="16" y="2"/>
                    <a:pt x="15" y="2"/>
                    <a:pt x="14" y="2"/>
                  </a:cubicBezTo>
                  <a:cubicBezTo>
                    <a:pt x="9" y="2"/>
                    <a:pt x="5" y="1"/>
                    <a:pt x="1" y="0"/>
                  </a:cubicBezTo>
                  <a:cubicBezTo>
                    <a:pt x="0" y="8"/>
                    <a:pt x="0" y="16"/>
                    <a:pt x="0" y="24"/>
                  </a:cubicBezTo>
                  <a:cubicBezTo>
                    <a:pt x="0" y="47"/>
                    <a:pt x="2" y="71"/>
                    <a:pt x="7" y="93"/>
                  </a:cubicBezTo>
                  <a:cubicBezTo>
                    <a:pt x="12" y="91"/>
                    <a:pt x="17" y="89"/>
                    <a:pt x="23" y="89"/>
                  </a:cubicBezTo>
                  <a:cubicBezTo>
                    <a:pt x="18" y="68"/>
                    <a:pt x="16" y="46"/>
                    <a:pt x="16" y="24"/>
                  </a:cubicBezTo>
                  <a:cubicBezTo>
                    <a:pt x="16" y="17"/>
                    <a:pt x="16" y="9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65" name="Freeform 27"/>
            <p:cNvSpPr/>
            <p:nvPr/>
          </p:nvSpPr>
          <p:spPr bwMode="auto">
            <a:xfrm>
              <a:off x="685800" y="6223000"/>
              <a:ext cx="98425" cy="87313"/>
            </a:xfrm>
            <a:custGeom>
              <a:avLst/>
              <a:gdLst>
                <a:gd name="T0" fmla="*/ 42 w 49"/>
                <a:gd name="T1" fmla="*/ 8 h 44"/>
                <a:gd name="T2" fmla="*/ 24 w 49"/>
                <a:gd name="T3" fmla="*/ 0 h 44"/>
                <a:gd name="T4" fmla="*/ 11 w 49"/>
                <a:gd name="T5" fmla="*/ 4 h 44"/>
                <a:gd name="T6" fmla="*/ 7 w 49"/>
                <a:gd name="T7" fmla="*/ 35 h 44"/>
                <a:gd name="T8" fmla="*/ 24 w 49"/>
                <a:gd name="T9" fmla="*/ 44 h 44"/>
                <a:gd name="T10" fmla="*/ 38 w 49"/>
                <a:gd name="T11" fmla="*/ 39 h 44"/>
                <a:gd name="T12" fmla="*/ 42 w 49"/>
                <a:gd name="T13" fmla="*/ 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4">
                  <a:moveTo>
                    <a:pt x="42" y="8"/>
                  </a:moveTo>
                  <a:cubicBezTo>
                    <a:pt x="37" y="3"/>
                    <a:pt x="31" y="0"/>
                    <a:pt x="24" y="0"/>
                  </a:cubicBezTo>
                  <a:cubicBezTo>
                    <a:pt x="20" y="0"/>
                    <a:pt x="15" y="1"/>
                    <a:pt x="11" y="4"/>
                  </a:cubicBezTo>
                  <a:cubicBezTo>
                    <a:pt x="1" y="12"/>
                    <a:pt x="0" y="26"/>
                    <a:pt x="7" y="35"/>
                  </a:cubicBezTo>
                  <a:cubicBezTo>
                    <a:pt x="11" y="41"/>
                    <a:pt x="18" y="44"/>
                    <a:pt x="24" y="44"/>
                  </a:cubicBezTo>
                  <a:cubicBezTo>
                    <a:pt x="29" y="44"/>
                    <a:pt x="34" y="42"/>
                    <a:pt x="38" y="39"/>
                  </a:cubicBezTo>
                  <a:cubicBezTo>
                    <a:pt x="47" y="32"/>
                    <a:pt x="49" y="18"/>
                    <a:pt x="4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66" name="Freeform 28"/>
            <p:cNvSpPr/>
            <p:nvPr/>
          </p:nvSpPr>
          <p:spPr bwMode="auto">
            <a:xfrm>
              <a:off x="912813" y="6057900"/>
              <a:ext cx="98425" cy="88900"/>
            </a:xfrm>
            <a:custGeom>
              <a:avLst/>
              <a:gdLst>
                <a:gd name="T0" fmla="*/ 42 w 49"/>
                <a:gd name="T1" fmla="*/ 9 h 44"/>
                <a:gd name="T2" fmla="*/ 24 w 49"/>
                <a:gd name="T3" fmla="*/ 0 h 44"/>
                <a:gd name="T4" fmla="*/ 11 w 49"/>
                <a:gd name="T5" fmla="*/ 5 h 44"/>
                <a:gd name="T6" fmla="*/ 7 w 49"/>
                <a:gd name="T7" fmla="*/ 36 h 44"/>
                <a:gd name="T8" fmla="*/ 24 w 49"/>
                <a:gd name="T9" fmla="*/ 44 h 44"/>
                <a:gd name="T10" fmla="*/ 38 w 49"/>
                <a:gd name="T11" fmla="*/ 40 h 44"/>
                <a:gd name="T12" fmla="*/ 42 w 49"/>
                <a:gd name="T13" fmla="*/ 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44">
                  <a:moveTo>
                    <a:pt x="42" y="9"/>
                  </a:moveTo>
                  <a:cubicBezTo>
                    <a:pt x="37" y="3"/>
                    <a:pt x="31" y="0"/>
                    <a:pt x="24" y="0"/>
                  </a:cubicBezTo>
                  <a:cubicBezTo>
                    <a:pt x="20" y="0"/>
                    <a:pt x="15" y="2"/>
                    <a:pt x="11" y="5"/>
                  </a:cubicBezTo>
                  <a:cubicBezTo>
                    <a:pt x="1" y="12"/>
                    <a:pt x="0" y="26"/>
                    <a:pt x="7" y="36"/>
                  </a:cubicBezTo>
                  <a:cubicBezTo>
                    <a:pt x="11" y="41"/>
                    <a:pt x="18" y="44"/>
                    <a:pt x="24" y="44"/>
                  </a:cubicBezTo>
                  <a:cubicBezTo>
                    <a:pt x="29" y="44"/>
                    <a:pt x="34" y="43"/>
                    <a:pt x="38" y="40"/>
                  </a:cubicBezTo>
                  <a:cubicBezTo>
                    <a:pt x="47" y="32"/>
                    <a:pt x="49" y="18"/>
                    <a:pt x="4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67" name="Freeform 29"/>
            <p:cNvSpPr/>
            <p:nvPr/>
          </p:nvSpPr>
          <p:spPr bwMode="auto">
            <a:xfrm>
              <a:off x="661988" y="5895975"/>
              <a:ext cx="100013" cy="87313"/>
            </a:xfrm>
            <a:custGeom>
              <a:avLst/>
              <a:gdLst>
                <a:gd name="T0" fmla="*/ 25 w 50"/>
                <a:gd name="T1" fmla="*/ 44 h 44"/>
                <a:gd name="T2" fmla="*/ 39 w 50"/>
                <a:gd name="T3" fmla="*/ 40 h 44"/>
                <a:gd name="T4" fmla="*/ 42 w 50"/>
                <a:gd name="T5" fmla="*/ 9 h 44"/>
                <a:gd name="T6" fmla="*/ 25 w 50"/>
                <a:gd name="T7" fmla="*/ 0 h 44"/>
                <a:gd name="T8" fmla="*/ 12 w 50"/>
                <a:gd name="T9" fmla="*/ 5 h 44"/>
                <a:gd name="T10" fmla="*/ 8 w 50"/>
                <a:gd name="T11" fmla="*/ 36 h 44"/>
                <a:gd name="T12" fmla="*/ 25 w 50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44">
                  <a:moveTo>
                    <a:pt x="25" y="44"/>
                  </a:moveTo>
                  <a:cubicBezTo>
                    <a:pt x="30" y="44"/>
                    <a:pt x="35" y="43"/>
                    <a:pt x="39" y="40"/>
                  </a:cubicBezTo>
                  <a:cubicBezTo>
                    <a:pt x="48" y="32"/>
                    <a:pt x="50" y="18"/>
                    <a:pt x="42" y="9"/>
                  </a:cubicBezTo>
                  <a:cubicBezTo>
                    <a:pt x="38" y="3"/>
                    <a:pt x="32" y="0"/>
                    <a:pt x="25" y="0"/>
                  </a:cubicBezTo>
                  <a:cubicBezTo>
                    <a:pt x="20" y="0"/>
                    <a:pt x="16" y="2"/>
                    <a:pt x="12" y="5"/>
                  </a:cubicBezTo>
                  <a:cubicBezTo>
                    <a:pt x="2" y="12"/>
                    <a:pt x="0" y="26"/>
                    <a:pt x="8" y="36"/>
                  </a:cubicBezTo>
                  <a:cubicBezTo>
                    <a:pt x="12" y="41"/>
                    <a:pt x="18" y="44"/>
                    <a:pt x="25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</p:grpSp>
      <p:pic>
        <p:nvPicPr>
          <p:cNvPr id="68" name="Picture 4" descr="\\MAGNUM\Projects\Microsoft\Cloud Power FY12\Design\Icons\PNGs\IT_guy.png"/>
          <p:cNvPicPr>
            <a:picLocks noChangeAspect="1" noChangeArrowheads="1"/>
          </p:cNvPicPr>
          <p:nvPr/>
        </p:nvPicPr>
        <p:blipFill>
          <a:blip r:embed="rId2" cstate="print">
            <a:lum bright="100000"/>
          </a:blip>
          <a:stretch>
            <a:fillRect/>
          </a:stretch>
        </p:blipFill>
        <p:spPr bwMode="auto">
          <a:xfrm>
            <a:off x="4130632" y="2742439"/>
            <a:ext cx="840768" cy="840768"/>
          </a:xfrm>
          <a:prstGeom prst="rect">
            <a:avLst/>
          </a:prstGeom>
          <a:noFill/>
        </p:spPr>
      </p:pic>
      <p:pic>
        <p:nvPicPr>
          <p:cNvPr id="69" name="Picture 6" descr="\\MAGNUM\Projects\Microsoft\Cloud Power FY12\Design\Icons\PNGs\Virtual_Network.png"/>
          <p:cNvPicPr>
            <a:picLocks noChangeAspect="1" noChangeArrowheads="1"/>
          </p:cNvPicPr>
          <p:nvPr/>
        </p:nvPicPr>
        <p:blipFill>
          <a:blip r:embed="rId3" cstate="print">
            <a:lum bright="100000"/>
          </a:blip>
          <a:srcRect/>
          <a:stretch>
            <a:fillRect/>
          </a:stretch>
        </p:blipFill>
        <p:spPr bwMode="auto">
          <a:xfrm>
            <a:off x="276064" y="2643758"/>
            <a:ext cx="1055576" cy="1055301"/>
          </a:xfrm>
          <a:prstGeom prst="rect">
            <a:avLst/>
          </a:prstGeom>
          <a:noFill/>
        </p:spPr>
      </p:pic>
      <p:pic>
        <p:nvPicPr>
          <p:cNvPr id="70" name="Picture 42">
            <a:hlinkClick r:id="rId4"/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273" y="2769716"/>
            <a:ext cx="828323" cy="828323"/>
          </a:xfrm>
          <a:prstGeom prst="rect">
            <a:avLst/>
          </a:prstGeom>
        </p:spPr>
      </p:pic>
      <p:pic>
        <p:nvPicPr>
          <p:cNvPr id="71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7" cstate="email">
            <a:lum bright="100000"/>
          </a:blip>
          <a:srcRect/>
          <a:stretch>
            <a:fillRect/>
          </a:stretch>
        </p:blipFill>
        <p:spPr bwMode="auto">
          <a:xfrm>
            <a:off x="251640" y="1775676"/>
            <a:ext cx="1008112" cy="588455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Oval 2"/>
          <p:cNvSpPr>
            <a:spLocks noChangeAspect="1"/>
          </p:cNvSpPr>
          <p:nvPr/>
        </p:nvSpPr>
        <p:spPr bwMode="auto">
          <a:xfrm>
            <a:off x="2979238" y="2862817"/>
            <a:ext cx="720398" cy="735222"/>
          </a:xfrm>
          <a:custGeom>
            <a:avLst/>
            <a:gdLst/>
            <a:ahLst/>
            <a:cxnLst/>
            <a:rect l="l" t="t" r="r" b="b"/>
            <a:pathLst>
              <a:path w="6400801" h="6400800">
                <a:moveTo>
                  <a:pt x="2938779" y="4069139"/>
                </a:moveTo>
                <a:cubicBezTo>
                  <a:pt x="2956231" y="4067140"/>
                  <a:pt x="2974014" y="4067638"/>
                  <a:pt x="2991556" y="4070755"/>
                </a:cubicBezTo>
                <a:cubicBezTo>
                  <a:pt x="3014946" y="4074909"/>
                  <a:pt x="3037908" y="4083720"/>
                  <a:pt x="3059084" y="4097472"/>
                </a:cubicBezTo>
                <a:cubicBezTo>
                  <a:pt x="3143792" y="4152481"/>
                  <a:pt x="3167866" y="4265744"/>
                  <a:pt x="3112857" y="4350451"/>
                </a:cubicBezTo>
                <a:lnTo>
                  <a:pt x="2988352" y="4542172"/>
                </a:lnTo>
                <a:cubicBezTo>
                  <a:pt x="2933343" y="4626878"/>
                  <a:pt x="2820081" y="4650954"/>
                  <a:pt x="2735373" y="4595945"/>
                </a:cubicBezTo>
                <a:cubicBezTo>
                  <a:pt x="2650665" y="4540935"/>
                  <a:pt x="2626590" y="4427672"/>
                  <a:pt x="2681600" y="4342965"/>
                </a:cubicBezTo>
                <a:lnTo>
                  <a:pt x="2806105" y="4151244"/>
                </a:lnTo>
                <a:cubicBezTo>
                  <a:pt x="2837048" y="4103596"/>
                  <a:pt x="2886422" y="4075134"/>
                  <a:pt x="2938779" y="4069139"/>
                </a:cubicBezTo>
                <a:close/>
                <a:moveTo>
                  <a:pt x="5599195" y="3955694"/>
                </a:moveTo>
                <a:lnTo>
                  <a:pt x="6310324" y="3955694"/>
                </a:lnTo>
                <a:cubicBezTo>
                  <a:pt x="5971594" y="5358821"/>
                  <a:pt x="4707682" y="6400800"/>
                  <a:pt x="3200402" y="6400800"/>
                </a:cubicBezTo>
                <a:cubicBezTo>
                  <a:pt x="1795855" y="6400800"/>
                  <a:pt x="602631" y="5496018"/>
                  <a:pt x="174768" y="4236478"/>
                </a:cubicBezTo>
                <a:lnTo>
                  <a:pt x="911006" y="4236478"/>
                </a:lnTo>
                <a:cubicBezTo>
                  <a:pt x="1303909" y="5108844"/>
                  <a:pt x="2181368" y="5715000"/>
                  <a:pt x="3200402" y="5715000"/>
                </a:cubicBezTo>
                <a:cubicBezTo>
                  <a:pt x="4325971" y="5715000"/>
                  <a:pt x="5278816" y="4975478"/>
                  <a:pt x="5599195" y="3955694"/>
                </a:cubicBezTo>
                <a:close/>
                <a:moveTo>
                  <a:pt x="1486918" y="3748003"/>
                </a:moveTo>
                <a:cubicBezTo>
                  <a:pt x="1504370" y="3746005"/>
                  <a:pt x="1522154" y="3746503"/>
                  <a:pt x="1539696" y="3749619"/>
                </a:cubicBezTo>
                <a:cubicBezTo>
                  <a:pt x="1563086" y="3753774"/>
                  <a:pt x="1586048" y="3762584"/>
                  <a:pt x="1607224" y="3776337"/>
                </a:cubicBezTo>
                <a:cubicBezTo>
                  <a:pt x="1691932" y="3831346"/>
                  <a:pt x="1716006" y="3944609"/>
                  <a:pt x="1660997" y="4029316"/>
                </a:cubicBezTo>
                <a:lnTo>
                  <a:pt x="1536492" y="4221036"/>
                </a:lnTo>
                <a:cubicBezTo>
                  <a:pt x="1481483" y="4305744"/>
                  <a:pt x="1368220" y="4329819"/>
                  <a:pt x="1283513" y="4274809"/>
                </a:cubicBezTo>
                <a:cubicBezTo>
                  <a:pt x="1198805" y="4219799"/>
                  <a:pt x="1174730" y="4106537"/>
                  <a:pt x="1229740" y="4021829"/>
                </a:cubicBezTo>
                <a:lnTo>
                  <a:pt x="1354245" y="3830109"/>
                </a:lnTo>
                <a:cubicBezTo>
                  <a:pt x="1385188" y="3782461"/>
                  <a:pt x="1434563" y="3753997"/>
                  <a:pt x="1486918" y="3748003"/>
                </a:cubicBezTo>
                <a:close/>
                <a:moveTo>
                  <a:pt x="2583225" y="3741166"/>
                </a:moveTo>
                <a:cubicBezTo>
                  <a:pt x="2600677" y="3739167"/>
                  <a:pt x="2618461" y="3739666"/>
                  <a:pt x="2636003" y="3742783"/>
                </a:cubicBezTo>
                <a:cubicBezTo>
                  <a:pt x="2659393" y="3746937"/>
                  <a:pt x="2682355" y="3755747"/>
                  <a:pt x="2703532" y="3769499"/>
                </a:cubicBezTo>
                <a:cubicBezTo>
                  <a:pt x="2788239" y="3824509"/>
                  <a:pt x="2812314" y="3937772"/>
                  <a:pt x="2757304" y="4022479"/>
                </a:cubicBezTo>
                <a:lnTo>
                  <a:pt x="2458493" y="4482607"/>
                </a:lnTo>
                <a:cubicBezTo>
                  <a:pt x="2403484" y="4567315"/>
                  <a:pt x="2290221" y="4591390"/>
                  <a:pt x="2205514" y="4536380"/>
                </a:cubicBezTo>
                <a:cubicBezTo>
                  <a:pt x="2120806" y="4481370"/>
                  <a:pt x="2096732" y="4368108"/>
                  <a:pt x="2151741" y="4283400"/>
                </a:cubicBezTo>
                <a:lnTo>
                  <a:pt x="2450552" y="3823272"/>
                </a:lnTo>
                <a:cubicBezTo>
                  <a:pt x="2481495" y="3775625"/>
                  <a:pt x="2530870" y="3747161"/>
                  <a:pt x="2583225" y="3741166"/>
                </a:cubicBezTo>
                <a:close/>
                <a:moveTo>
                  <a:pt x="2180840" y="3483954"/>
                </a:moveTo>
                <a:cubicBezTo>
                  <a:pt x="2198293" y="3481957"/>
                  <a:pt x="2216075" y="3482455"/>
                  <a:pt x="2233618" y="3485571"/>
                </a:cubicBezTo>
                <a:cubicBezTo>
                  <a:pt x="2257008" y="3489726"/>
                  <a:pt x="2279970" y="3498537"/>
                  <a:pt x="2301147" y="3512288"/>
                </a:cubicBezTo>
                <a:cubicBezTo>
                  <a:pt x="2385854" y="3567298"/>
                  <a:pt x="2409929" y="3680560"/>
                  <a:pt x="2354918" y="3765268"/>
                </a:cubicBezTo>
                <a:lnTo>
                  <a:pt x="1956504" y="4378773"/>
                </a:lnTo>
                <a:cubicBezTo>
                  <a:pt x="1901495" y="4463479"/>
                  <a:pt x="1788232" y="4487555"/>
                  <a:pt x="1703524" y="4432545"/>
                </a:cubicBezTo>
                <a:cubicBezTo>
                  <a:pt x="1618818" y="4377535"/>
                  <a:pt x="1594743" y="4264272"/>
                  <a:pt x="1649752" y="4179565"/>
                </a:cubicBezTo>
                <a:lnTo>
                  <a:pt x="2048167" y="3566060"/>
                </a:lnTo>
                <a:cubicBezTo>
                  <a:pt x="2079109" y="3518413"/>
                  <a:pt x="2128484" y="3489950"/>
                  <a:pt x="2180840" y="3483954"/>
                </a:cubicBezTo>
                <a:close/>
                <a:moveTo>
                  <a:pt x="1956920" y="2161748"/>
                </a:moveTo>
                <a:cubicBezTo>
                  <a:pt x="1979525" y="2163726"/>
                  <a:pt x="2001374" y="2174326"/>
                  <a:pt x="2017112" y="2193079"/>
                </a:cubicBezTo>
                <a:cubicBezTo>
                  <a:pt x="2046159" y="2227697"/>
                  <a:pt x="2044230" y="2277999"/>
                  <a:pt x="2013153" y="2309251"/>
                </a:cubicBezTo>
                <a:lnTo>
                  <a:pt x="2014245" y="2310464"/>
                </a:lnTo>
                <a:lnTo>
                  <a:pt x="2008427" y="2315176"/>
                </a:lnTo>
                <a:cubicBezTo>
                  <a:pt x="2007986" y="2316444"/>
                  <a:pt x="2007094" y="2317222"/>
                  <a:pt x="2006184" y="2317986"/>
                </a:cubicBezTo>
                <a:lnTo>
                  <a:pt x="1806882" y="2485219"/>
                </a:lnTo>
                <a:cubicBezTo>
                  <a:pt x="1704191" y="2599553"/>
                  <a:pt x="1697282" y="2774681"/>
                  <a:pt x="1797185" y="2898050"/>
                </a:cubicBezTo>
                <a:cubicBezTo>
                  <a:pt x="1908420" y="3035413"/>
                  <a:pt x="2109946" y="3056594"/>
                  <a:pt x="2247309" y="2945360"/>
                </a:cubicBezTo>
                <a:lnTo>
                  <a:pt x="2338616" y="2871422"/>
                </a:lnTo>
                <a:lnTo>
                  <a:pt x="2338630" y="2871437"/>
                </a:lnTo>
                <a:lnTo>
                  <a:pt x="2338945" y="2871156"/>
                </a:lnTo>
                <a:lnTo>
                  <a:pt x="2602621" y="2657635"/>
                </a:lnTo>
                <a:cubicBezTo>
                  <a:pt x="2608606" y="2652788"/>
                  <a:pt x="2614369" y="2647772"/>
                  <a:pt x="2618891" y="2641505"/>
                </a:cubicBezTo>
                <a:cubicBezTo>
                  <a:pt x="2716015" y="2580063"/>
                  <a:pt x="2827312" y="2544504"/>
                  <a:pt x="2944280" y="2540144"/>
                </a:cubicBezTo>
                <a:cubicBezTo>
                  <a:pt x="2997945" y="2538144"/>
                  <a:pt x="3049962" y="2542817"/>
                  <a:pt x="3099337" y="2555009"/>
                </a:cubicBezTo>
                <a:cubicBezTo>
                  <a:pt x="3099582" y="2554669"/>
                  <a:pt x="3099830" y="2554330"/>
                  <a:pt x="3099955" y="2553895"/>
                </a:cubicBezTo>
                <a:lnTo>
                  <a:pt x="3507123" y="2641827"/>
                </a:lnTo>
                <a:lnTo>
                  <a:pt x="3840287" y="2720589"/>
                </a:lnTo>
                <a:lnTo>
                  <a:pt x="3839574" y="2722689"/>
                </a:lnTo>
                <a:cubicBezTo>
                  <a:pt x="3918505" y="2742806"/>
                  <a:pt x="3992686" y="2774673"/>
                  <a:pt x="4059647" y="2818014"/>
                </a:cubicBezTo>
                <a:lnTo>
                  <a:pt x="4436081" y="3181533"/>
                </a:lnTo>
                <a:lnTo>
                  <a:pt x="4492118" y="3242741"/>
                </a:lnTo>
                <a:cubicBezTo>
                  <a:pt x="4502616" y="3245767"/>
                  <a:pt x="4510658" y="3252516"/>
                  <a:pt x="4518205" y="3260063"/>
                </a:cubicBezTo>
                <a:lnTo>
                  <a:pt x="5035468" y="3777326"/>
                </a:lnTo>
                <a:cubicBezTo>
                  <a:pt x="5106887" y="3848745"/>
                  <a:pt x="5106887" y="3964538"/>
                  <a:pt x="5035467" y="4035957"/>
                </a:cubicBezTo>
                <a:cubicBezTo>
                  <a:pt x="4964049" y="4107377"/>
                  <a:pt x="4848256" y="4107377"/>
                  <a:pt x="4776836" y="4035958"/>
                </a:cubicBezTo>
                <a:lnTo>
                  <a:pt x="4355415" y="3614535"/>
                </a:lnTo>
                <a:lnTo>
                  <a:pt x="4354368" y="3615620"/>
                </a:lnTo>
                <a:cubicBezTo>
                  <a:pt x="4331787" y="3604156"/>
                  <a:pt x="4303602" y="3608170"/>
                  <a:pt x="4284681" y="3627089"/>
                </a:cubicBezTo>
                <a:cubicBezTo>
                  <a:pt x="4267674" y="3644096"/>
                  <a:pt x="4262713" y="3668585"/>
                  <a:pt x="4272546" y="3688883"/>
                </a:cubicBezTo>
                <a:cubicBezTo>
                  <a:pt x="4293541" y="3697118"/>
                  <a:pt x="4312939" y="3710026"/>
                  <a:pt x="4329850" y="3726936"/>
                </a:cubicBezTo>
                <a:lnTo>
                  <a:pt x="4847114" y="4244199"/>
                </a:lnTo>
                <a:cubicBezTo>
                  <a:pt x="4918533" y="4315619"/>
                  <a:pt x="4918535" y="4431412"/>
                  <a:pt x="4847114" y="4502830"/>
                </a:cubicBezTo>
                <a:cubicBezTo>
                  <a:pt x="4775693" y="4574249"/>
                  <a:pt x="4659901" y="4574249"/>
                  <a:pt x="4588482" y="4502831"/>
                </a:cubicBezTo>
                <a:lnTo>
                  <a:pt x="4071219" y="3985568"/>
                </a:lnTo>
                <a:lnTo>
                  <a:pt x="4041024" y="3940095"/>
                </a:lnTo>
                <a:lnTo>
                  <a:pt x="4040360" y="3940782"/>
                </a:lnTo>
                <a:cubicBezTo>
                  <a:pt x="4017254" y="3924832"/>
                  <a:pt x="3985516" y="3927706"/>
                  <a:pt x="3964843" y="3948379"/>
                </a:cubicBezTo>
                <a:cubicBezTo>
                  <a:pt x="3944472" y="3968751"/>
                  <a:pt x="3941381" y="3999857"/>
                  <a:pt x="3957437" y="4022240"/>
                </a:cubicBezTo>
                <a:lnTo>
                  <a:pt x="4411220" y="4476023"/>
                </a:lnTo>
                <a:cubicBezTo>
                  <a:pt x="4482639" y="4547442"/>
                  <a:pt x="4482640" y="4663235"/>
                  <a:pt x="4411220" y="4734654"/>
                </a:cubicBezTo>
                <a:cubicBezTo>
                  <a:pt x="4339801" y="4806074"/>
                  <a:pt x="4224009" y="4806074"/>
                  <a:pt x="4152588" y="4734654"/>
                </a:cubicBezTo>
                <a:lnTo>
                  <a:pt x="3693759" y="4275824"/>
                </a:lnTo>
                <a:cubicBezTo>
                  <a:pt x="3674507" y="4266207"/>
                  <a:pt x="3651523" y="4271480"/>
                  <a:pt x="3635327" y="4287674"/>
                </a:cubicBezTo>
                <a:cubicBezTo>
                  <a:pt x="3616352" y="4306648"/>
                  <a:pt x="3612370" y="4334938"/>
                  <a:pt x="3624934" y="4356886"/>
                </a:cubicBezTo>
                <a:cubicBezTo>
                  <a:pt x="3635049" y="4359778"/>
                  <a:pt x="3642739" y="4366280"/>
                  <a:pt x="3649973" y="4373515"/>
                </a:cubicBezTo>
                <a:lnTo>
                  <a:pt x="3908605" y="4632146"/>
                </a:lnTo>
                <a:cubicBezTo>
                  <a:pt x="3980025" y="4703566"/>
                  <a:pt x="3980024" y="4819358"/>
                  <a:pt x="3908605" y="4890778"/>
                </a:cubicBezTo>
                <a:cubicBezTo>
                  <a:pt x="3837186" y="4962196"/>
                  <a:pt x="3721393" y="4962197"/>
                  <a:pt x="3649973" y="4890777"/>
                </a:cubicBezTo>
                <a:lnTo>
                  <a:pt x="3391342" y="4632145"/>
                </a:lnTo>
                <a:lnTo>
                  <a:pt x="3383755" y="4620718"/>
                </a:lnTo>
                <a:lnTo>
                  <a:pt x="3380889" y="4623684"/>
                </a:lnTo>
                <a:lnTo>
                  <a:pt x="3174745" y="4424613"/>
                </a:lnTo>
                <a:lnTo>
                  <a:pt x="3205723" y="4376911"/>
                </a:lnTo>
                <a:cubicBezTo>
                  <a:pt x="3288238" y="4249850"/>
                  <a:pt x="3252126" y="4079956"/>
                  <a:pt x="3125065" y="3997443"/>
                </a:cubicBezTo>
                <a:cubicBezTo>
                  <a:pt x="3050998" y="3949342"/>
                  <a:pt x="2962377" y="3941552"/>
                  <a:pt x="2885364" y="3969651"/>
                </a:cubicBezTo>
                <a:cubicBezTo>
                  <a:pt x="2904562" y="3864147"/>
                  <a:pt x="2860444" y="3752656"/>
                  <a:pt x="2764879" y="3690594"/>
                </a:cubicBezTo>
                <a:cubicBezTo>
                  <a:pt x="2675680" y="3632668"/>
                  <a:pt x="2565374" y="3633204"/>
                  <a:pt x="2479613" y="3683683"/>
                </a:cubicBezTo>
                <a:cubicBezTo>
                  <a:pt x="2491746" y="3584340"/>
                  <a:pt x="2447375" y="3482413"/>
                  <a:pt x="2357597" y="3424112"/>
                </a:cubicBezTo>
                <a:cubicBezTo>
                  <a:pt x="2230536" y="3341596"/>
                  <a:pt x="2060642" y="3377708"/>
                  <a:pt x="1978127" y="3504770"/>
                </a:cubicBezTo>
                <a:lnTo>
                  <a:pt x="1773143" y="3820415"/>
                </a:lnTo>
                <a:cubicBezTo>
                  <a:pt x="1771585" y="3822815"/>
                  <a:pt x="1770069" y="3825230"/>
                  <a:pt x="1769218" y="3828038"/>
                </a:cubicBezTo>
                <a:cubicBezTo>
                  <a:pt x="1752743" y="3768112"/>
                  <a:pt x="1714307" y="3714419"/>
                  <a:pt x="1658027" y="3677872"/>
                </a:cubicBezTo>
                <a:cubicBezTo>
                  <a:pt x="1530967" y="3595356"/>
                  <a:pt x="1361072" y="3631468"/>
                  <a:pt x="1278558" y="3758529"/>
                </a:cubicBezTo>
                <a:lnTo>
                  <a:pt x="1214041" y="3857878"/>
                </a:lnTo>
                <a:cubicBezTo>
                  <a:pt x="1129847" y="4012173"/>
                  <a:pt x="965736" y="4115631"/>
                  <a:pt x="777460" y="4115631"/>
                </a:cubicBezTo>
                <a:lnTo>
                  <a:pt x="770030" y="4114882"/>
                </a:lnTo>
                <a:lnTo>
                  <a:pt x="133314" y="4114882"/>
                </a:lnTo>
                <a:cubicBezTo>
                  <a:pt x="46334" y="3825273"/>
                  <a:pt x="0" y="3518249"/>
                  <a:pt x="0" y="3200402"/>
                </a:cubicBezTo>
                <a:cubicBezTo>
                  <a:pt x="-1" y="2981216"/>
                  <a:pt x="22034" y="2767175"/>
                  <a:pt x="64130" y="2560401"/>
                </a:cubicBezTo>
                <a:lnTo>
                  <a:pt x="1002249" y="2560400"/>
                </a:lnTo>
                <a:lnTo>
                  <a:pt x="1891037" y="2183134"/>
                </a:lnTo>
                <a:lnTo>
                  <a:pt x="1892205" y="2182154"/>
                </a:lnTo>
                <a:cubicBezTo>
                  <a:pt x="1910959" y="2166416"/>
                  <a:pt x="1934318" y="2159770"/>
                  <a:pt x="1956920" y="2161748"/>
                </a:cubicBezTo>
                <a:close/>
                <a:moveTo>
                  <a:pt x="3656858" y="1633115"/>
                </a:moveTo>
                <a:cubicBezTo>
                  <a:pt x="3684170" y="1634110"/>
                  <a:pt x="3710479" y="1635996"/>
                  <a:pt x="3735468" y="1640302"/>
                </a:cubicBezTo>
                <a:cubicBezTo>
                  <a:pt x="3736801" y="1640168"/>
                  <a:pt x="3738134" y="1640167"/>
                  <a:pt x="3739468" y="1640167"/>
                </a:cubicBezTo>
                <a:cubicBezTo>
                  <a:pt x="4305222" y="1640169"/>
                  <a:pt x="4816641" y="1846440"/>
                  <a:pt x="5181704" y="2180522"/>
                </a:cubicBezTo>
                <a:lnTo>
                  <a:pt x="5182750" y="2177646"/>
                </a:lnTo>
                <a:cubicBezTo>
                  <a:pt x="5259259" y="2244293"/>
                  <a:pt x="5359072" y="2283923"/>
                  <a:pt x="5468110" y="2284801"/>
                </a:cubicBezTo>
                <a:lnTo>
                  <a:pt x="5467703" y="2285921"/>
                </a:lnTo>
                <a:lnTo>
                  <a:pt x="6267485" y="2285921"/>
                </a:lnTo>
                <a:cubicBezTo>
                  <a:pt x="6354465" y="2575530"/>
                  <a:pt x="6400801" y="2882555"/>
                  <a:pt x="6400801" y="3200402"/>
                </a:cubicBezTo>
                <a:cubicBezTo>
                  <a:pt x="6400800" y="3419588"/>
                  <a:pt x="6378766" y="3633626"/>
                  <a:pt x="6336672" y="3840401"/>
                </a:cubicBezTo>
                <a:lnTo>
                  <a:pt x="5704421" y="3840400"/>
                </a:lnTo>
                <a:lnTo>
                  <a:pt x="5517569" y="3840400"/>
                </a:lnTo>
                <a:cubicBezTo>
                  <a:pt x="5516068" y="3840851"/>
                  <a:pt x="5514564" y="3840855"/>
                  <a:pt x="5513058" y="3840856"/>
                </a:cubicBezTo>
                <a:cubicBezTo>
                  <a:pt x="5346942" y="3840856"/>
                  <a:pt x="5196620" y="3773228"/>
                  <a:pt x="5088259" y="3663870"/>
                </a:cubicBezTo>
                <a:lnTo>
                  <a:pt x="5088088" y="3664207"/>
                </a:lnTo>
                <a:lnTo>
                  <a:pt x="4240840" y="2816960"/>
                </a:lnTo>
                <a:cubicBezTo>
                  <a:pt x="4240396" y="2817661"/>
                  <a:pt x="4239784" y="2818172"/>
                  <a:pt x="4239171" y="2818678"/>
                </a:cubicBezTo>
                <a:cubicBezTo>
                  <a:pt x="4135954" y="2720312"/>
                  <a:pt x="4008137" y="2648478"/>
                  <a:pt x="3866360" y="2610767"/>
                </a:cubicBezTo>
                <a:lnTo>
                  <a:pt x="3866992" y="2608888"/>
                </a:lnTo>
                <a:lnTo>
                  <a:pt x="3535264" y="2526178"/>
                </a:lnTo>
                <a:lnTo>
                  <a:pt x="3130135" y="2432647"/>
                </a:lnTo>
                <a:cubicBezTo>
                  <a:pt x="3130024" y="2433039"/>
                  <a:pt x="3129793" y="2433339"/>
                  <a:pt x="3129562" y="2433637"/>
                </a:cubicBezTo>
                <a:cubicBezTo>
                  <a:pt x="3080383" y="2420910"/>
                  <a:pt x="3028848" y="2414912"/>
                  <a:pt x="2975908" y="2414912"/>
                </a:cubicBezTo>
                <a:cubicBezTo>
                  <a:pt x="2811943" y="2414912"/>
                  <a:pt x="2661415" y="2472455"/>
                  <a:pt x="2545396" y="2570876"/>
                </a:cubicBezTo>
                <a:lnTo>
                  <a:pt x="2543573" y="2569717"/>
                </a:lnTo>
                <a:lnTo>
                  <a:pt x="2193720" y="2853022"/>
                </a:lnTo>
                <a:cubicBezTo>
                  <a:pt x="2105416" y="2924529"/>
                  <a:pt x="1975860" y="2910914"/>
                  <a:pt x="1904353" y="2822609"/>
                </a:cubicBezTo>
                <a:cubicBezTo>
                  <a:pt x="1832844" y="2734303"/>
                  <a:pt x="1846461" y="2604750"/>
                  <a:pt x="1934767" y="2533243"/>
                </a:cubicBezTo>
                <a:lnTo>
                  <a:pt x="2350832" y="2196320"/>
                </a:lnTo>
                <a:lnTo>
                  <a:pt x="2704088" y="1899903"/>
                </a:lnTo>
                <a:cubicBezTo>
                  <a:pt x="2709938" y="1893802"/>
                  <a:pt x="2716509" y="1888323"/>
                  <a:pt x="2723713" y="1883435"/>
                </a:cubicBezTo>
                <a:lnTo>
                  <a:pt x="2732397" y="1876148"/>
                </a:lnTo>
                <a:lnTo>
                  <a:pt x="2741152" y="1870710"/>
                </a:lnTo>
                <a:cubicBezTo>
                  <a:pt x="2794071" y="1830023"/>
                  <a:pt x="2859630" y="1794650"/>
                  <a:pt x="2933347" y="1767819"/>
                </a:cubicBezTo>
                <a:lnTo>
                  <a:pt x="3001298" y="1748265"/>
                </a:lnTo>
                <a:cubicBezTo>
                  <a:pt x="3071697" y="1720366"/>
                  <a:pt x="3148660" y="1697120"/>
                  <a:pt x="3229866" y="1678372"/>
                </a:cubicBezTo>
                <a:cubicBezTo>
                  <a:pt x="3383705" y="1642856"/>
                  <a:pt x="3530928" y="1628523"/>
                  <a:pt x="3656858" y="1633115"/>
                </a:cubicBezTo>
                <a:close/>
                <a:moveTo>
                  <a:pt x="3200402" y="0"/>
                </a:moveTo>
                <a:cubicBezTo>
                  <a:pt x="4604889" y="0"/>
                  <a:pt x="5798071" y="904705"/>
                  <a:pt x="6225978" y="2164162"/>
                </a:cubicBezTo>
                <a:lnTo>
                  <a:pt x="5489721" y="2164162"/>
                </a:lnTo>
                <a:cubicBezTo>
                  <a:pt x="5096787" y="1291881"/>
                  <a:pt x="4219373" y="685800"/>
                  <a:pt x="3200402" y="685800"/>
                </a:cubicBezTo>
                <a:cubicBezTo>
                  <a:pt x="2074893" y="685800"/>
                  <a:pt x="1122090" y="1425244"/>
                  <a:pt x="801668" y="2444946"/>
                </a:cubicBezTo>
                <a:lnTo>
                  <a:pt x="90517" y="2444946"/>
                </a:lnTo>
                <a:cubicBezTo>
                  <a:pt x="429306" y="1041901"/>
                  <a:pt x="1693180" y="0"/>
                  <a:pt x="3200402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3256" tIns="46628" rIns="93256" bIns="46628" numCol="1" rtlCol="0" anchor="ctr" anchorCtr="0" compatLnSpc="1"/>
          <a:lstStyle/>
          <a:p>
            <a:pPr algn="ctr" defTabSz="93154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73" name="Picture 8" descr="\\MAGNUM\Projects\Microsoft\Cloud Power FY12\Design\Icons\PNGs\Cross Platform.png"/>
          <p:cNvPicPr>
            <a:picLocks noChangeAspect="1" noChangeArrowheads="1"/>
          </p:cNvPicPr>
          <p:nvPr/>
        </p:nvPicPr>
        <p:blipFill>
          <a:blip r:embed="rId8" cstate="print">
            <a:lum bright="100000"/>
          </a:blip>
          <a:stretch>
            <a:fillRect/>
          </a:stretch>
        </p:blipFill>
        <p:spPr bwMode="auto">
          <a:xfrm>
            <a:off x="1540209" y="1532277"/>
            <a:ext cx="1026450" cy="998945"/>
          </a:xfrm>
          <a:prstGeom prst="rect">
            <a:avLst/>
          </a:prstGeom>
          <a:noFill/>
        </p:spPr>
      </p:pic>
      <p:grpSp>
        <p:nvGrpSpPr>
          <p:cNvPr id="75" name="Group 15"/>
          <p:cNvGrpSpPr/>
          <p:nvPr>
            <p:custDataLst>
              <p:tags r:id="rId9"/>
            </p:custDataLst>
          </p:nvPr>
        </p:nvGrpSpPr>
        <p:grpSpPr>
          <a:xfrm flipH="1">
            <a:off x="1703219" y="629052"/>
            <a:ext cx="743165" cy="507249"/>
            <a:chOff x="8369398" y="1851899"/>
            <a:chExt cx="756170" cy="516124"/>
          </a:xfrm>
          <a:solidFill>
            <a:srgbClr val="FFFFFF"/>
          </a:solidFill>
        </p:grpSpPr>
        <p:sp>
          <p:nvSpPr>
            <p:cNvPr id="76" name="Rounded Rectangle 307"/>
            <p:cNvSpPr/>
            <p:nvPr/>
          </p:nvSpPr>
          <p:spPr bwMode="auto">
            <a:xfrm rot="1411326">
              <a:off x="8816737" y="2158724"/>
              <a:ext cx="308831" cy="209299"/>
            </a:xfrm>
            <a:custGeom>
              <a:avLst/>
              <a:gdLst/>
              <a:ahLst/>
              <a:cxnLst/>
              <a:rect l="l" t="t" r="r" b="b"/>
              <a:pathLst>
                <a:path w="308831" h="209299">
                  <a:moveTo>
                    <a:pt x="6932" y="0"/>
                  </a:moveTo>
                  <a:lnTo>
                    <a:pt x="62731" y="5004"/>
                  </a:lnTo>
                  <a:cubicBezTo>
                    <a:pt x="73820" y="4021"/>
                    <a:pt x="83149" y="12888"/>
                    <a:pt x="85697" y="24169"/>
                  </a:cubicBezTo>
                  <a:lnTo>
                    <a:pt x="85452" y="33272"/>
                  </a:lnTo>
                  <a:cubicBezTo>
                    <a:pt x="85954" y="32635"/>
                    <a:pt x="86485" y="32624"/>
                    <a:pt x="87017" y="32624"/>
                  </a:cubicBezTo>
                  <a:lnTo>
                    <a:pt x="270296" y="32624"/>
                  </a:lnTo>
                  <a:cubicBezTo>
                    <a:pt x="291578" y="32624"/>
                    <a:pt x="308831" y="49877"/>
                    <a:pt x="308831" y="71159"/>
                  </a:cubicBezTo>
                  <a:lnTo>
                    <a:pt x="308831" y="146071"/>
                  </a:lnTo>
                  <a:cubicBezTo>
                    <a:pt x="308831" y="167353"/>
                    <a:pt x="291578" y="184606"/>
                    <a:pt x="270296" y="184606"/>
                  </a:cubicBezTo>
                  <a:lnTo>
                    <a:pt x="87017" y="184606"/>
                  </a:lnTo>
                  <a:lnTo>
                    <a:pt x="81440" y="182295"/>
                  </a:lnTo>
                  <a:lnTo>
                    <a:pt x="81438" y="182371"/>
                  </a:lnTo>
                  <a:cubicBezTo>
                    <a:pt x="82699" y="196467"/>
                    <a:pt x="69880" y="211811"/>
                    <a:pt x="54012" y="208953"/>
                  </a:cubicBezTo>
                  <a:lnTo>
                    <a:pt x="0" y="208054"/>
                  </a:lnTo>
                  <a:cubicBezTo>
                    <a:pt x="11559" y="178614"/>
                    <a:pt x="19544" y="140965"/>
                    <a:pt x="23432" y="105100"/>
                  </a:cubicBezTo>
                  <a:cubicBezTo>
                    <a:pt x="23221" y="71020"/>
                    <a:pt x="17126" y="34619"/>
                    <a:pt x="6932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154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77" name="Oval 247"/>
            <p:cNvSpPr/>
            <p:nvPr/>
          </p:nvSpPr>
          <p:spPr bwMode="auto">
            <a:xfrm>
              <a:off x="8369398" y="1851899"/>
              <a:ext cx="482863" cy="482862"/>
            </a:xfrm>
            <a:custGeom>
              <a:avLst/>
              <a:gdLst/>
              <a:ahLst/>
              <a:cxnLst/>
              <a:rect l="l" t="t" r="r" b="b"/>
              <a:pathLst>
                <a:path w="573170" h="573170">
                  <a:moveTo>
                    <a:pt x="286585" y="47056"/>
                  </a:moveTo>
                  <a:cubicBezTo>
                    <a:pt x="154297" y="47056"/>
                    <a:pt x="47056" y="154297"/>
                    <a:pt x="47056" y="286585"/>
                  </a:cubicBezTo>
                  <a:cubicBezTo>
                    <a:pt x="47056" y="418873"/>
                    <a:pt x="154297" y="526114"/>
                    <a:pt x="286585" y="526114"/>
                  </a:cubicBezTo>
                  <a:cubicBezTo>
                    <a:pt x="418873" y="526114"/>
                    <a:pt x="526114" y="418873"/>
                    <a:pt x="526114" y="286585"/>
                  </a:cubicBezTo>
                  <a:cubicBezTo>
                    <a:pt x="526114" y="154297"/>
                    <a:pt x="418873" y="47056"/>
                    <a:pt x="286585" y="47056"/>
                  </a:cubicBezTo>
                  <a:close/>
                  <a:moveTo>
                    <a:pt x="286585" y="0"/>
                  </a:moveTo>
                  <a:cubicBezTo>
                    <a:pt x="444862" y="0"/>
                    <a:pt x="573170" y="128308"/>
                    <a:pt x="573170" y="286585"/>
                  </a:cubicBezTo>
                  <a:cubicBezTo>
                    <a:pt x="573170" y="444862"/>
                    <a:pt x="444862" y="573170"/>
                    <a:pt x="286585" y="573170"/>
                  </a:cubicBezTo>
                  <a:cubicBezTo>
                    <a:pt x="128308" y="573170"/>
                    <a:pt x="0" y="444862"/>
                    <a:pt x="0" y="286585"/>
                  </a:cubicBezTo>
                  <a:cubicBezTo>
                    <a:pt x="0" y="128308"/>
                    <a:pt x="128308" y="0"/>
                    <a:pt x="286585" y="0"/>
                  </a:cubicBez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154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78" name="Freeform 257"/>
            <p:cNvSpPr/>
            <p:nvPr/>
          </p:nvSpPr>
          <p:spPr bwMode="black">
            <a:xfrm>
              <a:off x="8477432" y="1892946"/>
              <a:ext cx="187186" cy="125197"/>
            </a:xfrm>
            <a:custGeom>
              <a:avLst/>
              <a:gdLst>
                <a:gd name="T0" fmla="*/ 39 w 42"/>
                <a:gd name="T1" fmla="*/ 7 h 28"/>
                <a:gd name="T2" fmla="*/ 39 w 42"/>
                <a:gd name="T3" fmla="*/ 7 h 28"/>
                <a:gd name="T4" fmla="*/ 1 w 42"/>
                <a:gd name="T5" fmla="*/ 20 h 28"/>
                <a:gd name="T6" fmla="*/ 3 w 42"/>
                <a:gd name="T7" fmla="*/ 27 h 28"/>
                <a:gd name="T8" fmla="*/ 10 w 42"/>
                <a:gd name="T9" fmla="*/ 24 h 28"/>
                <a:gd name="T10" fmla="*/ 35 w 42"/>
                <a:gd name="T11" fmla="*/ 15 h 28"/>
                <a:gd name="T12" fmla="*/ 41 w 42"/>
                <a:gd name="T13" fmla="*/ 13 h 28"/>
                <a:gd name="T14" fmla="*/ 39 w 42"/>
                <a:gd name="T15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8">
                  <a:moveTo>
                    <a:pt x="39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25" y="0"/>
                    <a:pt x="8" y="6"/>
                    <a:pt x="1" y="20"/>
                  </a:cubicBezTo>
                  <a:cubicBezTo>
                    <a:pt x="0" y="23"/>
                    <a:pt x="1" y="25"/>
                    <a:pt x="3" y="27"/>
                  </a:cubicBezTo>
                  <a:cubicBezTo>
                    <a:pt x="6" y="28"/>
                    <a:pt x="8" y="27"/>
                    <a:pt x="10" y="24"/>
                  </a:cubicBezTo>
                  <a:cubicBezTo>
                    <a:pt x="14" y="15"/>
                    <a:pt x="25" y="11"/>
                    <a:pt x="35" y="15"/>
                  </a:cubicBezTo>
                  <a:cubicBezTo>
                    <a:pt x="37" y="16"/>
                    <a:pt x="40" y="15"/>
                    <a:pt x="41" y="13"/>
                  </a:cubicBezTo>
                  <a:cubicBezTo>
                    <a:pt x="42" y="11"/>
                    <a:pt x="41" y="8"/>
                    <a:pt x="3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47" tIns="46623" rIns="93247" bIns="46623" numCol="1" anchor="t" anchorCtr="0" compatLnSpc="1"/>
            <a:lstStyle/>
            <a:p>
              <a:pPr marL="0" marR="0" lvl="0" indent="0" defTabSz="93154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grpSp>
          <p:nvGrpSpPr>
            <p:cNvPr id="79" name="Group 19"/>
            <p:cNvGrpSpPr/>
            <p:nvPr/>
          </p:nvGrpSpPr>
          <p:grpSpPr bwMode="black">
            <a:xfrm>
              <a:off x="8459235" y="1994058"/>
              <a:ext cx="303219" cy="246679"/>
              <a:chOff x="5184779" y="225425"/>
              <a:chExt cx="1500184" cy="1220787"/>
            </a:xfrm>
            <a:grpFill/>
          </p:grpSpPr>
          <p:sp>
            <p:nvSpPr>
              <p:cNvPr id="80" name="Freeform 86"/>
              <p:cNvSpPr>
                <a:spLocks noEditPoints="1"/>
              </p:cNvSpPr>
              <p:nvPr/>
            </p:nvSpPr>
            <p:spPr bwMode="black">
              <a:xfrm>
                <a:off x="5184779" y="344490"/>
                <a:ext cx="1095376" cy="1101722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/>
              <a:lstStyle/>
              <a:p>
                <a:pPr marL="0" marR="0" lvl="0" indent="0" defTabSz="93154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81" name="Oval 87"/>
              <p:cNvSpPr>
                <a:spLocks noChangeArrowheads="1"/>
              </p:cNvSpPr>
              <p:nvPr/>
            </p:nvSpPr>
            <p:spPr bwMode="black">
              <a:xfrm>
                <a:off x="5630869" y="812799"/>
                <a:ext cx="203201" cy="20320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/>
              <a:lstStyle/>
              <a:p>
                <a:pPr marL="0" marR="0" lvl="0" indent="0" defTabSz="93154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sp>
            <p:nvSpPr>
              <p:cNvPr id="82" name="Freeform 88"/>
              <p:cNvSpPr>
                <a:spLocks noEditPoints="1"/>
              </p:cNvSpPr>
              <p:nvPr/>
            </p:nvSpPr>
            <p:spPr bwMode="black">
              <a:xfrm>
                <a:off x="6129339" y="225425"/>
                <a:ext cx="555624" cy="598489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3247" tIns="46623" rIns="93247" bIns="46623" numCol="1" anchor="t" anchorCtr="0" compatLnSpc="1"/>
              <a:lstStyle/>
              <a:p>
                <a:pPr marL="0" marR="0" lvl="0" indent="0" defTabSz="93154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</p:grpSp>
      </p:grpSp>
      <p:grpSp>
        <p:nvGrpSpPr>
          <p:cNvPr id="83" name="Group 191"/>
          <p:cNvGrpSpPr>
            <a:grpSpLocks noChangeAspect="1"/>
          </p:cNvGrpSpPr>
          <p:nvPr/>
        </p:nvGrpSpPr>
        <p:grpSpPr>
          <a:xfrm>
            <a:off x="430879" y="535156"/>
            <a:ext cx="647387" cy="688931"/>
            <a:chOff x="4819651" y="-271463"/>
            <a:chExt cx="2078037" cy="2211388"/>
          </a:xfrm>
          <a:solidFill>
            <a:srgbClr val="000000"/>
          </a:solidFill>
        </p:grpSpPr>
        <p:sp>
          <p:nvSpPr>
            <p:cNvPr id="84" name="Freeform 48"/>
            <p:cNvSpPr>
              <a:spLocks noEditPoints="1"/>
            </p:cNvSpPr>
            <p:nvPr/>
          </p:nvSpPr>
          <p:spPr bwMode="auto">
            <a:xfrm>
              <a:off x="4819651" y="-271463"/>
              <a:ext cx="1681163" cy="1682750"/>
            </a:xfrm>
            <a:custGeom>
              <a:avLst/>
              <a:gdLst>
                <a:gd name="T0" fmla="*/ 1456 w 1456"/>
                <a:gd name="T1" fmla="*/ 728 h 1456"/>
                <a:gd name="T2" fmla="*/ 728 w 1456"/>
                <a:gd name="T3" fmla="*/ 0 h 1456"/>
                <a:gd name="T4" fmla="*/ 0 w 1456"/>
                <a:gd name="T5" fmla="*/ 728 h 1456"/>
                <a:gd name="T6" fmla="*/ 728 w 1456"/>
                <a:gd name="T7" fmla="*/ 1456 h 1456"/>
                <a:gd name="T8" fmla="*/ 1456 w 1456"/>
                <a:gd name="T9" fmla="*/ 728 h 1456"/>
                <a:gd name="T10" fmla="*/ 1301 w 1456"/>
                <a:gd name="T11" fmla="*/ 725 h 1456"/>
                <a:gd name="T12" fmla="*/ 1133 w 1456"/>
                <a:gd name="T13" fmla="*/ 1129 h 1456"/>
                <a:gd name="T14" fmla="*/ 729 w 1456"/>
                <a:gd name="T15" fmla="*/ 1297 h 1456"/>
                <a:gd name="T16" fmla="*/ 325 w 1456"/>
                <a:gd name="T17" fmla="*/ 1129 h 1456"/>
                <a:gd name="T18" fmla="*/ 157 w 1456"/>
                <a:gd name="T19" fmla="*/ 725 h 1456"/>
                <a:gd name="T20" fmla="*/ 325 w 1456"/>
                <a:gd name="T21" fmla="*/ 321 h 1456"/>
                <a:gd name="T22" fmla="*/ 729 w 1456"/>
                <a:gd name="T23" fmla="*/ 153 h 1456"/>
                <a:gd name="T24" fmla="*/ 1133 w 1456"/>
                <a:gd name="T25" fmla="*/ 321 h 1456"/>
                <a:gd name="T26" fmla="*/ 1301 w 1456"/>
                <a:gd name="T27" fmla="*/ 725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56" h="1456">
                  <a:moveTo>
                    <a:pt x="1456" y="728"/>
                  </a:moveTo>
                  <a:cubicBezTo>
                    <a:pt x="1456" y="326"/>
                    <a:pt x="1130" y="0"/>
                    <a:pt x="728" y="0"/>
                  </a:cubicBezTo>
                  <a:cubicBezTo>
                    <a:pt x="327" y="0"/>
                    <a:pt x="0" y="326"/>
                    <a:pt x="0" y="728"/>
                  </a:cubicBezTo>
                  <a:cubicBezTo>
                    <a:pt x="0" y="1129"/>
                    <a:pt x="327" y="1456"/>
                    <a:pt x="728" y="1456"/>
                  </a:cubicBezTo>
                  <a:cubicBezTo>
                    <a:pt x="1130" y="1456"/>
                    <a:pt x="1456" y="1129"/>
                    <a:pt x="1456" y="728"/>
                  </a:cubicBezTo>
                  <a:close/>
                  <a:moveTo>
                    <a:pt x="1301" y="725"/>
                  </a:moveTo>
                  <a:cubicBezTo>
                    <a:pt x="1301" y="878"/>
                    <a:pt x="1242" y="1021"/>
                    <a:pt x="1133" y="1129"/>
                  </a:cubicBezTo>
                  <a:cubicBezTo>
                    <a:pt x="1025" y="1238"/>
                    <a:pt x="882" y="1297"/>
                    <a:pt x="729" y="1297"/>
                  </a:cubicBezTo>
                  <a:cubicBezTo>
                    <a:pt x="576" y="1297"/>
                    <a:pt x="433" y="1238"/>
                    <a:pt x="325" y="1129"/>
                  </a:cubicBezTo>
                  <a:cubicBezTo>
                    <a:pt x="217" y="1021"/>
                    <a:pt x="157" y="878"/>
                    <a:pt x="157" y="725"/>
                  </a:cubicBezTo>
                  <a:cubicBezTo>
                    <a:pt x="157" y="572"/>
                    <a:pt x="217" y="429"/>
                    <a:pt x="325" y="321"/>
                  </a:cubicBezTo>
                  <a:cubicBezTo>
                    <a:pt x="433" y="213"/>
                    <a:pt x="576" y="153"/>
                    <a:pt x="729" y="153"/>
                  </a:cubicBezTo>
                  <a:cubicBezTo>
                    <a:pt x="882" y="153"/>
                    <a:pt x="1025" y="213"/>
                    <a:pt x="1133" y="321"/>
                  </a:cubicBezTo>
                  <a:cubicBezTo>
                    <a:pt x="1242" y="429"/>
                    <a:pt x="1301" y="572"/>
                    <a:pt x="1301" y="7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85" name="Freeform 49"/>
            <p:cNvSpPr/>
            <p:nvPr/>
          </p:nvSpPr>
          <p:spPr bwMode="auto">
            <a:xfrm>
              <a:off x="6202363" y="1193800"/>
              <a:ext cx="279400" cy="274638"/>
            </a:xfrm>
            <a:custGeom>
              <a:avLst/>
              <a:gdLst>
                <a:gd name="T0" fmla="*/ 241 w 241"/>
                <a:gd name="T1" fmla="*/ 103 h 238"/>
                <a:gd name="T2" fmla="*/ 150 w 241"/>
                <a:gd name="T3" fmla="*/ 0 h 238"/>
                <a:gd name="T4" fmla="*/ 80 w 241"/>
                <a:gd name="T5" fmla="*/ 70 h 238"/>
                <a:gd name="T6" fmla="*/ 0 w 241"/>
                <a:gd name="T7" fmla="*/ 133 h 238"/>
                <a:gd name="T8" fmla="*/ 92 w 241"/>
                <a:gd name="T9" fmla="*/ 238 h 238"/>
                <a:gd name="T10" fmla="*/ 161 w 241"/>
                <a:gd name="T11" fmla="*/ 186 h 238"/>
                <a:gd name="T12" fmla="*/ 241 w 241"/>
                <a:gd name="T13" fmla="*/ 10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" h="238">
                  <a:moveTo>
                    <a:pt x="241" y="103"/>
                  </a:moveTo>
                  <a:cubicBezTo>
                    <a:pt x="150" y="0"/>
                    <a:pt x="150" y="0"/>
                    <a:pt x="150" y="0"/>
                  </a:cubicBezTo>
                  <a:cubicBezTo>
                    <a:pt x="150" y="0"/>
                    <a:pt x="117" y="38"/>
                    <a:pt x="80" y="70"/>
                  </a:cubicBezTo>
                  <a:cubicBezTo>
                    <a:pt x="49" y="97"/>
                    <a:pt x="0" y="133"/>
                    <a:pt x="0" y="133"/>
                  </a:cubicBezTo>
                  <a:cubicBezTo>
                    <a:pt x="92" y="238"/>
                    <a:pt x="92" y="238"/>
                    <a:pt x="92" y="238"/>
                  </a:cubicBezTo>
                  <a:cubicBezTo>
                    <a:pt x="116" y="221"/>
                    <a:pt x="143" y="201"/>
                    <a:pt x="161" y="186"/>
                  </a:cubicBezTo>
                  <a:cubicBezTo>
                    <a:pt x="186" y="163"/>
                    <a:pt x="219" y="128"/>
                    <a:pt x="241" y="1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sp>
          <p:nvSpPr>
            <p:cNvPr id="86" name="Freeform 50"/>
            <p:cNvSpPr/>
            <p:nvPr/>
          </p:nvSpPr>
          <p:spPr bwMode="auto">
            <a:xfrm>
              <a:off x="6364288" y="1376362"/>
              <a:ext cx="533400" cy="563563"/>
            </a:xfrm>
            <a:custGeom>
              <a:avLst/>
              <a:gdLst>
                <a:gd name="T0" fmla="*/ 422 w 462"/>
                <a:gd name="T1" fmla="*/ 309 h 487"/>
                <a:gd name="T2" fmla="*/ 149 w 462"/>
                <a:gd name="T3" fmla="*/ 0 h 487"/>
                <a:gd name="T4" fmla="*/ 67 w 462"/>
                <a:gd name="T5" fmla="*/ 83 h 487"/>
                <a:gd name="T6" fmla="*/ 0 w 462"/>
                <a:gd name="T7" fmla="*/ 135 h 487"/>
                <a:gd name="T8" fmla="*/ 271 w 462"/>
                <a:gd name="T9" fmla="*/ 443 h 487"/>
                <a:gd name="T10" fmla="*/ 395 w 462"/>
                <a:gd name="T11" fmla="*/ 422 h 487"/>
                <a:gd name="T12" fmla="*/ 422 w 462"/>
                <a:gd name="T13" fmla="*/ 309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2" h="487">
                  <a:moveTo>
                    <a:pt x="422" y="309"/>
                  </a:moveTo>
                  <a:cubicBezTo>
                    <a:pt x="149" y="0"/>
                    <a:pt x="149" y="0"/>
                    <a:pt x="149" y="0"/>
                  </a:cubicBezTo>
                  <a:cubicBezTo>
                    <a:pt x="127" y="24"/>
                    <a:pt x="92" y="61"/>
                    <a:pt x="67" y="83"/>
                  </a:cubicBezTo>
                  <a:cubicBezTo>
                    <a:pt x="48" y="101"/>
                    <a:pt x="23" y="119"/>
                    <a:pt x="0" y="135"/>
                  </a:cubicBezTo>
                  <a:cubicBezTo>
                    <a:pt x="271" y="443"/>
                    <a:pt x="271" y="443"/>
                    <a:pt x="271" y="443"/>
                  </a:cubicBezTo>
                  <a:cubicBezTo>
                    <a:pt x="271" y="443"/>
                    <a:pt x="329" y="487"/>
                    <a:pt x="395" y="422"/>
                  </a:cubicBezTo>
                  <a:cubicBezTo>
                    <a:pt x="462" y="357"/>
                    <a:pt x="422" y="309"/>
                    <a:pt x="422" y="30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</p:grpSp>
      <p:sp>
        <p:nvSpPr>
          <p:cNvPr id="87" name="Freeform 115"/>
          <p:cNvSpPr>
            <a:spLocks noEditPoints="1"/>
          </p:cNvSpPr>
          <p:nvPr/>
        </p:nvSpPr>
        <p:spPr bwMode="black">
          <a:xfrm>
            <a:off x="3057831" y="637257"/>
            <a:ext cx="556181" cy="547062"/>
          </a:xfrm>
          <a:custGeom>
            <a:avLst/>
            <a:gdLst>
              <a:gd name="T0" fmla="*/ 63 w 68"/>
              <a:gd name="T1" fmla="*/ 12 h 66"/>
              <a:gd name="T2" fmla="*/ 48 w 68"/>
              <a:gd name="T3" fmla="*/ 1 h 66"/>
              <a:gd name="T4" fmla="*/ 42 w 68"/>
              <a:gd name="T5" fmla="*/ 0 h 66"/>
              <a:gd name="T6" fmla="*/ 18 w 68"/>
              <a:gd name="T7" fmla="*/ 19 h 66"/>
              <a:gd name="T8" fmla="*/ 21 w 68"/>
              <a:gd name="T9" fmla="*/ 37 h 66"/>
              <a:gd name="T10" fmla="*/ 2 w 68"/>
              <a:gd name="T11" fmla="*/ 56 h 66"/>
              <a:gd name="T12" fmla="*/ 2 w 68"/>
              <a:gd name="T13" fmla="*/ 65 h 66"/>
              <a:gd name="T14" fmla="*/ 7 w 68"/>
              <a:gd name="T15" fmla="*/ 66 h 66"/>
              <a:gd name="T16" fmla="*/ 11 w 68"/>
              <a:gd name="T17" fmla="*/ 65 h 66"/>
              <a:gd name="T18" fmla="*/ 30 w 68"/>
              <a:gd name="T19" fmla="*/ 46 h 66"/>
              <a:gd name="T20" fmla="*/ 36 w 68"/>
              <a:gd name="T21" fmla="*/ 49 h 66"/>
              <a:gd name="T22" fmla="*/ 42 w 68"/>
              <a:gd name="T23" fmla="*/ 50 h 66"/>
              <a:gd name="T24" fmla="*/ 66 w 68"/>
              <a:gd name="T25" fmla="*/ 31 h 66"/>
              <a:gd name="T26" fmla="*/ 63 w 68"/>
              <a:gd name="T27" fmla="*/ 12 h 66"/>
              <a:gd name="T28" fmla="*/ 59 w 68"/>
              <a:gd name="T29" fmla="*/ 29 h 66"/>
              <a:gd name="T30" fmla="*/ 42 w 68"/>
              <a:gd name="T31" fmla="*/ 42 h 66"/>
              <a:gd name="T32" fmla="*/ 38 w 68"/>
              <a:gd name="T33" fmla="*/ 42 h 66"/>
              <a:gd name="T34" fmla="*/ 26 w 68"/>
              <a:gd name="T35" fmla="*/ 21 h 66"/>
              <a:gd name="T36" fmla="*/ 42 w 68"/>
              <a:gd name="T37" fmla="*/ 8 h 66"/>
              <a:gd name="T38" fmla="*/ 46 w 68"/>
              <a:gd name="T39" fmla="*/ 8 h 66"/>
              <a:gd name="T40" fmla="*/ 57 w 68"/>
              <a:gd name="T41" fmla="*/ 16 h 66"/>
              <a:gd name="T42" fmla="*/ 59 w 68"/>
              <a:gd name="T43" fmla="*/ 29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8" h="66">
                <a:moveTo>
                  <a:pt x="63" y="12"/>
                </a:moveTo>
                <a:cubicBezTo>
                  <a:pt x="60" y="6"/>
                  <a:pt x="55" y="2"/>
                  <a:pt x="48" y="1"/>
                </a:cubicBezTo>
                <a:cubicBezTo>
                  <a:pt x="46" y="0"/>
                  <a:pt x="44" y="0"/>
                  <a:pt x="42" y="0"/>
                </a:cubicBezTo>
                <a:cubicBezTo>
                  <a:pt x="31" y="0"/>
                  <a:pt x="21" y="8"/>
                  <a:pt x="18" y="19"/>
                </a:cubicBezTo>
                <a:cubicBezTo>
                  <a:pt x="17" y="25"/>
                  <a:pt x="18" y="32"/>
                  <a:pt x="21" y="37"/>
                </a:cubicBezTo>
                <a:cubicBezTo>
                  <a:pt x="2" y="56"/>
                  <a:pt x="2" y="56"/>
                  <a:pt x="2" y="56"/>
                </a:cubicBezTo>
                <a:cubicBezTo>
                  <a:pt x="0" y="58"/>
                  <a:pt x="0" y="62"/>
                  <a:pt x="2" y="65"/>
                </a:cubicBezTo>
                <a:cubicBezTo>
                  <a:pt x="4" y="66"/>
                  <a:pt x="5" y="66"/>
                  <a:pt x="7" y="66"/>
                </a:cubicBezTo>
                <a:cubicBezTo>
                  <a:pt x="8" y="66"/>
                  <a:pt x="10" y="66"/>
                  <a:pt x="11" y="65"/>
                </a:cubicBezTo>
                <a:cubicBezTo>
                  <a:pt x="30" y="46"/>
                  <a:pt x="30" y="46"/>
                  <a:pt x="30" y="46"/>
                </a:cubicBezTo>
                <a:cubicBezTo>
                  <a:pt x="32" y="47"/>
                  <a:pt x="34" y="48"/>
                  <a:pt x="36" y="49"/>
                </a:cubicBezTo>
                <a:cubicBezTo>
                  <a:pt x="38" y="49"/>
                  <a:pt x="40" y="50"/>
                  <a:pt x="42" y="50"/>
                </a:cubicBezTo>
                <a:cubicBezTo>
                  <a:pt x="54" y="50"/>
                  <a:pt x="64" y="42"/>
                  <a:pt x="66" y="31"/>
                </a:cubicBezTo>
                <a:cubicBezTo>
                  <a:pt x="68" y="24"/>
                  <a:pt x="67" y="18"/>
                  <a:pt x="63" y="12"/>
                </a:cubicBezTo>
                <a:close/>
                <a:moveTo>
                  <a:pt x="59" y="29"/>
                </a:moveTo>
                <a:cubicBezTo>
                  <a:pt x="57" y="37"/>
                  <a:pt x="50" y="42"/>
                  <a:pt x="42" y="42"/>
                </a:cubicBezTo>
                <a:cubicBezTo>
                  <a:pt x="41" y="42"/>
                  <a:pt x="40" y="42"/>
                  <a:pt x="38" y="42"/>
                </a:cubicBezTo>
                <a:cubicBezTo>
                  <a:pt x="29" y="39"/>
                  <a:pt x="23" y="30"/>
                  <a:pt x="26" y="21"/>
                </a:cubicBezTo>
                <a:cubicBezTo>
                  <a:pt x="28" y="13"/>
                  <a:pt x="34" y="8"/>
                  <a:pt x="42" y="8"/>
                </a:cubicBezTo>
                <a:cubicBezTo>
                  <a:pt x="44" y="8"/>
                  <a:pt x="45" y="8"/>
                  <a:pt x="46" y="8"/>
                </a:cubicBezTo>
                <a:cubicBezTo>
                  <a:pt x="51" y="9"/>
                  <a:pt x="55" y="12"/>
                  <a:pt x="57" y="16"/>
                </a:cubicBezTo>
                <a:cubicBezTo>
                  <a:pt x="59" y="20"/>
                  <a:pt x="60" y="25"/>
                  <a:pt x="59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2974" tIns="46489" rIns="92974" bIns="46489" numCol="1" anchor="t" anchorCtr="0" compatLnSpc="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0" name="Freeform 22"/>
          <p:cNvSpPr>
            <a:spLocks noEditPoints="1"/>
          </p:cNvSpPr>
          <p:nvPr/>
        </p:nvSpPr>
        <p:spPr bwMode="black">
          <a:xfrm>
            <a:off x="5544876" y="535494"/>
            <a:ext cx="704436" cy="704253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82305" tIns="41153" rIns="82305" bIns="41153" numCol="1" anchor="t" anchorCtr="0" compatLnSpc="1"/>
          <a:lstStyle/>
          <a:p>
            <a:pPr defTabSz="913765"/>
            <a:endParaRPr lang="en-US" sz="1600">
              <a:solidFill>
                <a:srgbClr val="FFFFFF"/>
              </a:solidFill>
            </a:endParaRPr>
          </a:p>
        </p:txBody>
      </p:sp>
      <p:grpSp>
        <p:nvGrpSpPr>
          <p:cNvPr id="103" name="Group 12"/>
          <p:cNvGrpSpPr/>
          <p:nvPr/>
        </p:nvGrpSpPr>
        <p:grpSpPr>
          <a:xfrm>
            <a:off x="4447009" y="629052"/>
            <a:ext cx="524391" cy="482998"/>
            <a:chOff x="3145340" y="3977851"/>
            <a:chExt cx="1561741" cy="1438463"/>
          </a:xfrm>
        </p:grpSpPr>
        <p:sp>
          <p:nvSpPr>
            <p:cNvPr id="104" name="Rounded Rectangle 25"/>
            <p:cNvSpPr/>
            <p:nvPr/>
          </p:nvSpPr>
          <p:spPr bwMode="auto">
            <a:xfrm>
              <a:off x="3145340" y="3977851"/>
              <a:ext cx="1096461" cy="1438463"/>
            </a:xfrm>
            <a:custGeom>
              <a:avLst/>
              <a:gdLst/>
              <a:ahLst/>
              <a:cxnLst/>
              <a:rect l="l" t="t" r="r" b="b"/>
              <a:pathLst>
                <a:path w="1096461" h="1438463">
                  <a:moveTo>
                    <a:pt x="144675" y="1149113"/>
                  </a:moveTo>
                  <a:lnTo>
                    <a:pt x="951786" y="1149113"/>
                  </a:lnTo>
                  <a:cubicBezTo>
                    <a:pt x="1031688" y="1149113"/>
                    <a:pt x="1096461" y="1213886"/>
                    <a:pt x="1096461" y="1293788"/>
                  </a:cubicBezTo>
                  <a:lnTo>
                    <a:pt x="1096460" y="1293788"/>
                  </a:lnTo>
                  <a:cubicBezTo>
                    <a:pt x="1096460" y="1373690"/>
                    <a:pt x="1031687" y="1438463"/>
                    <a:pt x="951785" y="1438463"/>
                  </a:cubicBezTo>
                  <a:lnTo>
                    <a:pt x="144675" y="1438462"/>
                  </a:lnTo>
                  <a:cubicBezTo>
                    <a:pt x="64773" y="1438462"/>
                    <a:pt x="0" y="1373690"/>
                    <a:pt x="0" y="1293788"/>
                  </a:cubicBezTo>
                  <a:cubicBezTo>
                    <a:pt x="0" y="1213886"/>
                    <a:pt x="64773" y="1149113"/>
                    <a:pt x="144675" y="1149113"/>
                  </a:cubicBezTo>
                  <a:close/>
                  <a:moveTo>
                    <a:pt x="611408" y="766076"/>
                  </a:moveTo>
                  <a:lnTo>
                    <a:pt x="951786" y="766076"/>
                  </a:lnTo>
                  <a:cubicBezTo>
                    <a:pt x="1020656" y="766076"/>
                    <a:pt x="1078286" y="814197"/>
                    <a:pt x="1090107" y="879280"/>
                  </a:cubicBezTo>
                  <a:cubicBezTo>
                    <a:pt x="1040273" y="939975"/>
                    <a:pt x="964477" y="977987"/>
                    <a:pt x="879802" y="977987"/>
                  </a:cubicBezTo>
                  <a:cubicBezTo>
                    <a:pt x="749330" y="977987"/>
                    <a:pt x="639938" y="887737"/>
                    <a:pt x="611408" y="766076"/>
                  </a:cubicBezTo>
                  <a:close/>
                  <a:moveTo>
                    <a:pt x="144675" y="766076"/>
                  </a:moveTo>
                  <a:lnTo>
                    <a:pt x="502558" y="766076"/>
                  </a:lnTo>
                  <a:cubicBezTo>
                    <a:pt x="523936" y="897426"/>
                    <a:pt x="612925" y="1005884"/>
                    <a:pt x="732562" y="1055426"/>
                  </a:cubicBezTo>
                  <a:lnTo>
                    <a:pt x="144675" y="1055425"/>
                  </a:lnTo>
                  <a:cubicBezTo>
                    <a:pt x="64773" y="1055425"/>
                    <a:pt x="0" y="990653"/>
                    <a:pt x="0" y="910751"/>
                  </a:cubicBezTo>
                  <a:cubicBezTo>
                    <a:pt x="0" y="830849"/>
                    <a:pt x="64773" y="766076"/>
                    <a:pt x="144675" y="766076"/>
                  </a:cubicBezTo>
                  <a:close/>
                  <a:moveTo>
                    <a:pt x="879802" y="424272"/>
                  </a:moveTo>
                  <a:cubicBezTo>
                    <a:pt x="967807" y="424272"/>
                    <a:pt x="1046221" y="465333"/>
                    <a:pt x="1095979" y="530096"/>
                  </a:cubicBezTo>
                  <a:cubicBezTo>
                    <a:pt x="1095164" y="608903"/>
                    <a:pt x="1030889" y="672388"/>
                    <a:pt x="951785" y="672388"/>
                  </a:cubicBezTo>
                  <a:lnTo>
                    <a:pt x="605841" y="672388"/>
                  </a:lnTo>
                  <a:cubicBezTo>
                    <a:pt x="618878" y="532914"/>
                    <a:pt x="736652" y="424272"/>
                    <a:pt x="879802" y="424272"/>
                  </a:cubicBezTo>
                  <a:close/>
                  <a:moveTo>
                    <a:pt x="144675" y="383038"/>
                  </a:moveTo>
                  <a:lnTo>
                    <a:pt x="665036" y="383038"/>
                  </a:lnTo>
                  <a:cubicBezTo>
                    <a:pt x="570528" y="446944"/>
                    <a:pt x="506037" y="551865"/>
                    <a:pt x="498909" y="672388"/>
                  </a:cubicBezTo>
                  <a:lnTo>
                    <a:pt x="144675" y="672387"/>
                  </a:lnTo>
                  <a:cubicBezTo>
                    <a:pt x="64773" y="672387"/>
                    <a:pt x="0" y="607615"/>
                    <a:pt x="0" y="527713"/>
                  </a:cubicBezTo>
                  <a:cubicBezTo>
                    <a:pt x="0" y="447811"/>
                    <a:pt x="64773" y="383038"/>
                    <a:pt x="144675" y="383038"/>
                  </a:cubicBezTo>
                  <a:close/>
                  <a:moveTo>
                    <a:pt x="144675" y="0"/>
                  </a:moveTo>
                  <a:lnTo>
                    <a:pt x="951786" y="0"/>
                  </a:lnTo>
                  <a:cubicBezTo>
                    <a:pt x="1031688" y="0"/>
                    <a:pt x="1096461" y="64773"/>
                    <a:pt x="1096461" y="144675"/>
                  </a:cubicBezTo>
                  <a:lnTo>
                    <a:pt x="1096460" y="144675"/>
                  </a:lnTo>
                  <a:cubicBezTo>
                    <a:pt x="1096460" y="224577"/>
                    <a:pt x="1031687" y="289350"/>
                    <a:pt x="951785" y="289350"/>
                  </a:cubicBezTo>
                  <a:lnTo>
                    <a:pt x="144675" y="289349"/>
                  </a:lnTo>
                  <a:cubicBezTo>
                    <a:pt x="64773" y="289349"/>
                    <a:pt x="0" y="224577"/>
                    <a:pt x="0" y="144675"/>
                  </a:cubicBezTo>
                  <a:cubicBezTo>
                    <a:pt x="0" y="64773"/>
                    <a:pt x="64773" y="0"/>
                    <a:pt x="144675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45713" bIns="91427" numCol="1" spcCol="0" rtlCol="0" fromWordArt="0" anchor="b" anchorCtr="0" forceAA="0" compatLnSpc="1">
              <a:noAutofit/>
            </a:bodyPr>
            <a:lstStyle/>
            <a:p>
              <a:pPr algn="ctr" defTabSz="913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spc="-50" dirty="0" err="1">
                <a:ln>
                  <a:solidFill>
                    <a:schemeClr val="tx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Rectangle 16"/>
            <p:cNvSpPr/>
            <p:nvPr>
              <p:custDataLst>
                <p:tags r:id="rId10"/>
              </p:custDataLst>
            </p:nvPr>
          </p:nvSpPr>
          <p:spPr bwMode="auto">
            <a:xfrm>
              <a:off x="3672175" y="4325591"/>
              <a:ext cx="1034906" cy="1033310"/>
            </a:xfrm>
            <a:custGeom>
              <a:avLst/>
              <a:gdLst/>
              <a:ahLst/>
              <a:cxnLst/>
              <a:rect l="l" t="t" r="r" b="b"/>
              <a:pathLst>
                <a:path w="2524761" h="2520867">
                  <a:moveTo>
                    <a:pt x="861098" y="135728"/>
                  </a:moveTo>
                  <a:cubicBezTo>
                    <a:pt x="459918" y="135728"/>
                    <a:pt x="134697" y="460949"/>
                    <a:pt x="134697" y="862129"/>
                  </a:cubicBezTo>
                  <a:cubicBezTo>
                    <a:pt x="134697" y="1263309"/>
                    <a:pt x="459918" y="1588530"/>
                    <a:pt x="861098" y="1588530"/>
                  </a:cubicBezTo>
                  <a:cubicBezTo>
                    <a:pt x="1262278" y="1588530"/>
                    <a:pt x="1587499" y="1263309"/>
                    <a:pt x="1587499" y="862129"/>
                  </a:cubicBezTo>
                  <a:cubicBezTo>
                    <a:pt x="1587499" y="460949"/>
                    <a:pt x="1262278" y="135728"/>
                    <a:pt x="861098" y="135728"/>
                  </a:cubicBezTo>
                  <a:close/>
                  <a:moveTo>
                    <a:pt x="863544" y="0"/>
                  </a:moveTo>
                  <a:cubicBezTo>
                    <a:pt x="1340465" y="0"/>
                    <a:pt x="1727086" y="386416"/>
                    <a:pt x="1727086" y="863083"/>
                  </a:cubicBezTo>
                  <a:cubicBezTo>
                    <a:pt x="1727086" y="1054224"/>
                    <a:pt x="1664918" y="1230855"/>
                    <a:pt x="1558909" y="1373304"/>
                  </a:cubicBezTo>
                  <a:lnTo>
                    <a:pt x="1615378" y="1431553"/>
                  </a:lnTo>
                  <a:lnTo>
                    <a:pt x="1710026" y="1406070"/>
                  </a:lnTo>
                  <a:lnTo>
                    <a:pt x="2516606" y="2211204"/>
                  </a:lnTo>
                  <a:cubicBezTo>
                    <a:pt x="2553761" y="2325037"/>
                    <a:pt x="2466530" y="2580922"/>
                    <a:pt x="2202131" y="2508007"/>
                  </a:cubicBezTo>
                  <a:lnTo>
                    <a:pt x="1372102" y="1748324"/>
                  </a:lnTo>
                  <a:lnTo>
                    <a:pt x="1403192" y="1642624"/>
                  </a:lnTo>
                  <a:lnTo>
                    <a:pt x="1333120" y="1586803"/>
                  </a:lnTo>
                  <a:cubicBezTo>
                    <a:pt x="1198215" y="1675145"/>
                    <a:pt x="1036841" y="1726166"/>
                    <a:pt x="863544" y="1726166"/>
                  </a:cubicBezTo>
                  <a:cubicBezTo>
                    <a:pt x="386622" y="1726166"/>
                    <a:pt x="0" y="1339750"/>
                    <a:pt x="0" y="863083"/>
                  </a:cubicBezTo>
                  <a:cubicBezTo>
                    <a:pt x="0" y="386416"/>
                    <a:pt x="386622" y="0"/>
                    <a:pt x="863544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27" tIns="45713" rIns="45713" bIns="91427" numCol="1" spcCol="0" rtlCol="0" fromWordArt="0" anchor="b" anchorCtr="0" forceAA="0" compatLnSpc="1">
              <a:noAutofit/>
            </a:bodyPr>
            <a:lstStyle/>
            <a:p>
              <a:pPr algn="ctr" defTabSz="913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spc="-50" dirty="0" err="1">
                <a:ln>
                  <a:solidFill>
                    <a:schemeClr val="tx1">
                      <a:alpha val="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06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77792" y="1752055"/>
            <a:ext cx="1004824" cy="559387"/>
          </a:xfrm>
          <a:prstGeom prst="rect">
            <a:avLst/>
          </a:prstGeom>
          <a:noFill/>
        </p:spPr>
      </p:pic>
      <p:sp>
        <p:nvSpPr>
          <p:cNvPr id="115" name="Freeform 60"/>
          <p:cNvSpPr/>
          <p:nvPr>
            <p:custDataLst>
              <p:tags r:id="rId12"/>
            </p:custDataLst>
          </p:nvPr>
        </p:nvSpPr>
        <p:spPr bwMode="auto">
          <a:xfrm>
            <a:off x="8090190" y="587738"/>
            <a:ext cx="644373" cy="512750"/>
          </a:xfrm>
          <a:custGeom>
            <a:avLst/>
            <a:gdLst/>
            <a:ahLst/>
            <a:cxnLst/>
            <a:rect l="l" t="t" r="r" b="b"/>
            <a:pathLst>
              <a:path w="4250373" h="3382171">
                <a:moveTo>
                  <a:pt x="1629417" y="3012419"/>
                </a:moveTo>
                <a:cubicBezTo>
                  <a:pt x="1601799" y="3012419"/>
                  <a:pt x="1579412" y="3034807"/>
                  <a:pt x="1579411" y="3062425"/>
                </a:cubicBezTo>
                <a:cubicBezTo>
                  <a:pt x="1579412" y="3090043"/>
                  <a:pt x="1601799" y="3112430"/>
                  <a:pt x="1629417" y="3112430"/>
                </a:cubicBezTo>
                <a:lnTo>
                  <a:pt x="2622323" y="3112431"/>
                </a:lnTo>
                <a:cubicBezTo>
                  <a:pt x="2649941" y="3112431"/>
                  <a:pt x="2672329" y="3090043"/>
                  <a:pt x="2672329" y="3062425"/>
                </a:cubicBezTo>
                <a:lnTo>
                  <a:pt x="2672330" y="3062425"/>
                </a:lnTo>
                <a:cubicBezTo>
                  <a:pt x="2672330" y="3034807"/>
                  <a:pt x="2649942" y="3012419"/>
                  <a:pt x="2622324" y="3012419"/>
                </a:cubicBezTo>
                <a:close/>
                <a:moveTo>
                  <a:pt x="3267642" y="2095377"/>
                </a:moveTo>
                <a:cubicBezTo>
                  <a:pt x="3249756" y="2095377"/>
                  <a:pt x="3235256" y="2109877"/>
                  <a:pt x="3235256" y="2127763"/>
                </a:cubicBezTo>
                <a:lnTo>
                  <a:pt x="3235256" y="2279945"/>
                </a:lnTo>
                <a:cubicBezTo>
                  <a:pt x="3235256" y="2297831"/>
                  <a:pt x="3249756" y="2312331"/>
                  <a:pt x="3267642" y="2312331"/>
                </a:cubicBezTo>
                <a:lnTo>
                  <a:pt x="3397182" y="2312331"/>
                </a:lnTo>
                <a:cubicBezTo>
                  <a:pt x="3415068" y="2312331"/>
                  <a:pt x="3429568" y="2297831"/>
                  <a:pt x="3429568" y="2279945"/>
                </a:cubicBezTo>
                <a:lnTo>
                  <a:pt x="3429568" y="2127763"/>
                </a:lnTo>
                <a:cubicBezTo>
                  <a:pt x="3429568" y="2109877"/>
                  <a:pt x="3415068" y="2095377"/>
                  <a:pt x="3397182" y="2095377"/>
                </a:cubicBezTo>
                <a:close/>
                <a:moveTo>
                  <a:pt x="2939029" y="2095377"/>
                </a:moveTo>
                <a:cubicBezTo>
                  <a:pt x="2921143" y="2095377"/>
                  <a:pt x="2906643" y="2109877"/>
                  <a:pt x="2906643" y="2127763"/>
                </a:cubicBezTo>
                <a:lnTo>
                  <a:pt x="2906643" y="2279945"/>
                </a:lnTo>
                <a:cubicBezTo>
                  <a:pt x="2906643" y="2297831"/>
                  <a:pt x="2921143" y="2312331"/>
                  <a:pt x="2939029" y="2312331"/>
                </a:cubicBezTo>
                <a:lnTo>
                  <a:pt x="3068569" y="2312331"/>
                </a:lnTo>
                <a:cubicBezTo>
                  <a:pt x="3086455" y="2312331"/>
                  <a:pt x="3100955" y="2297831"/>
                  <a:pt x="3100955" y="2279945"/>
                </a:cubicBezTo>
                <a:lnTo>
                  <a:pt x="3100955" y="2127763"/>
                </a:lnTo>
                <a:cubicBezTo>
                  <a:pt x="3100955" y="2109877"/>
                  <a:pt x="3086455" y="2095377"/>
                  <a:pt x="3068569" y="2095377"/>
                </a:cubicBezTo>
                <a:close/>
                <a:moveTo>
                  <a:pt x="2615179" y="2095377"/>
                </a:moveTo>
                <a:cubicBezTo>
                  <a:pt x="2597293" y="2095377"/>
                  <a:pt x="2582793" y="2109877"/>
                  <a:pt x="2582793" y="2127763"/>
                </a:cubicBezTo>
                <a:lnTo>
                  <a:pt x="2582793" y="2279945"/>
                </a:lnTo>
                <a:cubicBezTo>
                  <a:pt x="2582793" y="2297831"/>
                  <a:pt x="2597293" y="2312331"/>
                  <a:pt x="2615179" y="2312331"/>
                </a:cubicBezTo>
                <a:lnTo>
                  <a:pt x="2744719" y="2312331"/>
                </a:lnTo>
                <a:cubicBezTo>
                  <a:pt x="2762605" y="2312331"/>
                  <a:pt x="2777105" y="2297831"/>
                  <a:pt x="2777105" y="2279945"/>
                </a:cubicBezTo>
                <a:lnTo>
                  <a:pt x="2777105" y="2127763"/>
                </a:lnTo>
                <a:cubicBezTo>
                  <a:pt x="2777105" y="2109877"/>
                  <a:pt x="2762605" y="2095377"/>
                  <a:pt x="2744719" y="2095377"/>
                </a:cubicBezTo>
                <a:close/>
                <a:moveTo>
                  <a:pt x="2615179" y="1784755"/>
                </a:moveTo>
                <a:cubicBezTo>
                  <a:pt x="2597293" y="1784755"/>
                  <a:pt x="2582793" y="1799255"/>
                  <a:pt x="2582793" y="1817141"/>
                </a:cubicBezTo>
                <a:lnTo>
                  <a:pt x="2582793" y="1969323"/>
                </a:lnTo>
                <a:cubicBezTo>
                  <a:pt x="2582793" y="1987209"/>
                  <a:pt x="2597293" y="2001709"/>
                  <a:pt x="2615179" y="2001709"/>
                </a:cubicBezTo>
                <a:lnTo>
                  <a:pt x="2744719" y="2001709"/>
                </a:lnTo>
                <a:cubicBezTo>
                  <a:pt x="2762605" y="2001709"/>
                  <a:pt x="2777105" y="1987209"/>
                  <a:pt x="2777105" y="1969323"/>
                </a:cubicBezTo>
                <a:lnTo>
                  <a:pt x="2777105" y="1817141"/>
                </a:lnTo>
                <a:cubicBezTo>
                  <a:pt x="2777105" y="1799255"/>
                  <a:pt x="2762605" y="1784755"/>
                  <a:pt x="2744719" y="1784755"/>
                </a:cubicBezTo>
                <a:close/>
                <a:moveTo>
                  <a:pt x="3267642" y="1784754"/>
                </a:moveTo>
                <a:cubicBezTo>
                  <a:pt x="3249756" y="1784754"/>
                  <a:pt x="3235256" y="1799254"/>
                  <a:pt x="3235256" y="1817140"/>
                </a:cubicBezTo>
                <a:lnTo>
                  <a:pt x="3235256" y="1969322"/>
                </a:lnTo>
                <a:cubicBezTo>
                  <a:pt x="3235256" y="1987208"/>
                  <a:pt x="3249756" y="2001708"/>
                  <a:pt x="3267642" y="2001708"/>
                </a:cubicBezTo>
                <a:lnTo>
                  <a:pt x="3397182" y="2001708"/>
                </a:lnTo>
                <a:cubicBezTo>
                  <a:pt x="3415068" y="2001708"/>
                  <a:pt x="3429568" y="1987208"/>
                  <a:pt x="3429568" y="1969322"/>
                </a:cubicBezTo>
                <a:lnTo>
                  <a:pt x="3429568" y="1817140"/>
                </a:lnTo>
                <a:cubicBezTo>
                  <a:pt x="3429568" y="1799254"/>
                  <a:pt x="3415068" y="1784754"/>
                  <a:pt x="3397182" y="1784754"/>
                </a:cubicBezTo>
                <a:close/>
                <a:moveTo>
                  <a:pt x="2939029" y="1784754"/>
                </a:moveTo>
                <a:cubicBezTo>
                  <a:pt x="2921143" y="1784754"/>
                  <a:pt x="2906643" y="1799254"/>
                  <a:pt x="2906643" y="1817140"/>
                </a:cubicBezTo>
                <a:lnTo>
                  <a:pt x="2906643" y="1969322"/>
                </a:lnTo>
                <a:cubicBezTo>
                  <a:pt x="2906643" y="1987208"/>
                  <a:pt x="2921143" y="2001708"/>
                  <a:pt x="2939029" y="2001708"/>
                </a:cubicBezTo>
                <a:lnTo>
                  <a:pt x="3068569" y="2001708"/>
                </a:lnTo>
                <a:cubicBezTo>
                  <a:pt x="3086455" y="2001708"/>
                  <a:pt x="3100955" y="1987208"/>
                  <a:pt x="3100955" y="1969322"/>
                </a:cubicBezTo>
                <a:lnTo>
                  <a:pt x="3100955" y="1817140"/>
                </a:lnTo>
                <a:cubicBezTo>
                  <a:pt x="3100955" y="1799254"/>
                  <a:pt x="3086455" y="1784754"/>
                  <a:pt x="3068569" y="1784754"/>
                </a:cubicBezTo>
                <a:close/>
                <a:moveTo>
                  <a:pt x="3267642" y="1474132"/>
                </a:moveTo>
                <a:cubicBezTo>
                  <a:pt x="3249756" y="1474132"/>
                  <a:pt x="3235256" y="1488632"/>
                  <a:pt x="3235256" y="1506518"/>
                </a:cubicBezTo>
                <a:lnTo>
                  <a:pt x="3235256" y="1658700"/>
                </a:lnTo>
                <a:cubicBezTo>
                  <a:pt x="3235256" y="1676586"/>
                  <a:pt x="3249756" y="1691086"/>
                  <a:pt x="3267642" y="1691086"/>
                </a:cubicBezTo>
                <a:lnTo>
                  <a:pt x="3397182" y="1691086"/>
                </a:lnTo>
                <a:cubicBezTo>
                  <a:pt x="3415068" y="1691086"/>
                  <a:pt x="3429568" y="1676586"/>
                  <a:pt x="3429568" y="1658700"/>
                </a:cubicBezTo>
                <a:lnTo>
                  <a:pt x="3429568" y="1506518"/>
                </a:lnTo>
                <a:cubicBezTo>
                  <a:pt x="3429568" y="1488632"/>
                  <a:pt x="3415068" y="1474132"/>
                  <a:pt x="3397182" y="1474132"/>
                </a:cubicBezTo>
                <a:close/>
                <a:moveTo>
                  <a:pt x="2630648" y="1474132"/>
                </a:moveTo>
                <a:cubicBezTo>
                  <a:pt x="2612762" y="1474132"/>
                  <a:pt x="2598262" y="1488632"/>
                  <a:pt x="2598262" y="1506518"/>
                </a:cubicBezTo>
                <a:lnTo>
                  <a:pt x="2598262" y="1658700"/>
                </a:lnTo>
                <a:cubicBezTo>
                  <a:pt x="2598262" y="1676586"/>
                  <a:pt x="2612762" y="1691086"/>
                  <a:pt x="2630648" y="1691086"/>
                </a:cubicBezTo>
                <a:lnTo>
                  <a:pt x="2760188" y="1691086"/>
                </a:lnTo>
                <a:cubicBezTo>
                  <a:pt x="2778074" y="1691086"/>
                  <a:pt x="2792574" y="1676586"/>
                  <a:pt x="2792574" y="1658700"/>
                </a:cubicBezTo>
                <a:lnTo>
                  <a:pt x="2792574" y="1506518"/>
                </a:lnTo>
                <a:cubicBezTo>
                  <a:pt x="2792574" y="1488632"/>
                  <a:pt x="2778074" y="1474132"/>
                  <a:pt x="2760188" y="1474132"/>
                </a:cubicBezTo>
                <a:close/>
                <a:moveTo>
                  <a:pt x="2939029" y="1474131"/>
                </a:moveTo>
                <a:cubicBezTo>
                  <a:pt x="2921143" y="1474131"/>
                  <a:pt x="2906643" y="1488631"/>
                  <a:pt x="2906643" y="1506517"/>
                </a:cubicBezTo>
                <a:lnTo>
                  <a:pt x="2906643" y="1658699"/>
                </a:lnTo>
                <a:cubicBezTo>
                  <a:pt x="2906643" y="1676585"/>
                  <a:pt x="2921143" y="1691085"/>
                  <a:pt x="2939029" y="1691085"/>
                </a:cubicBezTo>
                <a:lnTo>
                  <a:pt x="3068569" y="1691085"/>
                </a:lnTo>
                <a:cubicBezTo>
                  <a:pt x="3086455" y="1691085"/>
                  <a:pt x="3100955" y="1676585"/>
                  <a:pt x="3100955" y="1658699"/>
                </a:cubicBezTo>
                <a:lnTo>
                  <a:pt x="3100955" y="1506517"/>
                </a:lnTo>
                <a:cubicBezTo>
                  <a:pt x="3100955" y="1488631"/>
                  <a:pt x="3086455" y="1474131"/>
                  <a:pt x="3068569" y="1474131"/>
                </a:cubicBezTo>
                <a:close/>
                <a:moveTo>
                  <a:pt x="858205" y="1474131"/>
                </a:moveTo>
                <a:cubicBezTo>
                  <a:pt x="781049" y="1474131"/>
                  <a:pt x="718502" y="1536678"/>
                  <a:pt x="718502" y="1613834"/>
                </a:cubicBezTo>
                <a:lnTo>
                  <a:pt x="718502" y="2172628"/>
                </a:lnTo>
                <a:cubicBezTo>
                  <a:pt x="718502" y="2249784"/>
                  <a:pt x="781049" y="2312331"/>
                  <a:pt x="858205" y="2312331"/>
                </a:cubicBezTo>
                <a:lnTo>
                  <a:pt x="2214720" y="2312331"/>
                </a:lnTo>
                <a:cubicBezTo>
                  <a:pt x="2291876" y="2312331"/>
                  <a:pt x="2354423" y="2249784"/>
                  <a:pt x="2354423" y="2172628"/>
                </a:cubicBezTo>
                <a:lnTo>
                  <a:pt x="2354423" y="1613834"/>
                </a:lnTo>
                <a:cubicBezTo>
                  <a:pt x="2354423" y="1536678"/>
                  <a:pt x="2291876" y="1474131"/>
                  <a:pt x="2214720" y="1474131"/>
                </a:cubicBezTo>
                <a:close/>
                <a:moveTo>
                  <a:pt x="3252670" y="531326"/>
                </a:moveTo>
                <a:lnTo>
                  <a:pt x="2791662" y="532461"/>
                </a:lnTo>
                <a:cubicBezTo>
                  <a:pt x="2776208" y="539697"/>
                  <a:pt x="2767714" y="547454"/>
                  <a:pt x="2777626" y="582042"/>
                </a:cubicBezTo>
                <a:cubicBezTo>
                  <a:pt x="2832794" y="794356"/>
                  <a:pt x="2631505" y="1060272"/>
                  <a:pt x="2716779" y="1233013"/>
                </a:cubicBezTo>
                <a:lnTo>
                  <a:pt x="3199247" y="1239182"/>
                </a:lnTo>
                <a:cubicBezTo>
                  <a:pt x="3176593" y="924732"/>
                  <a:pt x="3363213" y="712407"/>
                  <a:pt x="3252670" y="531326"/>
                </a:cubicBezTo>
                <a:close/>
                <a:moveTo>
                  <a:pt x="722896" y="104775"/>
                </a:moveTo>
                <a:cubicBezTo>
                  <a:pt x="695620" y="104775"/>
                  <a:pt x="673508" y="126887"/>
                  <a:pt x="673508" y="154163"/>
                </a:cubicBezTo>
                <a:lnTo>
                  <a:pt x="673508" y="424618"/>
                </a:lnTo>
                <a:cubicBezTo>
                  <a:pt x="673508" y="451894"/>
                  <a:pt x="695620" y="474006"/>
                  <a:pt x="722896" y="474006"/>
                </a:cubicBezTo>
                <a:lnTo>
                  <a:pt x="1944920" y="474006"/>
                </a:lnTo>
                <a:cubicBezTo>
                  <a:pt x="1972196" y="474006"/>
                  <a:pt x="1994308" y="451894"/>
                  <a:pt x="1994308" y="424618"/>
                </a:cubicBezTo>
                <a:lnTo>
                  <a:pt x="1994308" y="154163"/>
                </a:lnTo>
                <a:cubicBezTo>
                  <a:pt x="1994308" y="126887"/>
                  <a:pt x="1972196" y="104775"/>
                  <a:pt x="1944920" y="104775"/>
                </a:cubicBezTo>
                <a:close/>
                <a:moveTo>
                  <a:pt x="576301" y="0"/>
                </a:moveTo>
                <a:lnTo>
                  <a:pt x="2091515" y="0"/>
                </a:lnTo>
                <a:cubicBezTo>
                  <a:pt x="2134272" y="0"/>
                  <a:pt x="2168933" y="34661"/>
                  <a:pt x="2168933" y="77418"/>
                </a:cubicBezTo>
                <a:lnTo>
                  <a:pt x="2168933" y="501363"/>
                </a:lnTo>
                <a:cubicBezTo>
                  <a:pt x="2168933" y="544120"/>
                  <a:pt x="2134272" y="578781"/>
                  <a:pt x="2091515" y="578781"/>
                </a:cubicBezTo>
                <a:lnTo>
                  <a:pt x="1535838" y="578781"/>
                </a:lnTo>
                <a:lnTo>
                  <a:pt x="1535838" y="1055029"/>
                </a:lnTo>
                <a:lnTo>
                  <a:pt x="2583508" y="1055029"/>
                </a:lnTo>
                <a:cubicBezTo>
                  <a:pt x="2644625" y="820055"/>
                  <a:pt x="2711359" y="699743"/>
                  <a:pt x="2623911" y="475594"/>
                </a:cubicBezTo>
                <a:cubicBezTo>
                  <a:pt x="2627086" y="446489"/>
                  <a:pt x="2646929" y="434054"/>
                  <a:pt x="2671536" y="426381"/>
                </a:cubicBezTo>
                <a:lnTo>
                  <a:pt x="3339873" y="418443"/>
                </a:lnTo>
                <a:cubicBezTo>
                  <a:pt x="3409342" y="582642"/>
                  <a:pt x="3445837" y="673041"/>
                  <a:pt x="3327420" y="1055029"/>
                </a:cubicBezTo>
                <a:lnTo>
                  <a:pt x="3504752" y="1055029"/>
                </a:lnTo>
                <a:cubicBezTo>
                  <a:pt x="3635058" y="1055029"/>
                  <a:pt x="3740691" y="1160662"/>
                  <a:pt x="3740691" y="1290968"/>
                </a:cubicBezTo>
                <a:lnTo>
                  <a:pt x="3740691" y="2355081"/>
                </a:lnTo>
                <a:lnTo>
                  <a:pt x="4250373" y="2862875"/>
                </a:lnTo>
                <a:lnTo>
                  <a:pt x="4245831" y="2862877"/>
                </a:lnTo>
                <a:lnTo>
                  <a:pt x="4245831" y="3282908"/>
                </a:lnTo>
                <a:cubicBezTo>
                  <a:pt x="4245831" y="3337729"/>
                  <a:pt x="4201389" y="3382171"/>
                  <a:pt x="4146568" y="3382171"/>
                </a:cubicBezTo>
                <a:lnTo>
                  <a:pt x="102439" y="3382171"/>
                </a:lnTo>
                <a:cubicBezTo>
                  <a:pt x="47618" y="3382171"/>
                  <a:pt x="3176" y="3337729"/>
                  <a:pt x="3176" y="3282908"/>
                </a:cubicBezTo>
                <a:lnTo>
                  <a:pt x="3176" y="2864144"/>
                </a:lnTo>
                <a:lnTo>
                  <a:pt x="0" y="2864145"/>
                </a:lnTo>
                <a:lnTo>
                  <a:pt x="3176" y="2861005"/>
                </a:lnTo>
                <a:lnTo>
                  <a:pt x="3176" y="2860970"/>
                </a:lnTo>
                <a:lnTo>
                  <a:pt x="3211" y="2860970"/>
                </a:lnTo>
                <a:lnTo>
                  <a:pt x="511811" y="2358050"/>
                </a:lnTo>
                <a:lnTo>
                  <a:pt x="512859" y="2358048"/>
                </a:lnTo>
                <a:lnTo>
                  <a:pt x="512859" y="1290968"/>
                </a:lnTo>
                <a:cubicBezTo>
                  <a:pt x="512859" y="1160662"/>
                  <a:pt x="618492" y="1055029"/>
                  <a:pt x="748798" y="1055029"/>
                </a:cubicBezTo>
                <a:lnTo>
                  <a:pt x="1131978" y="1055029"/>
                </a:lnTo>
                <a:lnTo>
                  <a:pt x="1131978" y="578781"/>
                </a:lnTo>
                <a:lnTo>
                  <a:pt x="576301" y="578781"/>
                </a:lnTo>
                <a:cubicBezTo>
                  <a:pt x="533544" y="578781"/>
                  <a:pt x="498883" y="544120"/>
                  <a:pt x="498883" y="501363"/>
                </a:cubicBezTo>
                <a:lnTo>
                  <a:pt x="498883" y="77418"/>
                </a:lnTo>
                <a:cubicBezTo>
                  <a:pt x="498883" y="34661"/>
                  <a:pt x="533544" y="0"/>
                  <a:pt x="57630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rot="0" spcFirstLastPara="0" vertOverflow="overflow" horzOverflow="overflow" vert="horz" wrap="square" lIns="91427" tIns="45713" rIns="91427" bIns="45713" numCol="1" spcCol="0" rtlCol="0" fromWordArt="0" anchor="t" anchorCtr="0" forceAA="0" compatLnSpc="1">
            <a:noAutofit/>
          </a:bodyPr>
          <a:lstStyle/>
          <a:p>
            <a:pPr marL="0" marR="0" lvl="0" indent="0" algn="ctr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116" name="Picture 10" descr="C:\Users\Jonahs\Dropbox\Projects SCOTT\MEET Windows Azure\source\Background\tile-icon-network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984" y="3943770"/>
            <a:ext cx="868439" cy="868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5" descr="C:\Users\Jonahs\Dropbox\Projects SCOTT\MEET Windows Azure\source\Background\tile-icon-CD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528" y="1597530"/>
            <a:ext cx="868439" cy="868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Freeform 107"/>
          <p:cNvSpPr>
            <a:spLocks noChangeAspect="1" noEditPoints="1"/>
          </p:cNvSpPr>
          <p:nvPr/>
        </p:nvSpPr>
        <p:spPr bwMode="black">
          <a:xfrm>
            <a:off x="6724275" y="1755610"/>
            <a:ext cx="856140" cy="710359"/>
          </a:xfrm>
          <a:custGeom>
            <a:avLst/>
            <a:gdLst>
              <a:gd name="T0" fmla="*/ 312 w 400"/>
              <a:gd name="T1" fmla="*/ 44 h 332"/>
              <a:gd name="T2" fmla="*/ 270 w 400"/>
              <a:gd name="T3" fmla="*/ 55 h 332"/>
              <a:gd name="T4" fmla="*/ 183 w 400"/>
              <a:gd name="T5" fmla="*/ 0 h 332"/>
              <a:gd name="T6" fmla="*/ 87 w 400"/>
              <a:gd name="T7" fmla="*/ 92 h 332"/>
              <a:gd name="T8" fmla="*/ 34 w 400"/>
              <a:gd name="T9" fmla="*/ 132 h 332"/>
              <a:gd name="T10" fmla="*/ 0 w 400"/>
              <a:gd name="T11" fmla="*/ 176 h 332"/>
              <a:gd name="T12" fmla="*/ 45 w 400"/>
              <a:gd name="T13" fmla="*/ 221 h 332"/>
              <a:gd name="T14" fmla="*/ 156 w 400"/>
              <a:gd name="T15" fmla="*/ 221 h 332"/>
              <a:gd name="T16" fmla="*/ 139 w 400"/>
              <a:gd name="T17" fmla="*/ 255 h 332"/>
              <a:gd name="T18" fmla="*/ 165 w 400"/>
              <a:gd name="T19" fmla="*/ 255 h 332"/>
              <a:gd name="T20" fmla="*/ 115 w 400"/>
              <a:gd name="T21" fmla="*/ 332 h 332"/>
              <a:gd name="T22" fmla="*/ 247 w 400"/>
              <a:gd name="T23" fmla="*/ 238 h 332"/>
              <a:gd name="T24" fmla="*/ 204 w 400"/>
              <a:gd name="T25" fmla="*/ 238 h 332"/>
              <a:gd name="T26" fmla="*/ 220 w 400"/>
              <a:gd name="T27" fmla="*/ 221 h 332"/>
              <a:gd name="T28" fmla="*/ 312 w 400"/>
              <a:gd name="T29" fmla="*/ 221 h 332"/>
              <a:gd name="T30" fmla="*/ 400 w 400"/>
              <a:gd name="T31" fmla="*/ 133 h 332"/>
              <a:gd name="T32" fmla="*/ 312 w 400"/>
              <a:gd name="T33" fmla="*/ 44 h 332"/>
              <a:gd name="T34" fmla="*/ 312 w 400"/>
              <a:gd name="T35" fmla="*/ 190 h 332"/>
              <a:gd name="T36" fmla="*/ 45 w 400"/>
              <a:gd name="T37" fmla="*/ 190 h 332"/>
              <a:gd name="T38" fmla="*/ 31 w 400"/>
              <a:gd name="T39" fmla="*/ 176 h 332"/>
              <a:gd name="T40" fmla="*/ 45 w 400"/>
              <a:gd name="T41" fmla="*/ 162 h 332"/>
              <a:gd name="T42" fmla="*/ 46 w 400"/>
              <a:gd name="T43" fmla="*/ 162 h 332"/>
              <a:gd name="T44" fmla="*/ 59 w 400"/>
              <a:gd name="T45" fmla="*/ 162 h 332"/>
              <a:gd name="T46" fmla="*/ 61 w 400"/>
              <a:gd name="T47" fmla="*/ 149 h 332"/>
              <a:gd name="T48" fmla="*/ 94 w 400"/>
              <a:gd name="T49" fmla="*/ 122 h 332"/>
              <a:gd name="T50" fmla="*/ 100 w 400"/>
              <a:gd name="T51" fmla="*/ 123 h 332"/>
              <a:gd name="T52" fmla="*/ 121 w 400"/>
              <a:gd name="T53" fmla="*/ 126 h 332"/>
              <a:gd name="T54" fmla="*/ 118 w 400"/>
              <a:gd name="T55" fmla="*/ 105 h 332"/>
              <a:gd name="T56" fmla="*/ 118 w 400"/>
              <a:gd name="T57" fmla="*/ 96 h 332"/>
              <a:gd name="T58" fmla="*/ 183 w 400"/>
              <a:gd name="T59" fmla="*/ 31 h 332"/>
              <a:gd name="T60" fmla="*/ 246 w 400"/>
              <a:gd name="T61" fmla="*/ 83 h 332"/>
              <a:gd name="T62" fmla="*/ 252 w 400"/>
              <a:gd name="T63" fmla="*/ 111 h 332"/>
              <a:gd name="T64" fmla="*/ 272 w 400"/>
              <a:gd name="T65" fmla="*/ 91 h 332"/>
              <a:gd name="T66" fmla="*/ 312 w 400"/>
              <a:gd name="T67" fmla="*/ 76 h 332"/>
              <a:gd name="T68" fmla="*/ 369 w 400"/>
              <a:gd name="T69" fmla="*/ 133 h 332"/>
              <a:gd name="T70" fmla="*/ 312 w 400"/>
              <a:gd name="T71" fmla="*/ 19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00" h="332">
                <a:moveTo>
                  <a:pt x="312" y="44"/>
                </a:moveTo>
                <a:cubicBezTo>
                  <a:pt x="297" y="44"/>
                  <a:pt x="282" y="48"/>
                  <a:pt x="270" y="55"/>
                </a:cubicBezTo>
                <a:cubicBezTo>
                  <a:pt x="254" y="22"/>
                  <a:pt x="220" y="0"/>
                  <a:pt x="183" y="0"/>
                </a:cubicBezTo>
                <a:cubicBezTo>
                  <a:pt x="131" y="0"/>
                  <a:pt x="89" y="41"/>
                  <a:pt x="87" y="92"/>
                </a:cubicBezTo>
                <a:cubicBezTo>
                  <a:pt x="63" y="94"/>
                  <a:pt x="43" y="110"/>
                  <a:pt x="34" y="132"/>
                </a:cubicBezTo>
                <a:cubicBezTo>
                  <a:pt x="15" y="137"/>
                  <a:pt x="0" y="155"/>
                  <a:pt x="0" y="176"/>
                </a:cubicBezTo>
                <a:cubicBezTo>
                  <a:pt x="0" y="201"/>
                  <a:pt x="20" y="221"/>
                  <a:pt x="45" y="221"/>
                </a:cubicBezTo>
                <a:cubicBezTo>
                  <a:pt x="156" y="221"/>
                  <a:pt x="156" y="221"/>
                  <a:pt x="156" y="221"/>
                </a:cubicBezTo>
                <a:cubicBezTo>
                  <a:pt x="139" y="255"/>
                  <a:pt x="139" y="255"/>
                  <a:pt x="139" y="255"/>
                </a:cubicBezTo>
                <a:cubicBezTo>
                  <a:pt x="165" y="255"/>
                  <a:pt x="165" y="255"/>
                  <a:pt x="165" y="255"/>
                </a:cubicBezTo>
                <a:cubicBezTo>
                  <a:pt x="115" y="332"/>
                  <a:pt x="115" y="332"/>
                  <a:pt x="115" y="332"/>
                </a:cubicBezTo>
                <a:cubicBezTo>
                  <a:pt x="247" y="238"/>
                  <a:pt x="247" y="238"/>
                  <a:pt x="247" y="238"/>
                </a:cubicBezTo>
                <a:cubicBezTo>
                  <a:pt x="204" y="238"/>
                  <a:pt x="204" y="238"/>
                  <a:pt x="204" y="238"/>
                </a:cubicBezTo>
                <a:cubicBezTo>
                  <a:pt x="220" y="221"/>
                  <a:pt x="220" y="221"/>
                  <a:pt x="220" y="221"/>
                </a:cubicBezTo>
                <a:cubicBezTo>
                  <a:pt x="312" y="221"/>
                  <a:pt x="312" y="221"/>
                  <a:pt x="312" y="221"/>
                </a:cubicBezTo>
                <a:cubicBezTo>
                  <a:pt x="360" y="221"/>
                  <a:pt x="400" y="181"/>
                  <a:pt x="400" y="133"/>
                </a:cubicBezTo>
                <a:cubicBezTo>
                  <a:pt x="400" y="84"/>
                  <a:pt x="360" y="44"/>
                  <a:pt x="312" y="44"/>
                </a:cubicBezTo>
                <a:close/>
                <a:moveTo>
                  <a:pt x="312" y="190"/>
                </a:moveTo>
                <a:cubicBezTo>
                  <a:pt x="45" y="190"/>
                  <a:pt x="45" y="190"/>
                  <a:pt x="45" y="190"/>
                </a:cubicBezTo>
                <a:cubicBezTo>
                  <a:pt x="37" y="190"/>
                  <a:pt x="31" y="183"/>
                  <a:pt x="31" y="176"/>
                </a:cubicBezTo>
                <a:cubicBezTo>
                  <a:pt x="31" y="168"/>
                  <a:pt x="37" y="162"/>
                  <a:pt x="45" y="162"/>
                </a:cubicBezTo>
                <a:cubicBezTo>
                  <a:pt x="45" y="162"/>
                  <a:pt x="45" y="162"/>
                  <a:pt x="46" y="162"/>
                </a:cubicBezTo>
                <a:cubicBezTo>
                  <a:pt x="59" y="162"/>
                  <a:pt x="59" y="162"/>
                  <a:pt x="59" y="162"/>
                </a:cubicBezTo>
                <a:cubicBezTo>
                  <a:pt x="61" y="149"/>
                  <a:pt x="61" y="149"/>
                  <a:pt x="61" y="149"/>
                </a:cubicBezTo>
                <a:cubicBezTo>
                  <a:pt x="65" y="134"/>
                  <a:pt x="78" y="122"/>
                  <a:pt x="94" y="122"/>
                </a:cubicBezTo>
                <a:cubicBezTo>
                  <a:pt x="96" y="122"/>
                  <a:pt x="98" y="122"/>
                  <a:pt x="100" y="123"/>
                </a:cubicBezTo>
                <a:cubicBezTo>
                  <a:pt x="121" y="126"/>
                  <a:pt x="121" y="126"/>
                  <a:pt x="121" y="126"/>
                </a:cubicBezTo>
                <a:cubicBezTo>
                  <a:pt x="118" y="105"/>
                  <a:pt x="118" y="105"/>
                  <a:pt x="118" y="105"/>
                </a:cubicBezTo>
                <a:cubicBezTo>
                  <a:pt x="118" y="102"/>
                  <a:pt x="118" y="99"/>
                  <a:pt x="118" y="96"/>
                </a:cubicBezTo>
                <a:cubicBezTo>
                  <a:pt x="118" y="60"/>
                  <a:pt x="147" y="31"/>
                  <a:pt x="183" y="31"/>
                </a:cubicBezTo>
                <a:cubicBezTo>
                  <a:pt x="214" y="31"/>
                  <a:pt x="240" y="53"/>
                  <a:pt x="246" y="83"/>
                </a:cubicBezTo>
                <a:cubicBezTo>
                  <a:pt x="252" y="111"/>
                  <a:pt x="252" y="111"/>
                  <a:pt x="252" y="111"/>
                </a:cubicBezTo>
                <a:cubicBezTo>
                  <a:pt x="272" y="91"/>
                  <a:pt x="272" y="91"/>
                  <a:pt x="272" y="91"/>
                </a:cubicBezTo>
                <a:cubicBezTo>
                  <a:pt x="283" y="81"/>
                  <a:pt x="297" y="76"/>
                  <a:pt x="312" y="76"/>
                </a:cubicBezTo>
                <a:cubicBezTo>
                  <a:pt x="343" y="76"/>
                  <a:pt x="369" y="101"/>
                  <a:pt x="369" y="133"/>
                </a:cubicBezTo>
                <a:cubicBezTo>
                  <a:pt x="369" y="164"/>
                  <a:pt x="343" y="190"/>
                  <a:pt x="312" y="1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3203" tIns="46604" rIns="93203" bIns="46604" numCol="1" anchor="t" anchorCtr="0" compatLnSpc="1"/>
          <a:lstStyle/>
          <a:p>
            <a:pPr defTabSz="1242695"/>
            <a:endParaRPr lang="en-US" sz="2400">
              <a:solidFill>
                <a:srgbClr val="505050"/>
              </a:solidFill>
            </a:endParaRPr>
          </a:p>
        </p:txBody>
      </p:sp>
      <p:sp>
        <p:nvSpPr>
          <p:cNvPr id="119" name="Freeform 74"/>
          <p:cNvSpPr>
            <a:spLocks noEditPoints="1"/>
          </p:cNvSpPr>
          <p:nvPr/>
        </p:nvSpPr>
        <p:spPr bwMode="black">
          <a:xfrm>
            <a:off x="3057831" y="1755610"/>
            <a:ext cx="597604" cy="511186"/>
          </a:xfrm>
          <a:custGeom>
            <a:avLst/>
            <a:gdLst>
              <a:gd name="T0" fmla="*/ 2004 w 2444"/>
              <a:gd name="T1" fmla="*/ 326 h 2090"/>
              <a:gd name="T2" fmla="*/ 1774 w 2444"/>
              <a:gd name="T3" fmla="*/ 391 h 2090"/>
              <a:gd name="T4" fmla="*/ 1156 w 2444"/>
              <a:gd name="T5" fmla="*/ 0 h 2090"/>
              <a:gd name="T6" fmla="*/ 489 w 2444"/>
              <a:gd name="T7" fmla="*/ 535 h 2090"/>
              <a:gd name="T8" fmla="*/ 350 w 2444"/>
              <a:gd name="T9" fmla="*/ 506 h 2090"/>
              <a:gd name="T10" fmla="*/ 0 w 2444"/>
              <a:gd name="T11" fmla="*/ 856 h 2090"/>
              <a:gd name="T12" fmla="*/ 350 w 2444"/>
              <a:gd name="T13" fmla="*/ 1206 h 2090"/>
              <a:gd name="T14" fmla="*/ 2004 w 2444"/>
              <a:gd name="T15" fmla="*/ 1206 h 2090"/>
              <a:gd name="T16" fmla="*/ 2444 w 2444"/>
              <a:gd name="T17" fmla="*/ 766 h 2090"/>
              <a:gd name="T18" fmla="*/ 2004 w 2444"/>
              <a:gd name="T19" fmla="*/ 326 h 2090"/>
              <a:gd name="T20" fmla="*/ 1590 w 2444"/>
              <a:gd name="T21" fmla="*/ 1326 h 2090"/>
              <a:gd name="T22" fmla="*/ 1465 w 2444"/>
              <a:gd name="T23" fmla="*/ 1326 h 2090"/>
              <a:gd name="T24" fmla="*/ 1465 w 2444"/>
              <a:gd name="T25" fmla="*/ 1743 h 2090"/>
              <a:gd name="T26" fmla="*/ 1222 w 2444"/>
              <a:gd name="T27" fmla="*/ 1934 h 2090"/>
              <a:gd name="T28" fmla="*/ 980 w 2444"/>
              <a:gd name="T29" fmla="*/ 1743 h 2090"/>
              <a:gd name="T30" fmla="*/ 980 w 2444"/>
              <a:gd name="T31" fmla="*/ 1326 h 2090"/>
              <a:gd name="T32" fmla="*/ 854 w 2444"/>
              <a:gd name="T33" fmla="*/ 1326 h 2090"/>
              <a:gd name="T34" fmla="*/ 854 w 2444"/>
              <a:gd name="T35" fmla="*/ 1656 h 2090"/>
              <a:gd name="T36" fmla="*/ 666 w 2444"/>
              <a:gd name="T37" fmla="*/ 1656 h 2090"/>
              <a:gd name="T38" fmla="*/ 1222 w 2444"/>
              <a:gd name="T39" fmla="*/ 2090 h 2090"/>
              <a:gd name="T40" fmla="*/ 1779 w 2444"/>
              <a:gd name="T41" fmla="*/ 1656 h 2090"/>
              <a:gd name="T42" fmla="*/ 1590 w 2444"/>
              <a:gd name="T43" fmla="*/ 1656 h 2090"/>
              <a:gd name="T44" fmla="*/ 1590 w 2444"/>
              <a:gd name="T45" fmla="*/ 1326 h 20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444" h="2090">
                <a:moveTo>
                  <a:pt x="2004" y="326"/>
                </a:moveTo>
                <a:cubicBezTo>
                  <a:pt x="1920" y="326"/>
                  <a:pt x="1841" y="350"/>
                  <a:pt x="1774" y="391"/>
                </a:cubicBezTo>
                <a:cubicBezTo>
                  <a:pt x="1665" y="160"/>
                  <a:pt x="1429" y="0"/>
                  <a:pt x="1156" y="0"/>
                </a:cubicBezTo>
                <a:cubicBezTo>
                  <a:pt x="830" y="0"/>
                  <a:pt x="557" y="229"/>
                  <a:pt x="489" y="535"/>
                </a:cubicBezTo>
                <a:cubicBezTo>
                  <a:pt x="446" y="516"/>
                  <a:pt x="399" y="506"/>
                  <a:pt x="350" y="506"/>
                </a:cubicBezTo>
                <a:cubicBezTo>
                  <a:pt x="157" y="506"/>
                  <a:pt x="0" y="663"/>
                  <a:pt x="0" y="856"/>
                </a:cubicBezTo>
                <a:cubicBezTo>
                  <a:pt x="0" y="1049"/>
                  <a:pt x="157" y="1206"/>
                  <a:pt x="350" y="1206"/>
                </a:cubicBezTo>
                <a:cubicBezTo>
                  <a:pt x="2004" y="1206"/>
                  <a:pt x="2004" y="1206"/>
                  <a:pt x="2004" y="1206"/>
                </a:cubicBezTo>
                <a:cubicBezTo>
                  <a:pt x="2247" y="1206"/>
                  <a:pt x="2444" y="1009"/>
                  <a:pt x="2444" y="766"/>
                </a:cubicBezTo>
                <a:cubicBezTo>
                  <a:pt x="2444" y="523"/>
                  <a:pt x="2247" y="326"/>
                  <a:pt x="2004" y="326"/>
                </a:cubicBezTo>
                <a:close/>
                <a:moveTo>
                  <a:pt x="1590" y="1326"/>
                </a:moveTo>
                <a:cubicBezTo>
                  <a:pt x="1465" y="1326"/>
                  <a:pt x="1465" y="1326"/>
                  <a:pt x="1465" y="1326"/>
                </a:cubicBezTo>
                <a:cubicBezTo>
                  <a:pt x="1465" y="1743"/>
                  <a:pt x="1465" y="1743"/>
                  <a:pt x="1465" y="1743"/>
                </a:cubicBezTo>
                <a:cubicBezTo>
                  <a:pt x="1222" y="1934"/>
                  <a:pt x="1222" y="1934"/>
                  <a:pt x="1222" y="1934"/>
                </a:cubicBezTo>
                <a:cubicBezTo>
                  <a:pt x="980" y="1743"/>
                  <a:pt x="980" y="1743"/>
                  <a:pt x="980" y="1743"/>
                </a:cubicBezTo>
                <a:cubicBezTo>
                  <a:pt x="980" y="1326"/>
                  <a:pt x="980" y="1326"/>
                  <a:pt x="980" y="1326"/>
                </a:cubicBezTo>
                <a:cubicBezTo>
                  <a:pt x="854" y="1326"/>
                  <a:pt x="854" y="1326"/>
                  <a:pt x="854" y="1326"/>
                </a:cubicBezTo>
                <a:cubicBezTo>
                  <a:pt x="854" y="1656"/>
                  <a:pt x="854" y="1656"/>
                  <a:pt x="854" y="1656"/>
                </a:cubicBezTo>
                <a:cubicBezTo>
                  <a:pt x="666" y="1656"/>
                  <a:pt x="666" y="1656"/>
                  <a:pt x="666" y="1656"/>
                </a:cubicBezTo>
                <a:cubicBezTo>
                  <a:pt x="1222" y="2090"/>
                  <a:pt x="1222" y="2090"/>
                  <a:pt x="1222" y="2090"/>
                </a:cubicBezTo>
                <a:cubicBezTo>
                  <a:pt x="1779" y="1656"/>
                  <a:pt x="1779" y="1656"/>
                  <a:pt x="1779" y="1656"/>
                </a:cubicBezTo>
                <a:cubicBezTo>
                  <a:pt x="1590" y="1656"/>
                  <a:pt x="1590" y="1656"/>
                  <a:pt x="1590" y="1656"/>
                </a:cubicBezTo>
                <a:lnTo>
                  <a:pt x="1590" y="13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</a:endParaRPr>
          </a:p>
        </p:txBody>
      </p:sp>
      <p:pic>
        <p:nvPicPr>
          <p:cNvPr id="120" name="Picture 24"/>
          <p:cNvPicPr>
            <a:picLocks noChangeAspect="1"/>
          </p:cNvPicPr>
          <p:nvPr/>
        </p:nvPicPr>
        <p:blipFill>
          <a:blip r:embed="rId15" cstate="screen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12251" y="1781047"/>
            <a:ext cx="833051" cy="4603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" name="Picture 8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87419" y="653400"/>
            <a:ext cx="529852" cy="530919"/>
          </a:xfrm>
          <a:prstGeom prst="rect">
            <a:avLst/>
          </a:prstGeom>
        </p:spPr>
      </p:pic>
      <p:pic>
        <p:nvPicPr>
          <p:cNvPr id="122" name="Picture 7" descr="\\MAGNUM\Projects\Microsoft\Cloud Power FY12\Design\Icons\PNGs\Pooled.png"/>
          <p:cNvPicPr>
            <a:picLocks noChangeAspect="1" noChangeArrowheads="1"/>
          </p:cNvPicPr>
          <p:nvPr/>
        </p:nvPicPr>
        <p:blipFill>
          <a:blip r:embed="rId18" cstate="print">
            <a:lum bright="100000"/>
          </a:blip>
          <a:stretch>
            <a:fillRect/>
          </a:stretch>
        </p:blipFill>
        <p:spPr bwMode="auto">
          <a:xfrm>
            <a:off x="5377792" y="2693691"/>
            <a:ext cx="980374" cy="980374"/>
          </a:xfrm>
          <a:prstGeom prst="rect">
            <a:avLst/>
          </a:prstGeom>
          <a:noFill/>
        </p:spPr>
      </p:pic>
      <p:pic>
        <p:nvPicPr>
          <p:cNvPr id="123" name="Picture 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70" y="2769716"/>
            <a:ext cx="949350" cy="833256"/>
          </a:xfrm>
          <a:prstGeom prst="rect">
            <a:avLst/>
          </a:prstGeom>
        </p:spPr>
      </p:pic>
      <p:pic>
        <p:nvPicPr>
          <p:cNvPr id="124" name="Picture 12"/>
          <p:cNvPicPr>
            <a:picLocks noChangeAspect="1"/>
          </p:cNvPicPr>
          <p:nvPr/>
        </p:nvPicPr>
        <p:blipFill>
          <a:blip r:embed="rId2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9634" y="4030609"/>
            <a:ext cx="1008112" cy="601110"/>
          </a:xfrm>
          <a:prstGeom prst="rect">
            <a:avLst/>
          </a:prstGeom>
        </p:spPr>
      </p:pic>
      <p:sp>
        <p:nvSpPr>
          <p:cNvPr id="127" name="Freeform 46"/>
          <p:cNvSpPr>
            <a:spLocks noChangeAspect="1" noEditPoints="1"/>
          </p:cNvSpPr>
          <p:nvPr/>
        </p:nvSpPr>
        <p:spPr bwMode="auto">
          <a:xfrm>
            <a:off x="8000528" y="2886284"/>
            <a:ext cx="864095" cy="621279"/>
          </a:xfrm>
          <a:custGeom>
            <a:avLst/>
            <a:gdLst>
              <a:gd name="T0" fmla="*/ 166 w 1209"/>
              <a:gd name="T1" fmla="*/ 697 h 870"/>
              <a:gd name="T2" fmla="*/ 170 w 1209"/>
              <a:gd name="T3" fmla="*/ 523 h 870"/>
              <a:gd name="T4" fmla="*/ 726 w 1209"/>
              <a:gd name="T5" fmla="*/ 493 h 870"/>
              <a:gd name="T6" fmla="*/ 610 w 1209"/>
              <a:gd name="T7" fmla="*/ 457 h 870"/>
              <a:gd name="T8" fmla="*/ 509 w 1209"/>
              <a:gd name="T9" fmla="*/ 445 h 870"/>
              <a:gd name="T10" fmla="*/ 504 w 1209"/>
              <a:gd name="T11" fmla="*/ 356 h 870"/>
              <a:gd name="T12" fmla="*/ 561 w 1209"/>
              <a:gd name="T13" fmla="*/ 352 h 870"/>
              <a:gd name="T14" fmla="*/ 570 w 1209"/>
              <a:gd name="T15" fmla="*/ 287 h 870"/>
              <a:gd name="T16" fmla="*/ 594 w 1209"/>
              <a:gd name="T17" fmla="*/ 250 h 870"/>
              <a:gd name="T18" fmla="*/ 550 w 1209"/>
              <a:gd name="T19" fmla="*/ 198 h 870"/>
              <a:gd name="T20" fmla="*/ 479 w 1209"/>
              <a:gd name="T21" fmla="*/ 173 h 870"/>
              <a:gd name="T22" fmla="*/ 374 w 1209"/>
              <a:gd name="T23" fmla="*/ 117 h 870"/>
              <a:gd name="T24" fmla="*/ 335 w 1209"/>
              <a:gd name="T25" fmla="*/ 251 h 870"/>
              <a:gd name="T26" fmla="*/ 418 w 1209"/>
              <a:gd name="T27" fmla="*/ 362 h 870"/>
              <a:gd name="T28" fmla="*/ 472 w 1209"/>
              <a:gd name="T29" fmla="*/ 456 h 870"/>
              <a:gd name="T30" fmla="*/ 563 w 1209"/>
              <a:gd name="T31" fmla="*/ 541 h 870"/>
              <a:gd name="T32" fmla="*/ 410 w 1209"/>
              <a:gd name="T33" fmla="*/ 526 h 870"/>
              <a:gd name="T34" fmla="*/ 229 w 1209"/>
              <a:gd name="T35" fmla="*/ 530 h 870"/>
              <a:gd name="T36" fmla="*/ 599 w 1209"/>
              <a:gd name="T37" fmla="*/ 122 h 870"/>
              <a:gd name="T38" fmla="*/ 683 w 1209"/>
              <a:gd name="T39" fmla="*/ 167 h 870"/>
              <a:gd name="T40" fmla="*/ 723 w 1209"/>
              <a:gd name="T41" fmla="*/ 94 h 870"/>
              <a:gd name="T42" fmla="*/ 605 w 1209"/>
              <a:gd name="T43" fmla="*/ 75 h 870"/>
              <a:gd name="T44" fmla="*/ 717 w 1209"/>
              <a:gd name="T45" fmla="*/ 694 h 870"/>
              <a:gd name="T46" fmla="*/ 678 w 1209"/>
              <a:gd name="T47" fmla="*/ 770 h 870"/>
              <a:gd name="T48" fmla="*/ 577 w 1209"/>
              <a:gd name="T49" fmla="*/ 729 h 870"/>
              <a:gd name="T50" fmla="*/ 371 w 1209"/>
              <a:gd name="T51" fmla="*/ 807 h 870"/>
              <a:gd name="T52" fmla="*/ 132 w 1209"/>
              <a:gd name="T53" fmla="*/ 653 h 870"/>
              <a:gd name="T54" fmla="*/ 104 w 1209"/>
              <a:gd name="T55" fmla="*/ 647 h 870"/>
              <a:gd name="T56" fmla="*/ 82 w 1209"/>
              <a:gd name="T57" fmla="*/ 638 h 870"/>
              <a:gd name="T58" fmla="*/ 68 w 1209"/>
              <a:gd name="T59" fmla="*/ 626 h 870"/>
              <a:gd name="T60" fmla="*/ 61 w 1209"/>
              <a:gd name="T61" fmla="*/ 614 h 870"/>
              <a:gd name="T62" fmla="*/ 61 w 1209"/>
              <a:gd name="T63" fmla="*/ 602 h 870"/>
              <a:gd name="T64" fmla="*/ 64 w 1209"/>
              <a:gd name="T65" fmla="*/ 589 h 870"/>
              <a:gd name="T66" fmla="*/ 72 w 1209"/>
              <a:gd name="T67" fmla="*/ 571 h 870"/>
              <a:gd name="T68" fmla="*/ 85 w 1209"/>
              <a:gd name="T69" fmla="*/ 551 h 870"/>
              <a:gd name="T70" fmla="*/ 137 w 1209"/>
              <a:gd name="T71" fmla="*/ 495 h 870"/>
              <a:gd name="T72" fmla="*/ 61 w 1209"/>
              <a:gd name="T73" fmla="*/ 486 h 870"/>
              <a:gd name="T74" fmla="*/ 42 w 1209"/>
              <a:gd name="T75" fmla="*/ 508 h 870"/>
              <a:gd name="T76" fmla="*/ 26 w 1209"/>
              <a:gd name="T77" fmla="*/ 530 h 870"/>
              <a:gd name="T78" fmla="*/ 15 w 1209"/>
              <a:gd name="T79" fmla="*/ 550 h 870"/>
              <a:gd name="T80" fmla="*/ 7 w 1209"/>
              <a:gd name="T81" fmla="*/ 570 h 870"/>
              <a:gd name="T82" fmla="*/ 2 w 1209"/>
              <a:gd name="T83" fmla="*/ 590 h 870"/>
              <a:gd name="T84" fmla="*/ 0 w 1209"/>
              <a:gd name="T85" fmla="*/ 609 h 870"/>
              <a:gd name="T86" fmla="*/ 3 w 1209"/>
              <a:gd name="T87" fmla="*/ 627 h 870"/>
              <a:gd name="T88" fmla="*/ 143 w 1209"/>
              <a:gd name="T89" fmla="*/ 705 h 870"/>
              <a:gd name="T90" fmla="*/ 1181 w 1209"/>
              <a:gd name="T91" fmla="*/ 176 h 870"/>
              <a:gd name="T92" fmla="*/ 1175 w 1209"/>
              <a:gd name="T93" fmla="*/ 167 h 870"/>
              <a:gd name="T94" fmla="*/ 1166 w 1209"/>
              <a:gd name="T95" fmla="*/ 156 h 870"/>
              <a:gd name="T96" fmla="*/ 1137 w 1209"/>
              <a:gd name="T97" fmla="*/ 134 h 870"/>
              <a:gd name="T98" fmla="*/ 995 w 1209"/>
              <a:gd name="T99" fmla="*/ 167 h 870"/>
              <a:gd name="T100" fmla="*/ 1117 w 1209"/>
              <a:gd name="T101" fmla="*/ 192 h 870"/>
              <a:gd name="T102" fmla="*/ 1127 w 1209"/>
              <a:gd name="T103" fmla="*/ 202 h 870"/>
              <a:gd name="T104" fmla="*/ 1131 w 1209"/>
              <a:gd name="T105" fmla="*/ 212 h 870"/>
              <a:gd name="T106" fmla="*/ 1131 w 1209"/>
              <a:gd name="T107" fmla="*/ 220 h 870"/>
              <a:gd name="T108" fmla="*/ 1130 w 1209"/>
              <a:gd name="T109" fmla="*/ 229 h 870"/>
              <a:gd name="T110" fmla="*/ 1126 w 1209"/>
              <a:gd name="T111" fmla="*/ 241 h 870"/>
              <a:gd name="T112" fmla="*/ 1121 w 1209"/>
              <a:gd name="T113" fmla="*/ 253 h 870"/>
              <a:gd name="T114" fmla="*/ 1096 w 1209"/>
              <a:gd name="T115" fmla="*/ 287 h 870"/>
              <a:gd name="T116" fmla="*/ 1048 w 1209"/>
              <a:gd name="T117" fmla="*/ 336 h 870"/>
              <a:gd name="T118" fmla="*/ 1058 w 1209"/>
              <a:gd name="T119" fmla="*/ 405 h 8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9" h="870">
                <a:moveTo>
                  <a:pt x="1058" y="111"/>
                </a:moveTo>
                <a:cubicBezTo>
                  <a:pt x="1058" y="111"/>
                  <a:pt x="1058" y="111"/>
                  <a:pt x="1058" y="111"/>
                </a:cubicBezTo>
                <a:moveTo>
                  <a:pt x="419" y="548"/>
                </a:moveTo>
                <a:cubicBezTo>
                  <a:pt x="419" y="548"/>
                  <a:pt x="446" y="628"/>
                  <a:pt x="421" y="697"/>
                </a:cubicBezTo>
                <a:cubicBezTo>
                  <a:pt x="396" y="767"/>
                  <a:pt x="313" y="828"/>
                  <a:pt x="294" y="828"/>
                </a:cubicBezTo>
                <a:cubicBezTo>
                  <a:pt x="274" y="828"/>
                  <a:pt x="191" y="767"/>
                  <a:pt x="166" y="697"/>
                </a:cubicBezTo>
                <a:cubicBezTo>
                  <a:pt x="141" y="628"/>
                  <a:pt x="168" y="548"/>
                  <a:pt x="168" y="548"/>
                </a:cubicBezTo>
                <a:cubicBezTo>
                  <a:pt x="168" y="548"/>
                  <a:pt x="201" y="562"/>
                  <a:pt x="235" y="553"/>
                </a:cubicBezTo>
                <a:cubicBezTo>
                  <a:pt x="268" y="545"/>
                  <a:pt x="294" y="522"/>
                  <a:pt x="294" y="522"/>
                </a:cubicBezTo>
                <a:cubicBezTo>
                  <a:pt x="294" y="522"/>
                  <a:pt x="319" y="545"/>
                  <a:pt x="352" y="553"/>
                </a:cubicBezTo>
                <a:cubicBezTo>
                  <a:pt x="386" y="562"/>
                  <a:pt x="419" y="548"/>
                  <a:pt x="419" y="548"/>
                </a:cubicBezTo>
                <a:close/>
                <a:moveTo>
                  <a:pt x="170" y="523"/>
                </a:moveTo>
                <a:cubicBezTo>
                  <a:pt x="164" y="495"/>
                  <a:pt x="161" y="465"/>
                  <a:pt x="161" y="435"/>
                </a:cubicBezTo>
                <a:cubicBezTo>
                  <a:pt x="161" y="195"/>
                  <a:pt x="356" y="0"/>
                  <a:pt x="596" y="0"/>
                </a:cubicBezTo>
                <a:cubicBezTo>
                  <a:pt x="801" y="0"/>
                  <a:pt x="973" y="143"/>
                  <a:pt x="1019" y="334"/>
                </a:cubicBezTo>
                <a:cubicBezTo>
                  <a:pt x="1016" y="337"/>
                  <a:pt x="1012" y="339"/>
                  <a:pt x="1009" y="342"/>
                </a:cubicBezTo>
                <a:cubicBezTo>
                  <a:pt x="939" y="397"/>
                  <a:pt x="844" y="452"/>
                  <a:pt x="736" y="499"/>
                </a:cubicBezTo>
                <a:cubicBezTo>
                  <a:pt x="732" y="497"/>
                  <a:pt x="729" y="495"/>
                  <a:pt x="726" y="493"/>
                </a:cubicBezTo>
                <a:cubicBezTo>
                  <a:pt x="717" y="484"/>
                  <a:pt x="704" y="474"/>
                  <a:pt x="696" y="470"/>
                </a:cubicBezTo>
                <a:cubicBezTo>
                  <a:pt x="688" y="467"/>
                  <a:pt x="682" y="461"/>
                  <a:pt x="682" y="457"/>
                </a:cubicBezTo>
                <a:cubicBezTo>
                  <a:pt x="682" y="457"/>
                  <a:pt x="682" y="457"/>
                  <a:pt x="676" y="454"/>
                </a:cubicBezTo>
                <a:cubicBezTo>
                  <a:pt x="671" y="451"/>
                  <a:pt x="671" y="451"/>
                  <a:pt x="671" y="451"/>
                </a:cubicBezTo>
                <a:cubicBezTo>
                  <a:pt x="665" y="449"/>
                  <a:pt x="653" y="448"/>
                  <a:pt x="644" y="448"/>
                </a:cubicBezTo>
                <a:cubicBezTo>
                  <a:pt x="636" y="448"/>
                  <a:pt x="620" y="452"/>
                  <a:pt x="610" y="457"/>
                </a:cubicBezTo>
                <a:cubicBezTo>
                  <a:pt x="599" y="461"/>
                  <a:pt x="586" y="464"/>
                  <a:pt x="582" y="464"/>
                </a:cubicBezTo>
                <a:cubicBezTo>
                  <a:pt x="578" y="464"/>
                  <a:pt x="568" y="464"/>
                  <a:pt x="560" y="464"/>
                </a:cubicBezTo>
                <a:cubicBezTo>
                  <a:pt x="560" y="464"/>
                  <a:pt x="560" y="464"/>
                  <a:pt x="550" y="464"/>
                </a:cubicBezTo>
                <a:cubicBezTo>
                  <a:pt x="541" y="464"/>
                  <a:pt x="541" y="464"/>
                  <a:pt x="541" y="464"/>
                </a:cubicBezTo>
                <a:cubicBezTo>
                  <a:pt x="532" y="464"/>
                  <a:pt x="520" y="457"/>
                  <a:pt x="515" y="447"/>
                </a:cubicBezTo>
                <a:cubicBezTo>
                  <a:pt x="515" y="447"/>
                  <a:pt x="515" y="447"/>
                  <a:pt x="509" y="445"/>
                </a:cubicBezTo>
                <a:cubicBezTo>
                  <a:pt x="503" y="444"/>
                  <a:pt x="503" y="444"/>
                  <a:pt x="503" y="444"/>
                </a:cubicBezTo>
                <a:cubicBezTo>
                  <a:pt x="491" y="438"/>
                  <a:pt x="483" y="428"/>
                  <a:pt x="485" y="422"/>
                </a:cubicBezTo>
                <a:cubicBezTo>
                  <a:pt x="488" y="416"/>
                  <a:pt x="489" y="407"/>
                  <a:pt x="488" y="403"/>
                </a:cubicBezTo>
                <a:cubicBezTo>
                  <a:pt x="487" y="399"/>
                  <a:pt x="488" y="391"/>
                  <a:pt x="489" y="386"/>
                </a:cubicBezTo>
                <a:cubicBezTo>
                  <a:pt x="491" y="381"/>
                  <a:pt x="492" y="373"/>
                  <a:pt x="493" y="367"/>
                </a:cubicBezTo>
                <a:cubicBezTo>
                  <a:pt x="493" y="362"/>
                  <a:pt x="499" y="357"/>
                  <a:pt x="504" y="356"/>
                </a:cubicBezTo>
                <a:cubicBezTo>
                  <a:pt x="510" y="355"/>
                  <a:pt x="519" y="354"/>
                  <a:pt x="524" y="354"/>
                </a:cubicBezTo>
                <a:cubicBezTo>
                  <a:pt x="529" y="354"/>
                  <a:pt x="534" y="358"/>
                  <a:pt x="535" y="362"/>
                </a:cubicBezTo>
                <a:cubicBezTo>
                  <a:pt x="536" y="366"/>
                  <a:pt x="539" y="370"/>
                  <a:pt x="541" y="370"/>
                </a:cubicBezTo>
                <a:cubicBezTo>
                  <a:pt x="543" y="370"/>
                  <a:pt x="547" y="370"/>
                  <a:pt x="549" y="370"/>
                </a:cubicBezTo>
                <a:cubicBezTo>
                  <a:pt x="552" y="370"/>
                  <a:pt x="557" y="366"/>
                  <a:pt x="560" y="362"/>
                </a:cubicBezTo>
                <a:cubicBezTo>
                  <a:pt x="563" y="358"/>
                  <a:pt x="563" y="353"/>
                  <a:pt x="561" y="352"/>
                </a:cubicBezTo>
                <a:cubicBezTo>
                  <a:pt x="558" y="350"/>
                  <a:pt x="554" y="346"/>
                  <a:pt x="551" y="342"/>
                </a:cubicBezTo>
                <a:cubicBezTo>
                  <a:pt x="549" y="339"/>
                  <a:pt x="547" y="334"/>
                  <a:pt x="548" y="332"/>
                </a:cubicBezTo>
                <a:cubicBezTo>
                  <a:pt x="548" y="332"/>
                  <a:pt x="548" y="332"/>
                  <a:pt x="548" y="327"/>
                </a:cubicBezTo>
                <a:cubicBezTo>
                  <a:pt x="548" y="322"/>
                  <a:pt x="548" y="322"/>
                  <a:pt x="548" y="322"/>
                </a:cubicBezTo>
                <a:cubicBezTo>
                  <a:pt x="558" y="313"/>
                  <a:pt x="565" y="304"/>
                  <a:pt x="565" y="302"/>
                </a:cubicBezTo>
                <a:cubicBezTo>
                  <a:pt x="565" y="300"/>
                  <a:pt x="567" y="293"/>
                  <a:pt x="570" y="287"/>
                </a:cubicBezTo>
                <a:cubicBezTo>
                  <a:pt x="573" y="281"/>
                  <a:pt x="567" y="275"/>
                  <a:pt x="558" y="274"/>
                </a:cubicBezTo>
                <a:cubicBezTo>
                  <a:pt x="558" y="274"/>
                  <a:pt x="558" y="274"/>
                  <a:pt x="584" y="274"/>
                </a:cubicBezTo>
                <a:cubicBezTo>
                  <a:pt x="611" y="274"/>
                  <a:pt x="611" y="274"/>
                  <a:pt x="611" y="274"/>
                </a:cubicBezTo>
                <a:cubicBezTo>
                  <a:pt x="617" y="271"/>
                  <a:pt x="623" y="267"/>
                  <a:pt x="625" y="264"/>
                </a:cubicBezTo>
                <a:cubicBezTo>
                  <a:pt x="626" y="262"/>
                  <a:pt x="623" y="259"/>
                  <a:pt x="617" y="257"/>
                </a:cubicBezTo>
                <a:cubicBezTo>
                  <a:pt x="611" y="256"/>
                  <a:pt x="601" y="253"/>
                  <a:pt x="594" y="250"/>
                </a:cubicBezTo>
                <a:cubicBezTo>
                  <a:pt x="586" y="247"/>
                  <a:pt x="581" y="240"/>
                  <a:pt x="581" y="235"/>
                </a:cubicBezTo>
                <a:cubicBezTo>
                  <a:pt x="582" y="230"/>
                  <a:pt x="581" y="220"/>
                  <a:pt x="580" y="213"/>
                </a:cubicBezTo>
                <a:cubicBezTo>
                  <a:pt x="579" y="206"/>
                  <a:pt x="576" y="201"/>
                  <a:pt x="572" y="203"/>
                </a:cubicBezTo>
                <a:cubicBezTo>
                  <a:pt x="568" y="204"/>
                  <a:pt x="559" y="207"/>
                  <a:pt x="550" y="209"/>
                </a:cubicBezTo>
                <a:cubicBezTo>
                  <a:pt x="550" y="209"/>
                  <a:pt x="550" y="209"/>
                  <a:pt x="550" y="203"/>
                </a:cubicBezTo>
                <a:cubicBezTo>
                  <a:pt x="550" y="198"/>
                  <a:pt x="550" y="198"/>
                  <a:pt x="550" y="198"/>
                </a:cubicBezTo>
                <a:cubicBezTo>
                  <a:pt x="559" y="192"/>
                  <a:pt x="565" y="183"/>
                  <a:pt x="565" y="179"/>
                </a:cubicBezTo>
                <a:cubicBezTo>
                  <a:pt x="565" y="176"/>
                  <a:pt x="559" y="173"/>
                  <a:pt x="551" y="173"/>
                </a:cubicBezTo>
                <a:cubicBezTo>
                  <a:pt x="544" y="173"/>
                  <a:pt x="530" y="175"/>
                  <a:pt x="521" y="179"/>
                </a:cubicBezTo>
                <a:cubicBezTo>
                  <a:pt x="512" y="182"/>
                  <a:pt x="500" y="185"/>
                  <a:pt x="495" y="185"/>
                </a:cubicBezTo>
                <a:cubicBezTo>
                  <a:pt x="489" y="185"/>
                  <a:pt x="484" y="179"/>
                  <a:pt x="484" y="173"/>
                </a:cubicBezTo>
                <a:cubicBezTo>
                  <a:pt x="484" y="173"/>
                  <a:pt x="484" y="173"/>
                  <a:pt x="479" y="173"/>
                </a:cubicBezTo>
                <a:cubicBezTo>
                  <a:pt x="473" y="173"/>
                  <a:pt x="473" y="173"/>
                  <a:pt x="473" y="173"/>
                </a:cubicBezTo>
                <a:cubicBezTo>
                  <a:pt x="473" y="164"/>
                  <a:pt x="476" y="149"/>
                  <a:pt x="479" y="140"/>
                </a:cubicBezTo>
                <a:cubicBezTo>
                  <a:pt x="482" y="130"/>
                  <a:pt x="482" y="114"/>
                  <a:pt x="479" y="104"/>
                </a:cubicBezTo>
                <a:cubicBezTo>
                  <a:pt x="476" y="93"/>
                  <a:pt x="462" y="87"/>
                  <a:pt x="448" y="89"/>
                </a:cubicBezTo>
                <a:cubicBezTo>
                  <a:pt x="434" y="92"/>
                  <a:pt x="412" y="98"/>
                  <a:pt x="400" y="104"/>
                </a:cubicBezTo>
                <a:cubicBezTo>
                  <a:pt x="394" y="107"/>
                  <a:pt x="385" y="111"/>
                  <a:pt x="374" y="117"/>
                </a:cubicBezTo>
                <a:cubicBezTo>
                  <a:pt x="346" y="136"/>
                  <a:pt x="320" y="159"/>
                  <a:pt x="298" y="186"/>
                </a:cubicBezTo>
                <a:cubicBezTo>
                  <a:pt x="299" y="186"/>
                  <a:pt x="300" y="186"/>
                  <a:pt x="301" y="186"/>
                </a:cubicBezTo>
                <a:cubicBezTo>
                  <a:pt x="306" y="186"/>
                  <a:pt x="317" y="188"/>
                  <a:pt x="326" y="191"/>
                </a:cubicBezTo>
                <a:cubicBezTo>
                  <a:pt x="336" y="193"/>
                  <a:pt x="343" y="198"/>
                  <a:pt x="343" y="203"/>
                </a:cubicBezTo>
                <a:cubicBezTo>
                  <a:pt x="343" y="207"/>
                  <a:pt x="343" y="217"/>
                  <a:pt x="343" y="225"/>
                </a:cubicBezTo>
                <a:cubicBezTo>
                  <a:pt x="343" y="233"/>
                  <a:pt x="340" y="245"/>
                  <a:pt x="335" y="251"/>
                </a:cubicBezTo>
                <a:cubicBezTo>
                  <a:pt x="330" y="258"/>
                  <a:pt x="330" y="269"/>
                  <a:pt x="335" y="275"/>
                </a:cubicBezTo>
                <a:cubicBezTo>
                  <a:pt x="340" y="281"/>
                  <a:pt x="343" y="293"/>
                  <a:pt x="343" y="302"/>
                </a:cubicBezTo>
                <a:cubicBezTo>
                  <a:pt x="343" y="311"/>
                  <a:pt x="348" y="324"/>
                  <a:pt x="354" y="330"/>
                </a:cubicBezTo>
                <a:cubicBezTo>
                  <a:pt x="359" y="337"/>
                  <a:pt x="370" y="345"/>
                  <a:pt x="377" y="348"/>
                </a:cubicBezTo>
                <a:cubicBezTo>
                  <a:pt x="384" y="352"/>
                  <a:pt x="395" y="354"/>
                  <a:pt x="401" y="354"/>
                </a:cubicBezTo>
                <a:cubicBezTo>
                  <a:pt x="406" y="354"/>
                  <a:pt x="414" y="358"/>
                  <a:pt x="418" y="362"/>
                </a:cubicBezTo>
                <a:cubicBezTo>
                  <a:pt x="421" y="366"/>
                  <a:pt x="424" y="376"/>
                  <a:pt x="424" y="383"/>
                </a:cubicBezTo>
                <a:cubicBezTo>
                  <a:pt x="424" y="390"/>
                  <a:pt x="426" y="401"/>
                  <a:pt x="429" y="408"/>
                </a:cubicBezTo>
                <a:cubicBezTo>
                  <a:pt x="432" y="414"/>
                  <a:pt x="434" y="422"/>
                  <a:pt x="434" y="424"/>
                </a:cubicBezTo>
                <a:cubicBezTo>
                  <a:pt x="434" y="426"/>
                  <a:pt x="437" y="432"/>
                  <a:pt x="442" y="437"/>
                </a:cubicBezTo>
                <a:cubicBezTo>
                  <a:pt x="447" y="442"/>
                  <a:pt x="452" y="445"/>
                  <a:pt x="454" y="445"/>
                </a:cubicBezTo>
                <a:cubicBezTo>
                  <a:pt x="456" y="445"/>
                  <a:pt x="464" y="450"/>
                  <a:pt x="472" y="456"/>
                </a:cubicBezTo>
                <a:cubicBezTo>
                  <a:pt x="480" y="461"/>
                  <a:pt x="488" y="470"/>
                  <a:pt x="491" y="475"/>
                </a:cubicBezTo>
                <a:cubicBezTo>
                  <a:pt x="494" y="479"/>
                  <a:pt x="499" y="483"/>
                  <a:pt x="503" y="483"/>
                </a:cubicBezTo>
                <a:cubicBezTo>
                  <a:pt x="507" y="483"/>
                  <a:pt x="515" y="486"/>
                  <a:pt x="519" y="490"/>
                </a:cubicBezTo>
                <a:cubicBezTo>
                  <a:pt x="524" y="494"/>
                  <a:pt x="536" y="497"/>
                  <a:pt x="546" y="497"/>
                </a:cubicBezTo>
                <a:cubicBezTo>
                  <a:pt x="555" y="497"/>
                  <a:pt x="563" y="504"/>
                  <a:pt x="563" y="513"/>
                </a:cubicBezTo>
                <a:cubicBezTo>
                  <a:pt x="563" y="522"/>
                  <a:pt x="563" y="535"/>
                  <a:pt x="563" y="541"/>
                </a:cubicBezTo>
                <a:cubicBezTo>
                  <a:pt x="563" y="547"/>
                  <a:pt x="563" y="557"/>
                  <a:pt x="563" y="564"/>
                </a:cubicBezTo>
                <a:cubicBezTo>
                  <a:pt x="563" y="565"/>
                  <a:pt x="564" y="566"/>
                  <a:pt x="564" y="566"/>
                </a:cubicBezTo>
                <a:cubicBezTo>
                  <a:pt x="526" y="579"/>
                  <a:pt x="490" y="590"/>
                  <a:pt x="454" y="599"/>
                </a:cubicBezTo>
                <a:cubicBezTo>
                  <a:pt x="451" y="566"/>
                  <a:pt x="443" y="542"/>
                  <a:pt x="442" y="540"/>
                </a:cubicBezTo>
                <a:cubicBezTo>
                  <a:pt x="434" y="516"/>
                  <a:pt x="434" y="516"/>
                  <a:pt x="434" y="516"/>
                </a:cubicBezTo>
                <a:cubicBezTo>
                  <a:pt x="410" y="526"/>
                  <a:pt x="410" y="526"/>
                  <a:pt x="410" y="526"/>
                </a:cubicBezTo>
                <a:cubicBezTo>
                  <a:pt x="410" y="526"/>
                  <a:pt x="394" y="532"/>
                  <a:pt x="376" y="532"/>
                </a:cubicBezTo>
                <a:cubicBezTo>
                  <a:pt x="370" y="532"/>
                  <a:pt x="364" y="532"/>
                  <a:pt x="358" y="530"/>
                </a:cubicBezTo>
                <a:cubicBezTo>
                  <a:pt x="331" y="523"/>
                  <a:pt x="310" y="504"/>
                  <a:pt x="309" y="504"/>
                </a:cubicBezTo>
                <a:cubicBezTo>
                  <a:pt x="294" y="490"/>
                  <a:pt x="294" y="490"/>
                  <a:pt x="294" y="490"/>
                </a:cubicBezTo>
                <a:cubicBezTo>
                  <a:pt x="278" y="504"/>
                  <a:pt x="278" y="504"/>
                  <a:pt x="278" y="504"/>
                </a:cubicBezTo>
                <a:cubicBezTo>
                  <a:pt x="278" y="504"/>
                  <a:pt x="256" y="523"/>
                  <a:pt x="229" y="530"/>
                </a:cubicBezTo>
                <a:cubicBezTo>
                  <a:pt x="223" y="532"/>
                  <a:pt x="218" y="532"/>
                  <a:pt x="211" y="532"/>
                </a:cubicBezTo>
                <a:cubicBezTo>
                  <a:pt x="193" y="532"/>
                  <a:pt x="177" y="526"/>
                  <a:pt x="177" y="526"/>
                </a:cubicBezTo>
                <a:lnTo>
                  <a:pt x="170" y="523"/>
                </a:lnTo>
                <a:close/>
                <a:moveTo>
                  <a:pt x="586" y="111"/>
                </a:moveTo>
                <a:cubicBezTo>
                  <a:pt x="586" y="111"/>
                  <a:pt x="586" y="111"/>
                  <a:pt x="590" y="114"/>
                </a:cubicBezTo>
                <a:cubicBezTo>
                  <a:pt x="594" y="118"/>
                  <a:pt x="596" y="120"/>
                  <a:pt x="599" y="122"/>
                </a:cubicBezTo>
                <a:cubicBezTo>
                  <a:pt x="602" y="124"/>
                  <a:pt x="608" y="129"/>
                  <a:pt x="611" y="131"/>
                </a:cubicBezTo>
                <a:cubicBezTo>
                  <a:pt x="615" y="134"/>
                  <a:pt x="623" y="141"/>
                  <a:pt x="629" y="147"/>
                </a:cubicBezTo>
                <a:cubicBezTo>
                  <a:pt x="636" y="152"/>
                  <a:pt x="646" y="155"/>
                  <a:pt x="653" y="153"/>
                </a:cubicBezTo>
                <a:cubicBezTo>
                  <a:pt x="660" y="150"/>
                  <a:pt x="665" y="153"/>
                  <a:pt x="665" y="158"/>
                </a:cubicBezTo>
                <a:cubicBezTo>
                  <a:pt x="665" y="163"/>
                  <a:pt x="668" y="167"/>
                  <a:pt x="672" y="167"/>
                </a:cubicBezTo>
                <a:cubicBezTo>
                  <a:pt x="675" y="167"/>
                  <a:pt x="680" y="167"/>
                  <a:pt x="683" y="167"/>
                </a:cubicBezTo>
                <a:cubicBezTo>
                  <a:pt x="686" y="167"/>
                  <a:pt x="688" y="165"/>
                  <a:pt x="688" y="163"/>
                </a:cubicBezTo>
                <a:cubicBezTo>
                  <a:pt x="688" y="161"/>
                  <a:pt x="701" y="155"/>
                  <a:pt x="717" y="150"/>
                </a:cubicBezTo>
                <a:cubicBezTo>
                  <a:pt x="733" y="146"/>
                  <a:pt x="744" y="139"/>
                  <a:pt x="742" y="137"/>
                </a:cubicBezTo>
                <a:cubicBezTo>
                  <a:pt x="742" y="137"/>
                  <a:pt x="742" y="137"/>
                  <a:pt x="737" y="126"/>
                </a:cubicBezTo>
                <a:cubicBezTo>
                  <a:pt x="731" y="116"/>
                  <a:pt x="727" y="118"/>
                  <a:pt x="725" y="106"/>
                </a:cubicBezTo>
                <a:cubicBezTo>
                  <a:pt x="723" y="94"/>
                  <a:pt x="723" y="94"/>
                  <a:pt x="723" y="94"/>
                </a:cubicBezTo>
                <a:cubicBezTo>
                  <a:pt x="719" y="78"/>
                  <a:pt x="707" y="66"/>
                  <a:pt x="697" y="66"/>
                </a:cubicBezTo>
                <a:cubicBezTo>
                  <a:pt x="687" y="66"/>
                  <a:pt x="673" y="61"/>
                  <a:pt x="667" y="55"/>
                </a:cubicBezTo>
                <a:cubicBezTo>
                  <a:pt x="666" y="54"/>
                  <a:pt x="666" y="54"/>
                  <a:pt x="665" y="53"/>
                </a:cubicBezTo>
                <a:cubicBezTo>
                  <a:pt x="647" y="50"/>
                  <a:pt x="628" y="48"/>
                  <a:pt x="609" y="47"/>
                </a:cubicBezTo>
                <a:cubicBezTo>
                  <a:pt x="607" y="50"/>
                  <a:pt x="605" y="53"/>
                  <a:pt x="605" y="55"/>
                </a:cubicBezTo>
                <a:cubicBezTo>
                  <a:pt x="605" y="61"/>
                  <a:pt x="605" y="70"/>
                  <a:pt x="605" y="75"/>
                </a:cubicBezTo>
                <a:cubicBezTo>
                  <a:pt x="605" y="80"/>
                  <a:pt x="602" y="88"/>
                  <a:pt x="597" y="93"/>
                </a:cubicBezTo>
                <a:cubicBezTo>
                  <a:pt x="593" y="97"/>
                  <a:pt x="588" y="105"/>
                  <a:pt x="586" y="111"/>
                </a:cubicBezTo>
                <a:close/>
                <a:moveTo>
                  <a:pt x="783" y="588"/>
                </a:moveTo>
                <a:cubicBezTo>
                  <a:pt x="775" y="597"/>
                  <a:pt x="770" y="606"/>
                  <a:pt x="770" y="614"/>
                </a:cubicBezTo>
                <a:cubicBezTo>
                  <a:pt x="770" y="627"/>
                  <a:pt x="762" y="648"/>
                  <a:pt x="751" y="660"/>
                </a:cubicBezTo>
                <a:cubicBezTo>
                  <a:pt x="740" y="672"/>
                  <a:pt x="725" y="688"/>
                  <a:pt x="717" y="694"/>
                </a:cubicBezTo>
                <a:cubicBezTo>
                  <a:pt x="709" y="701"/>
                  <a:pt x="698" y="709"/>
                  <a:pt x="692" y="713"/>
                </a:cubicBezTo>
                <a:cubicBezTo>
                  <a:pt x="687" y="717"/>
                  <a:pt x="679" y="726"/>
                  <a:pt x="674" y="733"/>
                </a:cubicBezTo>
                <a:cubicBezTo>
                  <a:pt x="670" y="740"/>
                  <a:pt x="673" y="746"/>
                  <a:pt x="680" y="747"/>
                </a:cubicBezTo>
                <a:cubicBezTo>
                  <a:pt x="687" y="747"/>
                  <a:pt x="695" y="748"/>
                  <a:pt x="698" y="749"/>
                </a:cubicBezTo>
                <a:cubicBezTo>
                  <a:pt x="701" y="750"/>
                  <a:pt x="701" y="755"/>
                  <a:pt x="698" y="760"/>
                </a:cubicBezTo>
                <a:cubicBezTo>
                  <a:pt x="695" y="766"/>
                  <a:pt x="687" y="770"/>
                  <a:pt x="678" y="770"/>
                </a:cubicBezTo>
                <a:cubicBezTo>
                  <a:pt x="670" y="770"/>
                  <a:pt x="656" y="770"/>
                  <a:pt x="647" y="770"/>
                </a:cubicBezTo>
                <a:cubicBezTo>
                  <a:pt x="638" y="770"/>
                  <a:pt x="631" y="769"/>
                  <a:pt x="631" y="767"/>
                </a:cubicBezTo>
                <a:cubicBezTo>
                  <a:pt x="631" y="766"/>
                  <a:pt x="624" y="764"/>
                  <a:pt x="615" y="764"/>
                </a:cubicBezTo>
                <a:cubicBezTo>
                  <a:pt x="606" y="764"/>
                  <a:pt x="599" y="758"/>
                  <a:pt x="599" y="751"/>
                </a:cubicBezTo>
                <a:cubicBezTo>
                  <a:pt x="599" y="743"/>
                  <a:pt x="594" y="737"/>
                  <a:pt x="588" y="737"/>
                </a:cubicBezTo>
                <a:cubicBezTo>
                  <a:pt x="582" y="737"/>
                  <a:pt x="577" y="734"/>
                  <a:pt x="577" y="729"/>
                </a:cubicBezTo>
                <a:cubicBezTo>
                  <a:pt x="577" y="725"/>
                  <a:pt x="575" y="713"/>
                  <a:pt x="573" y="703"/>
                </a:cubicBezTo>
                <a:cubicBezTo>
                  <a:pt x="571" y="695"/>
                  <a:pt x="569" y="682"/>
                  <a:pt x="568" y="670"/>
                </a:cubicBezTo>
                <a:cubicBezTo>
                  <a:pt x="526" y="684"/>
                  <a:pt x="484" y="695"/>
                  <a:pt x="444" y="705"/>
                </a:cubicBezTo>
                <a:cubicBezTo>
                  <a:pt x="444" y="705"/>
                  <a:pt x="444" y="705"/>
                  <a:pt x="444" y="705"/>
                </a:cubicBezTo>
                <a:cubicBezTo>
                  <a:pt x="427" y="751"/>
                  <a:pt x="391" y="788"/>
                  <a:pt x="371" y="807"/>
                </a:cubicBezTo>
                <a:cubicBezTo>
                  <a:pt x="371" y="807"/>
                  <a:pt x="371" y="807"/>
                  <a:pt x="371" y="807"/>
                </a:cubicBezTo>
                <a:cubicBezTo>
                  <a:pt x="437" y="847"/>
                  <a:pt x="514" y="870"/>
                  <a:pt x="596" y="870"/>
                </a:cubicBezTo>
                <a:cubicBezTo>
                  <a:pt x="831" y="870"/>
                  <a:pt x="1022" y="683"/>
                  <a:pt x="1030" y="450"/>
                </a:cubicBezTo>
                <a:cubicBezTo>
                  <a:pt x="961" y="499"/>
                  <a:pt x="876" y="546"/>
                  <a:pt x="783" y="588"/>
                </a:cubicBezTo>
                <a:close/>
                <a:moveTo>
                  <a:pt x="143" y="705"/>
                </a:moveTo>
                <a:cubicBezTo>
                  <a:pt x="137" y="688"/>
                  <a:pt x="134" y="671"/>
                  <a:pt x="132" y="653"/>
                </a:cubicBezTo>
                <a:cubicBezTo>
                  <a:pt x="132" y="653"/>
                  <a:pt x="132" y="653"/>
                  <a:pt x="132" y="653"/>
                </a:cubicBezTo>
                <a:cubicBezTo>
                  <a:pt x="132" y="653"/>
                  <a:pt x="131" y="653"/>
                  <a:pt x="131" y="653"/>
                </a:cubicBezTo>
                <a:cubicBezTo>
                  <a:pt x="128" y="653"/>
                  <a:pt x="125" y="652"/>
                  <a:pt x="122" y="652"/>
                </a:cubicBezTo>
                <a:cubicBezTo>
                  <a:pt x="122" y="651"/>
                  <a:pt x="121" y="651"/>
                  <a:pt x="121" y="651"/>
                </a:cubicBezTo>
                <a:cubicBezTo>
                  <a:pt x="118" y="651"/>
                  <a:pt x="115" y="650"/>
                  <a:pt x="113" y="649"/>
                </a:cubicBezTo>
                <a:cubicBezTo>
                  <a:pt x="112" y="649"/>
                  <a:pt x="112" y="649"/>
                  <a:pt x="111" y="649"/>
                </a:cubicBezTo>
                <a:cubicBezTo>
                  <a:pt x="109" y="648"/>
                  <a:pt x="106" y="648"/>
                  <a:pt x="104" y="647"/>
                </a:cubicBezTo>
                <a:cubicBezTo>
                  <a:pt x="104" y="647"/>
                  <a:pt x="103" y="647"/>
                  <a:pt x="103" y="647"/>
                </a:cubicBezTo>
                <a:cubicBezTo>
                  <a:pt x="100" y="646"/>
                  <a:pt x="98" y="645"/>
                  <a:pt x="96" y="644"/>
                </a:cubicBezTo>
                <a:cubicBezTo>
                  <a:pt x="96" y="644"/>
                  <a:pt x="95" y="644"/>
                  <a:pt x="95" y="644"/>
                </a:cubicBezTo>
                <a:cubicBezTo>
                  <a:pt x="93" y="643"/>
                  <a:pt x="91" y="642"/>
                  <a:pt x="89" y="641"/>
                </a:cubicBezTo>
                <a:cubicBezTo>
                  <a:pt x="88" y="641"/>
                  <a:pt x="88" y="641"/>
                  <a:pt x="88" y="641"/>
                </a:cubicBezTo>
                <a:cubicBezTo>
                  <a:pt x="86" y="640"/>
                  <a:pt x="84" y="639"/>
                  <a:pt x="82" y="638"/>
                </a:cubicBezTo>
                <a:cubicBezTo>
                  <a:pt x="82" y="638"/>
                  <a:pt x="82" y="638"/>
                  <a:pt x="82" y="637"/>
                </a:cubicBezTo>
                <a:cubicBezTo>
                  <a:pt x="80" y="636"/>
                  <a:pt x="78" y="635"/>
                  <a:pt x="77" y="634"/>
                </a:cubicBezTo>
                <a:cubicBezTo>
                  <a:pt x="76" y="634"/>
                  <a:pt x="76" y="634"/>
                  <a:pt x="76" y="634"/>
                </a:cubicBezTo>
                <a:cubicBezTo>
                  <a:pt x="75" y="633"/>
                  <a:pt x="73" y="632"/>
                  <a:pt x="72" y="630"/>
                </a:cubicBezTo>
                <a:cubicBezTo>
                  <a:pt x="72" y="630"/>
                  <a:pt x="72" y="630"/>
                  <a:pt x="71" y="630"/>
                </a:cubicBezTo>
                <a:cubicBezTo>
                  <a:pt x="70" y="629"/>
                  <a:pt x="69" y="628"/>
                  <a:pt x="68" y="626"/>
                </a:cubicBezTo>
                <a:cubicBezTo>
                  <a:pt x="68" y="626"/>
                  <a:pt x="68" y="626"/>
                  <a:pt x="68" y="626"/>
                </a:cubicBezTo>
                <a:cubicBezTo>
                  <a:pt x="66" y="625"/>
                  <a:pt x="65" y="623"/>
                  <a:pt x="65" y="622"/>
                </a:cubicBezTo>
                <a:cubicBezTo>
                  <a:pt x="65" y="622"/>
                  <a:pt x="65" y="622"/>
                  <a:pt x="64" y="622"/>
                </a:cubicBezTo>
                <a:cubicBezTo>
                  <a:pt x="64" y="620"/>
                  <a:pt x="63" y="619"/>
                  <a:pt x="62" y="617"/>
                </a:cubicBezTo>
                <a:cubicBezTo>
                  <a:pt x="62" y="617"/>
                  <a:pt x="62" y="616"/>
                  <a:pt x="61" y="615"/>
                </a:cubicBezTo>
                <a:cubicBezTo>
                  <a:pt x="61" y="614"/>
                  <a:pt x="61" y="614"/>
                  <a:pt x="61" y="614"/>
                </a:cubicBezTo>
                <a:cubicBezTo>
                  <a:pt x="61" y="613"/>
                  <a:pt x="61" y="612"/>
                  <a:pt x="61" y="611"/>
                </a:cubicBezTo>
                <a:cubicBezTo>
                  <a:pt x="61" y="611"/>
                  <a:pt x="61" y="611"/>
                  <a:pt x="61" y="610"/>
                </a:cubicBezTo>
                <a:cubicBezTo>
                  <a:pt x="61" y="610"/>
                  <a:pt x="61" y="609"/>
                  <a:pt x="61" y="608"/>
                </a:cubicBezTo>
                <a:cubicBezTo>
                  <a:pt x="61" y="607"/>
                  <a:pt x="61" y="607"/>
                  <a:pt x="61" y="607"/>
                </a:cubicBezTo>
                <a:cubicBezTo>
                  <a:pt x="61" y="606"/>
                  <a:pt x="61" y="604"/>
                  <a:pt x="61" y="603"/>
                </a:cubicBezTo>
                <a:cubicBezTo>
                  <a:pt x="61" y="603"/>
                  <a:pt x="61" y="603"/>
                  <a:pt x="61" y="602"/>
                </a:cubicBezTo>
                <a:cubicBezTo>
                  <a:pt x="61" y="601"/>
                  <a:pt x="61" y="600"/>
                  <a:pt x="61" y="599"/>
                </a:cubicBezTo>
                <a:cubicBezTo>
                  <a:pt x="61" y="599"/>
                  <a:pt x="61" y="599"/>
                  <a:pt x="61" y="598"/>
                </a:cubicBezTo>
                <a:cubicBezTo>
                  <a:pt x="62" y="597"/>
                  <a:pt x="62" y="596"/>
                  <a:pt x="62" y="594"/>
                </a:cubicBezTo>
                <a:cubicBezTo>
                  <a:pt x="62" y="594"/>
                  <a:pt x="62" y="594"/>
                  <a:pt x="63" y="593"/>
                </a:cubicBezTo>
                <a:cubicBezTo>
                  <a:pt x="63" y="592"/>
                  <a:pt x="63" y="591"/>
                  <a:pt x="64" y="589"/>
                </a:cubicBezTo>
                <a:cubicBezTo>
                  <a:pt x="64" y="589"/>
                  <a:pt x="64" y="589"/>
                  <a:pt x="64" y="589"/>
                </a:cubicBezTo>
                <a:cubicBezTo>
                  <a:pt x="64" y="587"/>
                  <a:pt x="65" y="586"/>
                  <a:pt x="66" y="584"/>
                </a:cubicBezTo>
                <a:cubicBezTo>
                  <a:pt x="66" y="584"/>
                  <a:pt x="66" y="583"/>
                  <a:pt x="66" y="583"/>
                </a:cubicBezTo>
                <a:cubicBezTo>
                  <a:pt x="67" y="581"/>
                  <a:pt x="67" y="580"/>
                  <a:pt x="68" y="578"/>
                </a:cubicBezTo>
                <a:cubicBezTo>
                  <a:pt x="68" y="578"/>
                  <a:pt x="69" y="577"/>
                  <a:pt x="69" y="577"/>
                </a:cubicBezTo>
                <a:cubicBezTo>
                  <a:pt x="69" y="576"/>
                  <a:pt x="70" y="574"/>
                  <a:pt x="71" y="573"/>
                </a:cubicBezTo>
                <a:cubicBezTo>
                  <a:pt x="71" y="573"/>
                  <a:pt x="71" y="572"/>
                  <a:pt x="72" y="571"/>
                </a:cubicBezTo>
                <a:cubicBezTo>
                  <a:pt x="73" y="570"/>
                  <a:pt x="74" y="568"/>
                  <a:pt x="74" y="567"/>
                </a:cubicBezTo>
                <a:cubicBezTo>
                  <a:pt x="75" y="566"/>
                  <a:pt x="75" y="565"/>
                  <a:pt x="76" y="565"/>
                </a:cubicBezTo>
                <a:cubicBezTo>
                  <a:pt x="76" y="563"/>
                  <a:pt x="77" y="562"/>
                  <a:pt x="78" y="561"/>
                </a:cubicBezTo>
                <a:cubicBezTo>
                  <a:pt x="79" y="560"/>
                  <a:pt x="79" y="560"/>
                  <a:pt x="79" y="559"/>
                </a:cubicBezTo>
                <a:cubicBezTo>
                  <a:pt x="80" y="557"/>
                  <a:pt x="82" y="555"/>
                  <a:pt x="83" y="554"/>
                </a:cubicBezTo>
                <a:cubicBezTo>
                  <a:pt x="83" y="553"/>
                  <a:pt x="84" y="552"/>
                  <a:pt x="85" y="551"/>
                </a:cubicBezTo>
                <a:cubicBezTo>
                  <a:pt x="86" y="550"/>
                  <a:pt x="87" y="549"/>
                  <a:pt x="88" y="547"/>
                </a:cubicBezTo>
                <a:cubicBezTo>
                  <a:pt x="88" y="546"/>
                  <a:pt x="89" y="545"/>
                  <a:pt x="90" y="544"/>
                </a:cubicBezTo>
                <a:cubicBezTo>
                  <a:pt x="91" y="543"/>
                  <a:pt x="92" y="541"/>
                  <a:pt x="94" y="540"/>
                </a:cubicBezTo>
                <a:cubicBezTo>
                  <a:pt x="94" y="539"/>
                  <a:pt x="95" y="538"/>
                  <a:pt x="96" y="537"/>
                </a:cubicBezTo>
                <a:cubicBezTo>
                  <a:pt x="97" y="535"/>
                  <a:pt x="99" y="534"/>
                  <a:pt x="100" y="532"/>
                </a:cubicBezTo>
                <a:cubicBezTo>
                  <a:pt x="110" y="520"/>
                  <a:pt x="123" y="508"/>
                  <a:pt x="137" y="495"/>
                </a:cubicBezTo>
                <a:cubicBezTo>
                  <a:pt x="135" y="475"/>
                  <a:pt x="133" y="455"/>
                  <a:pt x="133" y="435"/>
                </a:cubicBezTo>
                <a:cubicBezTo>
                  <a:pt x="133" y="430"/>
                  <a:pt x="133" y="425"/>
                  <a:pt x="134" y="420"/>
                </a:cubicBezTo>
                <a:cubicBezTo>
                  <a:pt x="108" y="440"/>
                  <a:pt x="87" y="459"/>
                  <a:pt x="68" y="478"/>
                </a:cubicBezTo>
                <a:cubicBezTo>
                  <a:pt x="68" y="478"/>
                  <a:pt x="67" y="479"/>
                  <a:pt x="67" y="480"/>
                </a:cubicBezTo>
                <a:cubicBezTo>
                  <a:pt x="65" y="481"/>
                  <a:pt x="64" y="482"/>
                  <a:pt x="63" y="484"/>
                </a:cubicBezTo>
                <a:cubicBezTo>
                  <a:pt x="62" y="484"/>
                  <a:pt x="61" y="485"/>
                  <a:pt x="61" y="486"/>
                </a:cubicBezTo>
                <a:cubicBezTo>
                  <a:pt x="59" y="487"/>
                  <a:pt x="58" y="489"/>
                  <a:pt x="57" y="490"/>
                </a:cubicBezTo>
                <a:cubicBezTo>
                  <a:pt x="56" y="491"/>
                  <a:pt x="56" y="492"/>
                  <a:pt x="55" y="493"/>
                </a:cubicBezTo>
                <a:cubicBezTo>
                  <a:pt x="54" y="494"/>
                  <a:pt x="53" y="495"/>
                  <a:pt x="51" y="497"/>
                </a:cubicBezTo>
                <a:cubicBezTo>
                  <a:pt x="51" y="497"/>
                  <a:pt x="51" y="498"/>
                  <a:pt x="50" y="498"/>
                </a:cubicBezTo>
                <a:cubicBezTo>
                  <a:pt x="48" y="501"/>
                  <a:pt x="46" y="503"/>
                  <a:pt x="44" y="506"/>
                </a:cubicBezTo>
                <a:cubicBezTo>
                  <a:pt x="43" y="507"/>
                  <a:pt x="42" y="508"/>
                  <a:pt x="42" y="508"/>
                </a:cubicBezTo>
                <a:cubicBezTo>
                  <a:pt x="41" y="510"/>
                  <a:pt x="40" y="511"/>
                  <a:pt x="39" y="512"/>
                </a:cubicBezTo>
                <a:cubicBezTo>
                  <a:pt x="38" y="513"/>
                  <a:pt x="37" y="514"/>
                  <a:pt x="37" y="515"/>
                </a:cubicBezTo>
                <a:cubicBezTo>
                  <a:pt x="36" y="516"/>
                  <a:pt x="35" y="517"/>
                  <a:pt x="34" y="518"/>
                </a:cubicBezTo>
                <a:cubicBezTo>
                  <a:pt x="34" y="519"/>
                  <a:pt x="33" y="520"/>
                  <a:pt x="32" y="521"/>
                </a:cubicBezTo>
                <a:cubicBezTo>
                  <a:pt x="31" y="523"/>
                  <a:pt x="30" y="525"/>
                  <a:pt x="28" y="527"/>
                </a:cubicBezTo>
                <a:cubicBezTo>
                  <a:pt x="28" y="528"/>
                  <a:pt x="27" y="529"/>
                  <a:pt x="26" y="530"/>
                </a:cubicBezTo>
                <a:cubicBezTo>
                  <a:pt x="26" y="531"/>
                  <a:pt x="25" y="532"/>
                  <a:pt x="24" y="534"/>
                </a:cubicBezTo>
                <a:cubicBezTo>
                  <a:pt x="24" y="535"/>
                  <a:pt x="23" y="536"/>
                  <a:pt x="22" y="536"/>
                </a:cubicBezTo>
                <a:cubicBezTo>
                  <a:pt x="22" y="538"/>
                  <a:pt x="21" y="539"/>
                  <a:pt x="21" y="540"/>
                </a:cubicBezTo>
                <a:cubicBezTo>
                  <a:pt x="20" y="541"/>
                  <a:pt x="19" y="542"/>
                  <a:pt x="19" y="543"/>
                </a:cubicBezTo>
                <a:cubicBezTo>
                  <a:pt x="18" y="544"/>
                  <a:pt x="18" y="545"/>
                  <a:pt x="17" y="546"/>
                </a:cubicBezTo>
                <a:cubicBezTo>
                  <a:pt x="16" y="547"/>
                  <a:pt x="16" y="549"/>
                  <a:pt x="15" y="550"/>
                </a:cubicBezTo>
                <a:cubicBezTo>
                  <a:pt x="14" y="551"/>
                  <a:pt x="14" y="553"/>
                  <a:pt x="13" y="554"/>
                </a:cubicBezTo>
                <a:cubicBezTo>
                  <a:pt x="13" y="555"/>
                  <a:pt x="12" y="556"/>
                  <a:pt x="12" y="557"/>
                </a:cubicBezTo>
                <a:cubicBezTo>
                  <a:pt x="11" y="558"/>
                  <a:pt x="11" y="559"/>
                  <a:pt x="10" y="560"/>
                </a:cubicBezTo>
                <a:cubicBezTo>
                  <a:pt x="10" y="561"/>
                  <a:pt x="9" y="562"/>
                  <a:pt x="9" y="564"/>
                </a:cubicBezTo>
                <a:cubicBezTo>
                  <a:pt x="9" y="564"/>
                  <a:pt x="8" y="565"/>
                  <a:pt x="8" y="566"/>
                </a:cubicBezTo>
                <a:cubicBezTo>
                  <a:pt x="8" y="567"/>
                  <a:pt x="7" y="569"/>
                  <a:pt x="7" y="570"/>
                </a:cubicBezTo>
                <a:cubicBezTo>
                  <a:pt x="6" y="571"/>
                  <a:pt x="6" y="571"/>
                  <a:pt x="6" y="572"/>
                </a:cubicBezTo>
                <a:cubicBezTo>
                  <a:pt x="5" y="574"/>
                  <a:pt x="5" y="576"/>
                  <a:pt x="4" y="578"/>
                </a:cubicBezTo>
                <a:cubicBezTo>
                  <a:pt x="4" y="578"/>
                  <a:pt x="4" y="579"/>
                  <a:pt x="4" y="580"/>
                </a:cubicBezTo>
                <a:cubicBezTo>
                  <a:pt x="3" y="581"/>
                  <a:pt x="3" y="582"/>
                  <a:pt x="3" y="584"/>
                </a:cubicBezTo>
                <a:cubicBezTo>
                  <a:pt x="3" y="584"/>
                  <a:pt x="3" y="585"/>
                  <a:pt x="2" y="586"/>
                </a:cubicBezTo>
                <a:cubicBezTo>
                  <a:pt x="2" y="587"/>
                  <a:pt x="2" y="588"/>
                  <a:pt x="2" y="590"/>
                </a:cubicBezTo>
                <a:cubicBezTo>
                  <a:pt x="2" y="590"/>
                  <a:pt x="2" y="591"/>
                  <a:pt x="1" y="592"/>
                </a:cubicBezTo>
                <a:cubicBezTo>
                  <a:pt x="1" y="594"/>
                  <a:pt x="1" y="595"/>
                  <a:pt x="1" y="597"/>
                </a:cubicBezTo>
                <a:cubicBezTo>
                  <a:pt x="1" y="598"/>
                  <a:pt x="1" y="598"/>
                  <a:pt x="1" y="598"/>
                </a:cubicBezTo>
                <a:cubicBezTo>
                  <a:pt x="1" y="600"/>
                  <a:pt x="0" y="601"/>
                  <a:pt x="0" y="603"/>
                </a:cubicBezTo>
                <a:cubicBezTo>
                  <a:pt x="0" y="603"/>
                  <a:pt x="0" y="604"/>
                  <a:pt x="0" y="605"/>
                </a:cubicBezTo>
                <a:cubicBezTo>
                  <a:pt x="0" y="606"/>
                  <a:pt x="0" y="607"/>
                  <a:pt x="0" y="609"/>
                </a:cubicBezTo>
                <a:cubicBezTo>
                  <a:pt x="0" y="609"/>
                  <a:pt x="0" y="610"/>
                  <a:pt x="0" y="611"/>
                </a:cubicBezTo>
                <a:cubicBezTo>
                  <a:pt x="1" y="612"/>
                  <a:pt x="1" y="613"/>
                  <a:pt x="1" y="615"/>
                </a:cubicBezTo>
                <a:cubicBezTo>
                  <a:pt x="1" y="615"/>
                  <a:pt x="1" y="616"/>
                  <a:pt x="1" y="616"/>
                </a:cubicBezTo>
                <a:cubicBezTo>
                  <a:pt x="1" y="618"/>
                  <a:pt x="1" y="620"/>
                  <a:pt x="2" y="621"/>
                </a:cubicBezTo>
                <a:cubicBezTo>
                  <a:pt x="2" y="622"/>
                  <a:pt x="2" y="622"/>
                  <a:pt x="2" y="623"/>
                </a:cubicBezTo>
                <a:cubicBezTo>
                  <a:pt x="2" y="624"/>
                  <a:pt x="2" y="625"/>
                  <a:pt x="3" y="627"/>
                </a:cubicBezTo>
                <a:cubicBezTo>
                  <a:pt x="3" y="627"/>
                  <a:pt x="3" y="628"/>
                  <a:pt x="3" y="628"/>
                </a:cubicBezTo>
                <a:cubicBezTo>
                  <a:pt x="3" y="630"/>
                  <a:pt x="4" y="631"/>
                  <a:pt x="4" y="632"/>
                </a:cubicBezTo>
                <a:cubicBezTo>
                  <a:pt x="4" y="633"/>
                  <a:pt x="4" y="633"/>
                  <a:pt x="5" y="634"/>
                </a:cubicBezTo>
                <a:cubicBezTo>
                  <a:pt x="5" y="636"/>
                  <a:pt x="6" y="637"/>
                  <a:pt x="6" y="639"/>
                </a:cubicBezTo>
                <a:cubicBezTo>
                  <a:pt x="18" y="670"/>
                  <a:pt x="53" y="706"/>
                  <a:pt x="148" y="716"/>
                </a:cubicBezTo>
                <a:cubicBezTo>
                  <a:pt x="146" y="712"/>
                  <a:pt x="145" y="709"/>
                  <a:pt x="143" y="705"/>
                </a:cubicBezTo>
                <a:close/>
                <a:moveTo>
                  <a:pt x="1186" y="186"/>
                </a:moveTo>
                <a:cubicBezTo>
                  <a:pt x="1185" y="185"/>
                  <a:pt x="1185" y="184"/>
                  <a:pt x="1184" y="183"/>
                </a:cubicBezTo>
                <a:cubicBezTo>
                  <a:pt x="1184" y="182"/>
                  <a:pt x="1184" y="182"/>
                  <a:pt x="1184" y="182"/>
                </a:cubicBezTo>
                <a:cubicBezTo>
                  <a:pt x="1184" y="181"/>
                  <a:pt x="1183" y="180"/>
                  <a:pt x="1183" y="180"/>
                </a:cubicBezTo>
                <a:cubicBezTo>
                  <a:pt x="1183" y="179"/>
                  <a:pt x="1182" y="179"/>
                  <a:pt x="1182" y="178"/>
                </a:cubicBezTo>
                <a:cubicBezTo>
                  <a:pt x="1182" y="178"/>
                  <a:pt x="1182" y="177"/>
                  <a:pt x="1181" y="176"/>
                </a:cubicBezTo>
                <a:cubicBezTo>
                  <a:pt x="1181" y="176"/>
                  <a:pt x="1181" y="175"/>
                  <a:pt x="1180" y="175"/>
                </a:cubicBezTo>
                <a:cubicBezTo>
                  <a:pt x="1180" y="174"/>
                  <a:pt x="1180" y="174"/>
                  <a:pt x="1179" y="173"/>
                </a:cubicBezTo>
                <a:cubicBezTo>
                  <a:pt x="1179" y="173"/>
                  <a:pt x="1179" y="172"/>
                  <a:pt x="1179" y="172"/>
                </a:cubicBezTo>
                <a:cubicBezTo>
                  <a:pt x="1178" y="171"/>
                  <a:pt x="1178" y="170"/>
                  <a:pt x="1178" y="170"/>
                </a:cubicBezTo>
                <a:cubicBezTo>
                  <a:pt x="1177" y="169"/>
                  <a:pt x="1177" y="169"/>
                  <a:pt x="1176" y="168"/>
                </a:cubicBezTo>
                <a:cubicBezTo>
                  <a:pt x="1176" y="168"/>
                  <a:pt x="1176" y="167"/>
                  <a:pt x="1175" y="167"/>
                </a:cubicBezTo>
                <a:cubicBezTo>
                  <a:pt x="1174" y="165"/>
                  <a:pt x="1173" y="164"/>
                  <a:pt x="1172" y="162"/>
                </a:cubicBezTo>
                <a:cubicBezTo>
                  <a:pt x="1172" y="162"/>
                  <a:pt x="1172" y="162"/>
                  <a:pt x="1172" y="162"/>
                </a:cubicBezTo>
                <a:cubicBezTo>
                  <a:pt x="1171" y="161"/>
                  <a:pt x="1171" y="161"/>
                  <a:pt x="1170" y="160"/>
                </a:cubicBezTo>
                <a:cubicBezTo>
                  <a:pt x="1170" y="160"/>
                  <a:pt x="1169" y="159"/>
                  <a:pt x="1169" y="159"/>
                </a:cubicBezTo>
                <a:cubicBezTo>
                  <a:pt x="1169" y="158"/>
                  <a:pt x="1168" y="157"/>
                  <a:pt x="1167" y="157"/>
                </a:cubicBezTo>
                <a:cubicBezTo>
                  <a:pt x="1167" y="156"/>
                  <a:pt x="1167" y="156"/>
                  <a:pt x="1166" y="156"/>
                </a:cubicBezTo>
                <a:cubicBezTo>
                  <a:pt x="1166" y="155"/>
                  <a:pt x="1165" y="154"/>
                  <a:pt x="1164" y="154"/>
                </a:cubicBezTo>
                <a:cubicBezTo>
                  <a:pt x="1164" y="153"/>
                  <a:pt x="1164" y="153"/>
                  <a:pt x="1163" y="153"/>
                </a:cubicBezTo>
                <a:cubicBezTo>
                  <a:pt x="1163" y="152"/>
                  <a:pt x="1162" y="151"/>
                  <a:pt x="1161" y="151"/>
                </a:cubicBezTo>
                <a:cubicBezTo>
                  <a:pt x="1161" y="150"/>
                  <a:pt x="1160" y="150"/>
                  <a:pt x="1160" y="150"/>
                </a:cubicBezTo>
                <a:cubicBezTo>
                  <a:pt x="1154" y="144"/>
                  <a:pt x="1146" y="139"/>
                  <a:pt x="1137" y="134"/>
                </a:cubicBezTo>
                <a:cubicBezTo>
                  <a:pt x="1137" y="134"/>
                  <a:pt x="1137" y="134"/>
                  <a:pt x="1137" y="134"/>
                </a:cubicBezTo>
                <a:cubicBezTo>
                  <a:pt x="1116" y="122"/>
                  <a:pt x="1086" y="113"/>
                  <a:pt x="1045" y="109"/>
                </a:cubicBezTo>
                <a:cubicBezTo>
                  <a:pt x="1045" y="109"/>
                  <a:pt x="1045" y="109"/>
                  <a:pt x="1045" y="109"/>
                </a:cubicBezTo>
                <a:cubicBezTo>
                  <a:pt x="1030" y="107"/>
                  <a:pt x="1013" y="107"/>
                  <a:pt x="995" y="107"/>
                </a:cubicBezTo>
                <a:cubicBezTo>
                  <a:pt x="973" y="107"/>
                  <a:pt x="950" y="108"/>
                  <a:pt x="925" y="110"/>
                </a:cubicBezTo>
                <a:cubicBezTo>
                  <a:pt x="943" y="128"/>
                  <a:pt x="959" y="147"/>
                  <a:pt x="973" y="167"/>
                </a:cubicBezTo>
                <a:cubicBezTo>
                  <a:pt x="981" y="167"/>
                  <a:pt x="988" y="167"/>
                  <a:pt x="995" y="167"/>
                </a:cubicBezTo>
                <a:cubicBezTo>
                  <a:pt x="1024" y="167"/>
                  <a:pt x="1050" y="169"/>
                  <a:pt x="1071" y="174"/>
                </a:cubicBezTo>
                <a:cubicBezTo>
                  <a:pt x="1071" y="174"/>
                  <a:pt x="1071" y="174"/>
                  <a:pt x="1071" y="174"/>
                </a:cubicBezTo>
                <a:cubicBezTo>
                  <a:pt x="1089" y="177"/>
                  <a:pt x="1103" y="183"/>
                  <a:pt x="1114" y="189"/>
                </a:cubicBezTo>
                <a:cubicBezTo>
                  <a:pt x="1114" y="189"/>
                  <a:pt x="1114" y="189"/>
                  <a:pt x="1114" y="190"/>
                </a:cubicBezTo>
                <a:cubicBezTo>
                  <a:pt x="1115" y="190"/>
                  <a:pt x="1116" y="191"/>
                  <a:pt x="1117" y="192"/>
                </a:cubicBezTo>
                <a:cubicBezTo>
                  <a:pt x="1117" y="192"/>
                  <a:pt x="1117" y="192"/>
                  <a:pt x="1117" y="192"/>
                </a:cubicBezTo>
                <a:cubicBezTo>
                  <a:pt x="1119" y="193"/>
                  <a:pt x="1121" y="195"/>
                  <a:pt x="1122" y="197"/>
                </a:cubicBezTo>
                <a:cubicBezTo>
                  <a:pt x="1123" y="197"/>
                  <a:pt x="1123" y="197"/>
                  <a:pt x="1123" y="197"/>
                </a:cubicBezTo>
                <a:cubicBezTo>
                  <a:pt x="1123" y="198"/>
                  <a:pt x="1124" y="198"/>
                  <a:pt x="1125" y="199"/>
                </a:cubicBezTo>
                <a:cubicBezTo>
                  <a:pt x="1125" y="199"/>
                  <a:pt x="1125" y="199"/>
                  <a:pt x="1125" y="200"/>
                </a:cubicBezTo>
                <a:cubicBezTo>
                  <a:pt x="1126" y="200"/>
                  <a:pt x="1126" y="201"/>
                  <a:pt x="1126" y="201"/>
                </a:cubicBezTo>
                <a:cubicBezTo>
                  <a:pt x="1127" y="202"/>
                  <a:pt x="1127" y="202"/>
                  <a:pt x="1127" y="202"/>
                </a:cubicBezTo>
                <a:cubicBezTo>
                  <a:pt x="1127" y="203"/>
                  <a:pt x="1128" y="203"/>
                  <a:pt x="1128" y="204"/>
                </a:cubicBezTo>
                <a:cubicBezTo>
                  <a:pt x="1128" y="204"/>
                  <a:pt x="1128" y="205"/>
                  <a:pt x="1128" y="205"/>
                </a:cubicBezTo>
                <a:cubicBezTo>
                  <a:pt x="1129" y="206"/>
                  <a:pt x="1129" y="207"/>
                  <a:pt x="1130" y="207"/>
                </a:cubicBezTo>
                <a:cubicBezTo>
                  <a:pt x="1130" y="208"/>
                  <a:pt x="1130" y="209"/>
                  <a:pt x="1130" y="210"/>
                </a:cubicBezTo>
                <a:cubicBezTo>
                  <a:pt x="1130" y="210"/>
                  <a:pt x="1131" y="210"/>
                  <a:pt x="1131" y="210"/>
                </a:cubicBezTo>
                <a:cubicBezTo>
                  <a:pt x="1131" y="211"/>
                  <a:pt x="1131" y="211"/>
                  <a:pt x="1131" y="212"/>
                </a:cubicBezTo>
                <a:cubicBezTo>
                  <a:pt x="1131" y="212"/>
                  <a:pt x="1131" y="213"/>
                  <a:pt x="1131" y="213"/>
                </a:cubicBezTo>
                <a:cubicBezTo>
                  <a:pt x="1131" y="213"/>
                  <a:pt x="1131" y="214"/>
                  <a:pt x="1131" y="214"/>
                </a:cubicBezTo>
                <a:cubicBezTo>
                  <a:pt x="1131" y="215"/>
                  <a:pt x="1131" y="215"/>
                  <a:pt x="1131" y="215"/>
                </a:cubicBezTo>
                <a:cubicBezTo>
                  <a:pt x="1131" y="216"/>
                  <a:pt x="1131" y="216"/>
                  <a:pt x="1131" y="217"/>
                </a:cubicBezTo>
                <a:cubicBezTo>
                  <a:pt x="1131" y="217"/>
                  <a:pt x="1131" y="218"/>
                  <a:pt x="1131" y="218"/>
                </a:cubicBezTo>
                <a:cubicBezTo>
                  <a:pt x="1131" y="219"/>
                  <a:pt x="1131" y="219"/>
                  <a:pt x="1131" y="220"/>
                </a:cubicBezTo>
                <a:cubicBezTo>
                  <a:pt x="1131" y="220"/>
                  <a:pt x="1131" y="221"/>
                  <a:pt x="1131" y="221"/>
                </a:cubicBezTo>
                <a:cubicBezTo>
                  <a:pt x="1131" y="222"/>
                  <a:pt x="1131" y="222"/>
                  <a:pt x="1131" y="223"/>
                </a:cubicBezTo>
                <a:cubicBezTo>
                  <a:pt x="1131" y="223"/>
                  <a:pt x="1131" y="224"/>
                  <a:pt x="1131" y="224"/>
                </a:cubicBezTo>
                <a:cubicBezTo>
                  <a:pt x="1131" y="225"/>
                  <a:pt x="1131" y="225"/>
                  <a:pt x="1131" y="226"/>
                </a:cubicBezTo>
                <a:cubicBezTo>
                  <a:pt x="1131" y="226"/>
                  <a:pt x="1131" y="227"/>
                  <a:pt x="1130" y="227"/>
                </a:cubicBezTo>
                <a:cubicBezTo>
                  <a:pt x="1130" y="228"/>
                  <a:pt x="1130" y="228"/>
                  <a:pt x="1130" y="229"/>
                </a:cubicBezTo>
                <a:cubicBezTo>
                  <a:pt x="1130" y="229"/>
                  <a:pt x="1130" y="230"/>
                  <a:pt x="1130" y="231"/>
                </a:cubicBezTo>
                <a:cubicBezTo>
                  <a:pt x="1130" y="231"/>
                  <a:pt x="1130" y="231"/>
                  <a:pt x="1130" y="231"/>
                </a:cubicBezTo>
                <a:cubicBezTo>
                  <a:pt x="1129" y="233"/>
                  <a:pt x="1129" y="235"/>
                  <a:pt x="1128" y="237"/>
                </a:cubicBezTo>
                <a:cubicBezTo>
                  <a:pt x="1128" y="237"/>
                  <a:pt x="1128" y="237"/>
                  <a:pt x="1128" y="237"/>
                </a:cubicBezTo>
                <a:cubicBezTo>
                  <a:pt x="1127" y="238"/>
                  <a:pt x="1127" y="239"/>
                  <a:pt x="1127" y="240"/>
                </a:cubicBezTo>
                <a:cubicBezTo>
                  <a:pt x="1127" y="240"/>
                  <a:pt x="1126" y="241"/>
                  <a:pt x="1126" y="241"/>
                </a:cubicBezTo>
                <a:cubicBezTo>
                  <a:pt x="1126" y="242"/>
                  <a:pt x="1126" y="243"/>
                  <a:pt x="1125" y="244"/>
                </a:cubicBezTo>
                <a:cubicBezTo>
                  <a:pt x="1125" y="244"/>
                  <a:pt x="1125" y="244"/>
                  <a:pt x="1125" y="245"/>
                </a:cubicBezTo>
                <a:cubicBezTo>
                  <a:pt x="1124" y="246"/>
                  <a:pt x="1124" y="247"/>
                  <a:pt x="1123" y="248"/>
                </a:cubicBezTo>
                <a:cubicBezTo>
                  <a:pt x="1123" y="248"/>
                  <a:pt x="1123" y="248"/>
                  <a:pt x="1123" y="249"/>
                </a:cubicBezTo>
                <a:cubicBezTo>
                  <a:pt x="1122" y="250"/>
                  <a:pt x="1122" y="251"/>
                  <a:pt x="1121" y="252"/>
                </a:cubicBezTo>
                <a:cubicBezTo>
                  <a:pt x="1121" y="252"/>
                  <a:pt x="1121" y="252"/>
                  <a:pt x="1121" y="253"/>
                </a:cubicBezTo>
                <a:cubicBezTo>
                  <a:pt x="1120" y="254"/>
                  <a:pt x="1120" y="255"/>
                  <a:pt x="1119" y="256"/>
                </a:cubicBezTo>
                <a:cubicBezTo>
                  <a:pt x="1119" y="256"/>
                  <a:pt x="1119" y="256"/>
                  <a:pt x="1119" y="257"/>
                </a:cubicBezTo>
                <a:cubicBezTo>
                  <a:pt x="1118" y="258"/>
                  <a:pt x="1117" y="259"/>
                  <a:pt x="1116" y="260"/>
                </a:cubicBezTo>
                <a:cubicBezTo>
                  <a:pt x="1116" y="260"/>
                  <a:pt x="1116" y="260"/>
                  <a:pt x="1116" y="260"/>
                </a:cubicBezTo>
                <a:cubicBezTo>
                  <a:pt x="1111" y="269"/>
                  <a:pt x="1105" y="278"/>
                  <a:pt x="1097" y="287"/>
                </a:cubicBezTo>
                <a:cubicBezTo>
                  <a:pt x="1097" y="287"/>
                  <a:pt x="1097" y="287"/>
                  <a:pt x="1096" y="287"/>
                </a:cubicBezTo>
                <a:cubicBezTo>
                  <a:pt x="1095" y="289"/>
                  <a:pt x="1094" y="291"/>
                  <a:pt x="1092" y="292"/>
                </a:cubicBezTo>
                <a:cubicBezTo>
                  <a:pt x="1092" y="292"/>
                  <a:pt x="1092" y="292"/>
                  <a:pt x="1092" y="292"/>
                </a:cubicBezTo>
                <a:cubicBezTo>
                  <a:pt x="1091" y="294"/>
                  <a:pt x="1089" y="296"/>
                  <a:pt x="1088" y="297"/>
                </a:cubicBezTo>
                <a:cubicBezTo>
                  <a:pt x="1088" y="297"/>
                  <a:pt x="1088" y="297"/>
                  <a:pt x="1088" y="298"/>
                </a:cubicBezTo>
                <a:cubicBezTo>
                  <a:pt x="1077" y="309"/>
                  <a:pt x="1064" y="322"/>
                  <a:pt x="1048" y="336"/>
                </a:cubicBezTo>
                <a:cubicBezTo>
                  <a:pt x="1048" y="336"/>
                  <a:pt x="1048" y="336"/>
                  <a:pt x="1048" y="336"/>
                </a:cubicBezTo>
                <a:cubicBezTo>
                  <a:pt x="1040" y="343"/>
                  <a:pt x="1031" y="350"/>
                  <a:pt x="1021" y="358"/>
                </a:cubicBezTo>
                <a:cubicBezTo>
                  <a:pt x="930" y="429"/>
                  <a:pt x="799" y="500"/>
                  <a:pt x="651" y="556"/>
                </a:cubicBezTo>
                <a:cubicBezTo>
                  <a:pt x="585" y="582"/>
                  <a:pt x="519" y="603"/>
                  <a:pt x="456" y="619"/>
                </a:cubicBezTo>
                <a:cubicBezTo>
                  <a:pt x="456" y="639"/>
                  <a:pt x="455" y="661"/>
                  <a:pt x="450" y="683"/>
                </a:cubicBezTo>
                <a:cubicBezTo>
                  <a:pt x="522" y="665"/>
                  <a:pt x="597" y="641"/>
                  <a:pt x="673" y="612"/>
                </a:cubicBezTo>
                <a:cubicBezTo>
                  <a:pt x="825" y="554"/>
                  <a:pt x="962" y="480"/>
                  <a:pt x="1058" y="405"/>
                </a:cubicBezTo>
                <a:cubicBezTo>
                  <a:pt x="1058" y="405"/>
                  <a:pt x="1058" y="405"/>
                  <a:pt x="1058" y="405"/>
                </a:cubicBezTo>
                <a:cubicBezTo>
                  <a:pt x="1165" y="322"/>
                  <a:pt x="1209" y="246"/>
                  <a:pt x="1186" y="18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83" tIns="45694" rIns="91383" bIns="45694" numCol="1" anchor="t" anchorCtr="0" compatLnSpc="1"/>
          <a:lstStyle/>
          <a:p>
            <a:pPr marL="0" marR="0" lvl="0" indent="0" defTabSz="9321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anose="020B0502040204020203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"/>
          <p:cNvSpPr/>
          <p:nvPr/>
        </p:nvSpPr>
        <p:spPr>
          <a:xfrm>
            <a:off x="251640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8" name="Rectangle 51"/>
          <p:cNvSpPr/>
          <p:nvPr/>
        </p:nvSpPr>
        <p:spPr>
          <a:xfrm>
            <a:off x="251640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9" name="Rectangle 51"/>
          <p:cNvSpPr/>
          <p:nvPr/>
        </p:nvSpPr>
        <p:spPr>
          <a:xfrm>
            <a:off x="251640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10" name="Rectangle 51"/>
          <p:cNvSpPr/>
          <p:nvPr/>
        </p:nvSpPr>
        <p:spPr>
          <a:xfrm>
            <a:off x="251640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5" name="Rectangle 51"/>
          <p:cNvSpPr/>
          <p:nvPr/>
        </p:nvSpPr>
        <p:spPr>
          <a:xfrm>
            <a:off x="1523781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6" name="Rectangle 51"/>
          <p:cNvSpPr/>
          <p:nvPr/>
        </p:nvSpPr>
        <p:spPr>
          <a:xfrm>
            <a:off x="1523781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7" name="Rectangle 51"/>
          <p:cNvSpPr/>
          <p:nvPr/>
        </p:nvSpPr>
        <p:spPr>
          <a:xfrm>
            <a:off x="1523781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28" name="Rectangle 51"/>
          <p:cNvSpPr/>
          <p:nvPr/>
        </p:nvSpPr>
        <p:spPr>
          <a:xfrm>
            <a:off x="1523781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2795922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1" name="Rectangle 51"/>
          <p:cNvSpPr/>
          <p:nvPr/>
        </p:nvSpPr>
        <p:spPr>
          <a:xfrm>
            <a:off x="2795922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2" name="Rectangle 51"/>
          <p:cNvSpPr/>
          <p:nvPr/>
        </p:nvSpPr>
        <p:spPr>
          <a:xfrm>
            <a:off x="2795922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3" name="Rectangle 51"/>
          <p:cNvSpPr/>
          <p:nvPr/>
        </p:nvSpPr>
        <p:spPr>
          <a:xfrm>
            <a:off x="2795922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5" name="Rectangle 51"/>
          <p:cNvSpPr/>
          <p:nvPr/>
        </p:nvSpPr>
        <p:spPr>
          <a:xfrm>
            <a:off x="4068063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6" name="Rectangle 51"/>
          <p:cNvSpPr/>
          <p:nvPr/>
        </p:nvSpPr>
        <p:spPr>
          <a:xfrm>
            <a:off x="4068063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7" name="Rectangle 51"/>
          <p:cNvSpPr/>
          <p:nvPr/>
        </p:nvSpPr>
        <p:spPr>
          <a:xfrm>
            <a:off x="4068063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8" name="Rectangle 51"/>
          <p:cNvSpPr/>
          <p:nvPr/>
        </p:nvSpPr>
        <p:spPr>
          <a:xfrm>
            <a:off x="4068063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0" name="Rectangle 51"/>
          <p:cNvSpPr/>
          <p:nvPr/>
        </p:nvSpPr>
        <p:spPr>
          <a:xfrm>
            <a:off x="5340204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1" name="Rectangle 51"/>
          <p:cNvSpPr/>
          <p:nvPr/>
        </p:nvSpPr>
        <p:spPr>
          <a:xfrm>
            <a:off x="5340204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2" name="Rectangle 51"/>
          <p:cNvSpPr/>
          <p:nvPr/>
        </p:nvSpPr>
        <p:spPr>
          <a:xfrm>
            <a:off x="5340204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3" name="Rectangle 51"/>
          <p:cNvSpPr/>
          <p:nvPr/>
        </p:nvSpPr>
        <p:spPr>
          <a:xfrm>
            <a:off x="5340204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5" name="Rectangle 51"/>
          <p:cNvSpPr/>
          <p:nvPr/>
        </p:nvSpPr>
        <p:spPr>
          <a:xfrm>
            <a:off x="6612345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6" name="Rectangle 51"/>
          <p:cNvSpPr/>
          <p:nvPr/>
        </p:nvSpPr>
        <p:spPr>
          <a:xfrm>
            <a:off x="6612345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6612345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8" name="Rectangle 51"/>
          <p:cNvSpPr/>
          <p:nvPr/>
        </p:nvSpPr>
        <p:spPr>
          <a:xfrm>
            <a:off x="6612345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0" name="Rectangle 51"/>
          <p:cNvSpPr/>
          <p:nvPr/>
        </p:nvSpPr>
        <p:spPr>
          <a:xfrm>
            <a:off x="7884488" y="339622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1" name="Rectangle 51"/>
          <p:cNvSpPr/>
          <p:nvPr/>
        </p:nvSpPr>
        <p:spPr>
          <a:xfrm>
            <a:off x="7884488" y="1491750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84488" y="2643878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53" name="Rectangle 51"/>
          <p:cNvSpPr/>
          <p:nvPr/>
        </p:nvSpPr>
        <p:spPr>
          <a:xfrm>
            <a:off x="7884488" y="3796006"/>
            <a:ext cx="1080000" cy="1080000"/>
          </a:xfrm>
          <a:prstGeom prst="rect">
            <a:avLst/>
          </a:prstGeom>
          <a:solidFill>
            <a:srgbClr val="002050"/>
          </a:solidFill>
          <a:ln w="25400" cap="flat" cmpd="sng" algn="ctr">
            <a:noFill/>
            <a:prstDash val="solid"/>
          </a:ln>
          <a:effectLst/>
        </p:spPr>
        <p:txBody>
          <a:bodyPr lIns="91427" tIns="91427" rIns="91427" bIns="91427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solidFill>
                  <a:srgbClr val="FFFFFF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39" name="Freeform 647"/>
          <p:cNvSpPr>
            <a:spLocks noChangeAspect="1" noEditPoints="1"/>
          </p:cNvSpPr>
          <p:nvPr/>
        </p:nvSpPr>
        <p:spPr bwMode="auto">
          <a:xfrm rot="5400000">
            <a:off x="6872820" y="3944415"/>
            <a:ext cx="620902" cy="848074"/>
          </a:xfrm>
          <a:custGeom>
            <a:avLst/>
            <a:gdLst>
              <a:gd name="T0" fmla="*/ 110 w 293"/>
              <a:gd name="T1" fmla="*/ 266 h 400"/>
              <a:gd name="T2" fmla="*/ 110 w 293"/>
              <a:gd name="T3" fmla="*/ 314 h 400"/>
              <a:gd name="T4" fmla="*/ 119 w 293"/>
              <a:gd name="T5" fmla="*/ 181 h 400"/>
              <a:gd name="T6" fmla="*/ 90 w 293"/>
              <a:gd name="T7" fmla="*/ 211 h 400"/>
              <a:gd name="T8" fmla="*/ 39 w 293"/>
              <a:gd name="T9" fmla="*/ 206 h 400"/>
              <a:gd name="T10" fmla="*/ 40 w 293"/>
              <a:gd name="T11" fmla="*/ 248 h 400"/>
              <a:gd name="T12" fmla="*/ 1 w 293"/>
              <a:gd name="T13" fmla="*/ 281 h 400"/>
              <a:gd name="T14" fmla="*/ 30 w 293"/>
              <a:gd name="T15" fmla="*/ 310 h 400"/>
              <a:gd name="T16" fmla="*/ 26 w 293"/>
              <a:gd name="T17" fmla="*/ 361 h 400"/>
              <a:gd name="T18" fmla="*/ 68 w 293"/>
              <a:gd name="T19" fmla="*/ 361 h 400"/>
              <a:gd name="T20" fmla="*/ 101 w 293"/>
              <a:gd name="T21" fmla="*/ 399 h 400"/>
              <a:gd name="T22" fmla="*/ 130 w 293"/>
              <a:gd name="T23" fmla="*/ 370 h 400"/>
              <a:gd name="T24" fmla="*/ 181 w 293"/>
              <a:gd name="T25" fmla="*/ 374 h 400"/>
              <a:gd name="T26" fmla="*/ 181 w 293"/>
              <a:gd name="T27" fmla="*/ 332 h 400"/>
              <a:gd name="T28" fmla="*/ 219 w 293"/>
              <a:gd name="T29" fmla="*/ 299 h 400"/>
              <a:gd name="T30" fmla="*/ 190 w 293"/>
              <a:gd name="T31" fmla="*/ 270 h 400"/>
              <a:gd name="T32" fmla="*/ 194 w 293"/>
              <a:gd name="T33" fmla="*/ 219 h 400"/>
              <a:gd name="T34" fmla="*/ 152 w 293"/>
              <a:gd name="T35" fmla="*/ 220 h 400"/>
              <a:gd name="T36" fmla="*/ 119 w 293"/>
              <a:gd name="T37" fmla="*/ 181 h 400"/>
              <a:gd name="T38" fmla="*/ 179 w 293"/>
              <a:gd name="T39" fmla="*/ 82 h 400"/>
              <a:gd name="T40" fmla="*/ 197 w 293"/>
              <a:gd name="T41" fmla="*/ 126 h 400"/>
              <a:gd name="T42" fmla="*/ 155 w 293"/>
              <a:gd name="T43" fmla="*/ 0 h 400"/>
              <a:gd name="T44" fmla="*/ 139 w 293"/>
              <a:gd name="T45" fmla="*/ 38 h 400"/>
              <a:gd name="T46" fmla="*/ 91 w 293"/>
              <a:gd name="T47" fmla="*/ 54 h 400"/>
              <a:gd name="T48" fmla="*/ 107 w 293"/>
              <a:gd name="T49" fmla="*/ 92 h 400"/>
              <a:gd name="T50" fmla="*/ 84 w 293"/>
              <a:gd name="T51" fmla="*/ 137 h 400"/>
              <a:gd name="T52" fmla="*/ 122 w 293"/>
              <a:gd name="T53" fmla="*/ 153 h 400"/>
              <a:gd name="T54" fmla="*/ 138 w 293"/>
              <a:gd name="T55" fmla="*/ 201 h 400"/>
              <a:gd name="T56" fmla="*/ 176 w 293"/>
              <a:gd name="T57" fmla="*/ 185 h 400"/>
              <a:gd name="T58" fmla="*/ 222 w 293"/>
              <a:gd name="T59" fmla="*/ 208 h 400"/>
              <a:gd name="T60" fmla="*/ 237 w 293"/>
              <a:gd name="T61" fmla="*/ 170 h 400"/>
              <a:gd name="T62" fmla="*/ 286 w 293"/>
              <a:gd name="T63" fmla="*/ 154 h 400"/>
              <a:gd name="T64" fmla="*/ 270 w 293"/>
              <a:gd name="T65" fmla="*/ 116 h 400"/>
              <a:gd name="T66" fmla="*/ 293 w 293"/>
              <a:gd name="T67" fmla="*/ 71 h 400"/>
              <a:gd name="T68" fmla="*/ 254 w 293"/>
              <a:gd name="T69" fmla="*/ 55 h 400"/>
              <a:gd name="T70" fmla="*/ 239 w 293"/>
              <a:gd name="T71" fmla="*/ 7 h 400"/>
              <a:gd name="T72" fmla="*/ 200 w 293"/>
              <a:gd name="T73" fmla="*/ 23 h 400"/>
              <a:gd name="T74" fmla="*/ 155 w 293"/>
              <a:gd name="T75" fmla="*/ 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93" h="400">
                <a:moveTo>
                  <a:pt x="86" y="290"/>
                </a:moveTo>
                <a:cubicBezTo>
                  <a:pt x="86" y="277"/>
                  <a:pt x="97" y="266"/>
                  <a:pt x="110" y="266"/>
                </a:cubicBezTo>
                <a:cubicBezTo>
                  <a:pt x="123" y="266"/>
                  <a:pt x="134" y="277"/>
                  <a:pt x="134" y="290"/>
                </a:cubicBezTo>
                <a:cubicBezTo>
                  <a:pt x="134" y="303"/>
                  <a:pt x="123" y="314"/>
                  <a:pt x="110" y="314"/>
                </a:cubicBezTo>
                <a:cubicBezTo>
                  <a:pt x="97" y="314"/>
                  <a:pt x="86" y="303"/>
                  <a:pt x="86" y="290"/>
                </a:cubicBezTo>
                <a:close/>
                <a:moveTo>
                  <a:pt x="119" y="181"/>
                </a:moveTo>
                <a:cubicBezTo>
                  <a:pt x="113" y="180"/>
                  <a:pt x="107" y="180"/>
                  <a:pt x="101" y="181"/>
                </a:cubicBezTo>
                <a:cubicBezTo>
                  <a:pt x="90" y="211"/>
                  <a:pt x="90" y="211"/>
                  <a:pt x="90" y="211"/>
                </a:cubicBezTo>
                <a:cubicBezTo>
                  <a:pt x="82" y="212"/>
                  <a:pt x="75" y="216"/>
                  <a:pt x="68" y="220"/>
                </a:cubicBezTo>
                <a:cubicBezTo>
                  <a:pt x="39" y="206"/>
                  <a:pt x="39" y="206"/>
                  <a:pt x="39" y="206"/>
                </a:cubicBezTo>
                <a:cubicBezTo>
                  <a:pt x="35" y="210"/>
                  <a:pt x="30" y="215"/>
                  <a:pt x="26" y="219"/>
                </a:cubicBezTo>
                <a:cubicBezTo>
                  <a:pt x="40" y="248"/>
                  <a:pt x="40" y="248"/>
                  <a:pt x="40" y="248"/>
                </a:cubicBezTo>
                <a:cubicBezTo>
                  <a:pt x="36" y="255"/>
                  <a:pt x="32" y="262"/>
                  <a:pt x="31" y="270"/>
                </a:cubicBezTo>
                <a:cubicBezTo>
                  <a:pt x="1" y="281"/>
                  <a:pt x="1" y="281"/>
                  <a:pt x="1" y="281"/>
                </a:cubicBezTo>
                <a:cubicBezTo>
                  <a:pt x="0" y="287"/>
                  <a:pt x="0" y="293"/>
                  <a:pt x="1" y="299"/>
                </a:cubicBezTo>
                <a:cubicBezTo>
                  <a:pt x="30" y="310"/>
                  <a:pt x="30" y="310"/>
                  <a:pt x="30" y="310"/>
                </a:cubicBezTo>
                <a:cubicBezTo>
                  <a:pt x="32" y="318"/>
                  <a:pt x="36" y="325"/>
                  <a:pt x="40" y="332"/>
                </a:cubicBezTo>
                <a:cubicBezTo>
                  <a:pt x="26" y="361"/>
                  <a:pt x="26" y="361"/>
                  <a:pt x="26" y="361"/>
                </a:cubicBezTo>
                <a:cubicBezTo>
                  <a:pt x="30" y="366"/>
                  <a:pt x="35" y="370"/>
                  <a:pt x="39" y="374"/>
                </a:cubicBezTo>
                <a:cubicBezTo>
                  <a:pt x="68" y="361"/>
                  <a:pt x="68" y="361"/>
                  <a:pt x="68" y="361"/>
                </a:cubicBezTo>
                <a:cubicBezTo>
                  <a:pt x="75" y="365"/>
                  <a:pt x="82" y="368"/>
                  <a:pt x="90" y="370"/>
                </a:cubicBezTo>
                <a:cubicBezTo>
                  <a:pt x="101" y="399"/>
                  <a:pt x="101" y="399"/>
                  <a:pt x="101" y="399"/>
                </a:cubicBezTo>
                <a:cubicBezTo>
                  <a:pt x="107" y="400"/>
                  <a:pt x="113" y="400"/>
                  <a:pt x="119" y="399"/>
                </a:cubicBezTo>
                <a:cubicBezTo>
                  <a:pt x="130" y="370"/>
                  <a:pt x="130" y="370"/>
                  <a:pt x="130" y="370"/>
                </a:cubicBezTo>
                <a:cubicBezTo>
                  <a:pt x="138" y="368"/>
                  <a:pt x="145" y="365"/>
                  <a:pt x="152" y="361"/>
                </a:cubicBezTo>
                <a:cubicBezTo>
                  <a:pt x="181" y="374"/>
                  <a:pt x="181" y="374"/>
                  <a:pt x="181" y="374"/>
                </a:cubicBezTo>
                <a:cubicBezTo>
                  <a:pt x="185" y="370"/>
                  <a:pt x="190" y="366"/>
                  <a:pt x="194" y="361"/>
                </a:cubicBezTo>
                <a:cubicBezTo>
                  <a:pt x="181" y="332"/>
                  <a:pt x="181" y="332"/>
                  <a:pt x="181" y="332"/>
                </a:cubicBezTo>
                <a:cubicBezTo>
                  <a:pt x="185" y="325"/>
                  <a:pt x="188" y="318"/>
                  <a:pt x="190" y="310"/>
                </a:cubicBezTo>
                <a:cubicBezTo>
                  <a:pt x="219" y="299"/>
                  <a:pt x="219" y="299"/>
                  <a:pt x="219" y="299"/>
                </a:cubicBezTo>
                <a:cubicBezTo>
                  <a:pt x="220" y="293"/>
                  <a:pt x="220" y="287"/>
                  <a:pt x="219" y="281"/>
                </a:cubicBezTo>
                <a:cubicBezTo>
                  <a:pt x="190" y="270"/>
                  <a:pt x="190" y="270"/>
                  <a:pt x="190" y="270"/>
                </a:cubicBezTo>
                <a:cubicBezTo>
                  <a:pt x="188" y="262"/>
                  <a:pt x="185" y="255"/>
                  <a:pt x="181" y="248"/>
                </a:cubicBezTo>
                <a:cubicBezTo>
                  <a:pt x="194" y="219"/>
                  <a:pt x="194" y="219"/>
                  <a:pt x="194" y="219"/>
                </a:cubicBezTo>
                <a:cubicBezTo>
                  <a:pt x="190" y="215"/>
                  <a:pt x="185" y="210"/>
                  <a:pt x="181" y="206"/>
                </a:cubicBezTo>
                <a:cubicBezTo>
                  <a:pt x="152" y="220"/>
                  <a:pt x="152" y="220"/>
                  <a:pt x="152" y="220"/>
                </a:cubicBezTo>
                <a:cubicBezTo>
                  <a:pt x="145" y="216"/>
                  <a:pt x="138" y="212"/>
                  <a:pt x="130" y="211"/>
                </a:cubicBezTo>
                <a:lnTo>
                  <a:pt x="119" y="181"/>
                </a:lnTo>
                <a:close/>
                <a:moveTo>
                  <a:pt x="167" y="113"/>
                </a:moveTo>
                <a:cubicBezTo>
                  <a:pt x="162" y="101"/>
                  <a:pt x="167" y="87"/>
                  <a:pt x="179" y="82"/>
                </a:cubicBezTo>
                <a:cubicBezTo>
                  <a:pt x="191" y="77"/>
                  <a:pt x="205" y="83"/>
                  <a:pt x="210" y="95"/>
                </a:cubicBezTo>
                <a:cubicBezTo>
                  <a:pt x="215" y="107"/>
                  <a:pt x="210" y="121"/>
                  <a:pt x="197" y="126"/>
                </a:cubicBezTo>
                <a:cubicBezTo>
                  <a:pt x="185" y="131"/>
                  <a:pt x="172" y="125"/>
                  <a:pt x="167" y="113"/>
                </a:cubicBezTo>
                <a:close/>
                <a:moveTo>
                  <a:pt x="155" y="0"/>
                </a:moveTo>
                <a:cubicBezTo>
                  <a:pt x="149" y="2"/>
                  <a:pt x="144" y="4"/>
                  <a:pt x="138" y="7"/>
                </a:cubicBezTo>
                <a:cubicBezTo>
                  <a:pt x="139" y="38"/>
                  <a:pt x="139" y="38"/>
                  <a:pt x="139" y="38"/>
                </a:cubicBezTo>
                <a:cubicBezTo>
                  <a:pt x="133" y="43"/>
                  <a:pt x="127" y="49"/>
                  <a:pt x="123" y="55"/>
                </a:cubicBezTo>
                <a:cubicBezTo>
                  <a:pt x="91" y="54"/>
                  <a:pt x="91" y="54"/>
                  <a:pt x="91" y="54"/>
                </a:cubicBezTo>
                <a:cubicBezTo>
                  <a:pt x="88" y="59"/>
                  <a:pt x="86" y="65"/>
                  <a:pt x="84" y="71"/>
                </a:cubicBezTo>
                <a:cubicBezTo>
                  <a:pt x="107" y="92"/>
                  <a:pt x="107" y="92"/>
                  <a:pt x="107" y="92"/>
                </a:cubicBezTo>
                <a:cubicBezTo>
                  <a:pt x="106" y="100"/>
                  <a:pt x="106" y="108"/>
                  <a:pt x="107" y="116"/>
                </a:cubicBezTo>
                <a:cubicBezTo>
                  <a:pt x="84" y="137"/>
                  <a:pt x="84" y="137"/>
                  <a:pt x="84" y="137"/>
                </a:cubicBezTo>
                <a:cubicBezTo>
                  <a:pt x="86" y="143"/>
                  <a:pt x="88" y="149"/>
                  <a:pt x="91" y="154"/>
                </a:cubicBezTo>
                <a:cubicBezTo>
                  <a:pt x="122" y="153"/>
                  <a:pt x="122" y="153"/>
                  <a:pt x="122" y="153"/>
                </a:cubicBezTo>
                <a:cubicBezTo>
                  <a:pt x="127" y="159"/>
                  <a:pt x="133" y="165"/>
                  <a:pt x="139" y="170"/>
                </a:cubicBezTo>
                <a:cubicBezTo>
                  <a:pt x="138" y="201"/>
                  <a:pt x="138" y="201"/>
                  <a:pt x="138" y="201"/>
                </a:cubicBezTo>
                <a:cubicBezTo>
                  <a:pt x="144" y="204"/>
                  <a:pt x="149" y="206"/>
                  <a:pt x="155" y="208"/>
                </a:cubicBezTo>
                <a:cubicBezTo>
                  <a:pt x="176" y="185"/>
                  <a:pt x="176" y="185"/>
                  <a:pt x="176" y="185"/>
                </a:cubicBezTo>
                <a:cubicBezTo>
                  <a:pt x="184" y="186"/>
                  <a:pt x="193" y="186"/>
                  <a:pt x="200" y="185"/>
                </a:cubicBezTo>
                <a:cubicBezTo>
                  <a:pt x="222" y="208"/>
                  <a:pt x="222" y="208"/>
                  <a:pt x="222" y="208"/>
                </a:cubicBezTo>
                <a:cubicBezTo>
                  <a:pt x="228" y="206"/>
                  <a:pt x="233" y="204"/>
                  <a:pt x="239" y="201"/>
                </a:cubicBezTo>
                <a:cubicBezTo>
                  <a:pt x="237" y="170"/>
                  <a:pt x="237" y="170"/>
                  <a:pt x="237" y="170"/>
                </a:cubicBezTo>
                <a:cubicBezTo>
                  <a:pt x="244" y="165"/>
                  <a:pt x="250" y="159"/>
                  <a:pt x="254" y="153"/>
                </a:cubicBezTo>
                <a:cubicBezTo>
                  <a:pt x="286" y="154"/>
                  <a:pt x="286" y="154"/>
                  <a:pt x="286" y="154"/>
                </a:cubicBezTo>
                <a:cubicBezTo>
                  <a:pt x="289" y="149"/>
                  <a:pt x="291" y="143"/>
                  <a:pt x="293" y="137"/>
                </a:cubicBezTo>
                <a:cubicBezTo>
                  <a:pt x="270" y="116"/>
                  <a:pt x="270" y="116"/>
                  <a:pt x="270" y="116"/>
                </a:cubicBezTo>
                <a:cubicBezTo>
                  <a:pt x="271" y="108"/>
                  <a:pt x="271" y="100"/>
                  <a:pt x="270" y="92"/>
                </a:cubicBezTo>
                <a:cubicBezTo>
                  <a:pt x="293" y="71"/>
                  <a:pt x="293" y="71"/>
                  <a:pt x="293" y="71"/>
                </a:cubicBezTo>
                <a:cubicBezTo>
                  <a:pt x="291" y="65"/>
                  <a:pt x="289" y="59"/>
                  <a:pt x="286" y="54"/>
                </a:cubicBezTo>
                <a:cubicBezTo>
                  <a:pt x="254" y="55"/>
                  <a:pt x="254" y="55"/>
                  <a:pt x="254" y="55"/>
                </a:cubicBezTo>
                <a:cubicBezTo>
                  <a:pt x="249" y="49"/>
                  <a:pt x="244" y="43"/>
                  <a:pt x="237" y="38"/>
                </a:cubicBezTo>
                <a:cubicBezTo>
                  <a:pt x="239" y="7"/>
                  <a:pt x="239" y="7"/>
                  <a:pt x="239" y="7"/>
                </a:cubicBezTo>
                <a:cubicBezTo>
                  <a:pt x="233" y="4"/>
                  <a:pt x="228" y="2"/>
                  <a:pt x="222" y="0"/>
                </a:cubicBezTo>
                <a:cubicBezTo>
                  <a:pt x="200" y="23"/>
                  <a:pt x="200" y="23"/>
                  <a:pt x="200" y="23"/>
                </a:cubicBezTo>
                <a:cubicBezTo>
                  <a:pt x="192" y="22"/>
                  <a:pt x="184" y="22"/>
                  <a:pt x="176" y="23"/>
                </a:cubicBezTo>
                <a:lnTo>
                  <a:pt x="15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9945" tIns="34973" rIns="69945" bIns="34973" numCol="1" anchor="t" anchorCtr="0" compatLnSpc="1"/>
          <a:lstStyle/>
          <a:p>
            <a:pPr marL="0" marR="0" lvl="0" indent="0" defTabSz="5943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sp>
        <p:nvSpPr>
          <p:cNvPr id="44" name="Freeform 205"/>
          <p:cNvSpPr>
            <a:spLocks noChangeAspect="1" noEditPoints="1"/>
          </p:cNvSpPr>
          <p:nvPr/>
        </p:nvSpPr>
        <p:spPr bwMode="auto">
          <a:xfrm>
            <a:off x="3024623" y="4004379"/>
            <a:ext cx="622598" cy="617144"/>
          </a:xfrm>
          <a:custGeom>
            <a:avLst/>
            <a:gdLst>
              <a:gd name="T0" fmla="*/ 151 w 308"/>
              <a:gd name="T1" fmla="*/ 210 h 305"/>
              <a:gd name="T2" fmla="*/ 136 w 308"/>
              <a:gd name="T3" fmla="*/ 248 h 305"/>
              <a:gd name="T4" fmla="*/ 120 w 308"/>
              <a:gd name="T5" fmla="*/ 286 h 305"/>
              <a:gd name="T6" fmla="*/ 49 w 308"/>
              <a:gd name="T7" fmla="*/ 296 h 305"/>
              <a:gd name="T8" fmla="*/ 49 w 308"/>
              <a:gd name="T9" fmla="*/ 289 h 305"/>
              <a:gd name="T10" fmla="*/ 89 w 308"/>
              <a:gd name="T11" fmla="*/ 265 h 305"/>
              <a:gd name="T12" fmla="*/ 80 w 308"/>
              <a:gd name="T13" fmla="*/ 231 h 305"/>
              <a:gd name="T14" fmla="*/ 65 w 308"/>
              <a:gd name="T15" fmla="*/ 226 h 305"/>
              <a:gd name="T16" fmla="*/ 21 w 308"/>
              <a:gd name="T17" fmla="*/ 249 h 305"/>
              <a:gd name="T18" fmla="*/ 39 w 308"/>
              <a:gd name="T19" fmla="*/ 202 h 305"/>
              <a:gd name="T20" fmla="*/ 75 w 308"/>
              <a:gd name="T21" fmla="*/ 186 h 305"/>
              <a:gd name="T22" fmla="*/ 77 w 308"/>
              <a:gd name="T23" fmla="*/ 186 h 305"/>
              <a:gd name="T24" fmla="*/ 106 w 308"/>
              <a:gd name="T25" fmla="*/ 178 h 305"/>
              <a:gd name="T26" fmla="*/ 201 w 308"/>
              <a:gd name="T27" fmla="*/ 161 h 305"/>
              <a:gd name="T28" fmla="*/ 135 w 308"/>
              <a:gd name="T29" fmla="*/ 95 h 305"/>
              <a:gd name="T30" fmla="*/ 129 w 308"/>
              <a:gd name="T31" fmla="*/ 95 h 305"/>
              <a:gd name="T32" fmla="*/ 95 w 308"/>
              <a:gd name="T33" fmla="*/ 135 h 305"/>
              <a:gd name="T34" fmla="*/ 161 w 308"/>
              <a:gd name="T35" fmla="*/ 200 h 305"/>
              <a:gd name="T36" fmla="*/ 268 w 308"/>
              <a:gd name="T37" fmla="*/ 302 h 305"/>
              <a:gd name="T38" fmla="*/ 303 w 308"/>
              <a:gd name="T39" fmla="*/ 265 h 305"/>
              <a:gd name="T40" fmla="*/ 201 w 308"/>
              <a:gd name="T41" fmla="*/ 161 h 305"/>
              <a:gd name="T42" fmla="*/ 301 w 308"/>
              <a:gd name="T43" fmla="*/ 70 h 305"/>
              <a:gd name="T44" fmla="*/ 261 w 308"/>
              <a:gd name="T45" fmla="*/ 93 h 305"/>
              <a:gd name="T46" fmla="*/ 240 w 308"/>
              <a:gd name="T47" fmla="*/ 79 h 305"/>
              <a:gd name="T48" fmla="*/ 239 w 308"/>
              <a:gd name="T49" fmla="*/ 53 h 305"/>
              <a:gd name="T50" fmla="*/ 280 w 308"/>
              <a:gd name="T51" fmla="*/ 26 h 305"/>
              <a:gd name="T52" fmla="*/ 217 w 308"/>
              <a:gd name="T53" fmla="*/ 25 h 305"/>
              <a:gd name="T54" fmla="*/ 191 w 308"/>
              <a:gd name="T55" fmla="*/ 71 h 305"/>
              <a:gd name="T56" fmla="*/ 182 w 308"/>
              <a:gd name="T57" fmla="*/ 102 h 305"/>
              <a:gd name="T58" fmla="*/ 210 w 308"/>
              <a:gd name="T59" fmla="*/ 151 h 305"/>
              <a:gd name="T60" fmla="*/ 249 w 308"/>
              <a:gd name="T61" fmla="*/ 133 h 305"/>
              <a:gd name="T62" fmla="*/ 252 w 308"/>
              <a:gd name="T63" fmla="*/ 133 h 305"/>
              <a:gd name="T64" fmla="*/ 276 w 308"/>
              <a:gd name="T65" fmla="*/ 126 h 305"/>
              <a:gd name="T66" fmla="*/ 308 w 308"/>
              <a:gd name="T67" fmla="*/ 75 h 305"/>
              <a:gd name="T68" fmla="*/ 52 w 308"/>
              <a:gd name="T69" fmla="*/ 146 h 305"/>
              <a:gd name="T70" fmla="*/ 143 w 308"/>
              <a:gd name="T71" fmla="*/ 58 h 305"/>
              <a:gd name="T72" fmla="*/ 143 w 308"/>
              <a:gd name="T73" fmla="*/ 45 h 305"/>
              <a:gd name="T74" fmla="*/ 94 w 308"/>
              <a:gd name="T75" fmla="*/ 0 h 305"/>
              <a:gd name="T76" fmla="*/ 2 w 308"/>
              <a:gd name="T77" fmla="*/ 87 h 305"/>
              <a:gd name="T78" fmla="*/ 2 w 308"/>
              <a:gd name="T79" fmla="*/ 100 h 305"/>
              <a:gd name="T80" fmla="*/ 52 w 308"/>
              <a:gd name="T81" fmla="*/ 146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8" h="305">
                <a:moveTo>
                  <a:pt x="113" y="172"/>
                </a:moveTo>
                <a:cubicBezTo>
                  <a:pt x="151" y="210"/>
                  <a:pt x="151" y="210"/>
                  <a:pt x="151" y="210"/>
                </a:cubicBezTo>
                <a:cubicBezTo>
                  <a:pt x="144" y="217"/>
                  <a:pt x="144" y="217"/>
                  <a:pt x="144" y="217"/>
                </a:cubicBezTo>
                <a:cubicBezTo>
                  <a:pt x="137" y="224"/>
                  <a:pt x="136" y="236"/>
                  <a:pt x="136" y="248"/>
                </a:cubicBezTo>
                <a:cubicBezTo>
                  <a:pt x="136" y="248"/>
                  <a:pt x="136" y="248"/>
                  <a:pt x="136" y="248"/>
                </a:cubicBezTo>
                <a:cubicBezTo>
                  <a:pt x="136" y="262"/>
                  <a:pt x="130" y="276"/>
                  <a:pt x="120" y="286"/>
                </a:cubicBezTo>
                <a:cubicBezTo>
                  <a:pt x="117" y="289"/>
                  <a:pt x="114" y="292"/>
                  <a:pt x="109" y="295"/>
                </a:cubicBezTo>
                <a:cubicBezTo>
                  <a:pt x="92" y="305"/>
                  <a:pt x="68" y="305"/>
                  <a:pt x="49" y="296"/>
                </a:cubicBezTo>
                <a:cubicBezTo>
                  <a:pt x="48" y="296"/>
                  <a:pt x="47" y="294"/>
                  <a:pt x="47" y="293"/>
                </a:cubicBezTo>
                <a:cubicBezTo>
                  <a:pt x="46" y="291"/>
                  <a:pt x="47" y="289"/>
                  <a:pt x="49" y="289"/>
                </a:cubicBezTo>
                <a:cubicBezTo>
                  <a:pt x="88" y="266"/>
                  <a:pt x="88" y="266"/>
                  <a:pt x="88" y="266"/>
                </a:cubicBezTo>
                <a:cubicBezTo>
                  <a:pt x="88" y="266"/>
                  <a:pt x="89" y="266"/>
                  <a:pt x="89" y="265"/>
                </a:cubicBezTo>
                <a:cubicBezTo>
                  <a:pt x="92" y="262"/>
                  <a:pt x="96" y="257"/>
                  <a:pt x="87" y="240"/>
                </a:cubicBezTo>
                <a:cubicBezTo>
                  <a:pt x="85" y="236"/>
                  <a:pt x="82" y="233"/>
                  <a:pt x="80" y="231"/>
                </a:cubicBezTo>
                <a:cubicBezTo>
                  <a:pt x="73" y="224"/>
                  <a:pt x="68" y="225"/>
                  <a:pt x="66" y="226"/>
                </a:cubicBezTo>
                <a:cubicBezTo>
                  <a:pt x="65" y="226"/>
                  <a:pt x="65" y="226"/>
                  <a:pt x="65" y="226"/>
                </a:cubicBezTo>
                <a:cubicBezTo>
                  <a:pt x="26" y="249"/>
                  <a:pt x="26" y="249"/>
                  <a:pt x="26" y="249"/>
                </a:cubicBezTo>
                <a:cubicBezTo>
                  <a:pt x="24" y="249"/>
                  <a:pt x="22" y="249"/>
                  <a:pt x="21" y="249"/>
                </a:cubicBezTo>
                <a:cubicBezTo>
                  <a:pt x="20" y="248"/>
                  <a:pt x="19" y="246"/>
                  <a:pt x="19" y="244"/>
                </a:cubicBezTo>
                <a:cubicBezTo>
                  <a:pt x="20" y="229"/>
                  <a:pt x="28" y="214"/>
                  <a:pt x="39" y="202"/>
                </a:cubicBezTo>
                <a:cubicBezTo>
                  <a:pt x="42" y="199"/>
                  <a:pt x="47" y="196"/>
                  <a:pt x="51" y="193"/>
                </a:cubicBezTo>
                <a:cubicBezTo>
                  <a:pt x="58" y="189"/>
                  <a:pt x="66" y="187"/>
                  <a:pt x="75" y="186"/>
                </a:cubicBezTo>
                <a:cubicBezTo>
                  <a:pt x="74" y="186"/>
                  <a:pt x="74" y="186"/>
                  <a:pt x="74" y="186"/>
                </a:cubicBezTo>
                <a:cubicBezTo>
                  <a:pt x="75" y="186"/>
                  <a:pt x="76" y="186"/>
                  <a:pt x="77" y="186"/>
                </a:cubicBezTo>
                <a:cubicBezTo>
                  <a:pt x="77" y="186"/>
                  <a:pt x="77" y="186"/>
                  <a:pt x="78" y="186"/>
                </a:cubicBezTo>
                <a:cubicBezTo>
                  <a:pt x="89" y="186"/>
                  <a:pt x="100" y="185"/>
                  <a:pt x="106" y="178"/>
                </a:cubicBezTo>
                <a:lnTo>
                  <a:pt x="113" y="172"/>
                </a:lnTo>
                <a:close/>
                <a:moveTo>
                  <a:pt x="201" y="161"/>
                </a:moveTo>
                <a:cubicBezTo>
                  <a:pt x="162" y="122"/>
                  <a:pt x="162" y="122"/>
                  <a:pt x="162" y="122"/>
                </a:cubicBezTo>
                <a:cubicBezTo>
                  <a:pt x="135" y="95"/>
                  <a:pt x="135" y="95"/>
                  <a:pt x="135" y="95"/>
                </a:cubicBezTo>
                <a:cubicBezTo>
                  <a:pt x="134" y="94"/>
                  <a:pt x="133" y="94"/>
                  <a:pt x="132" y="94"/>
                </a:cubicBezTo>
                <a:cubicBezTo>
                  <a:pt x="131" y="94"/>
                  <a:pt x="130" y="94"/>
                  <a:pt x="129" y="95"/>
                </a:cubicBezTo>
                <a:cubicBezTo>
                  <a:pt x="95" y="129"/>
                  <a:pt x="95" y="129"/>
                  <a:pt x="95" y="129"/>
                </a:cubicBezTo>
                <a:cubicBezTo>
                  <a:pt x="94" y="130"/>
                  <a:pt x="94" y="133"/>
                  <a:pt x="95" y="135"/>
                </a:cubicBezTo>
                <a:cubicBezTo>
                  <a:pt x="123" y="162"/>
                  <a:pt x="123" y="162"/>
                  <a:pt x="123" y="162"/>
                </a:cubicBezTo>
                <a:cubicBezTo>
                  <a:pt x="161" y="200"/>
                  <a:pt x="161" y="200"/>
                  <a:pt x="161" y="200"/>
                </a:cubicBezTo>
                <a:cubicBezTo>
                  <a:pt x="262" y="302"/>
                  <a:pt x="262" y="302"/>
                  <a:pt x="262" y="302"/>
                </a:cubicBezTo>
                <a:cubicBezTo>
                  <a:pt x="264" y="303"/>
                  <a:pt x="266" y="303"/>
                  <a:pt x="268" y="302"/>
                </a:cubicBezTo>
                <a:cubicBezTo>
                  <a:pt x="302" y="268"/>
                  <a:pt x="302" y="268"/>
                  <a:pt x="302" y="268"/>
                </a:cubicBezTo>
                <a:cubicBezTo>
                  <a:pt x="303" y="267"/>
                  <a:pt x="303" y="266"/>
                  <a:pt x="303" y="265"/>
                </a:cubicBezTo>
                <a:cubicBezTo>
                  <a:pt x="303" y="264"/>
                  <a:pt x="303" y="263"/>
                  <a:pt x="302" y="262"/>
                </a:cubicBezTo>
                <a:lnTo>
                  <a:pt x="201" y="161"/>
                </a:lnTo>
                <a:close/>
                <a:moveTo>
                  <a:pt x="306" y="70"/>
                </a:moveTo>
                <a:cubicBezTo>
                  <a:pt x="304" y="70"/>
                  <a:pt x="303" y="70"/>
                  <a:pt x="301" y="70"/>
                </a:cubicBezTo>
                <a:cubicBezTo>
                  <a:pt x="262" y="93"/>
                  <a:pt x="262" y="93"/>
                  <a:pt x="262" y="93"/>
                </a:cubicBezTo>
                <a:cubicBezTo>
                  <a:pt x="262" y="93"/>
                  <a:pt x="262" y="93"/>
                  <a:pt x="261" y="93"/>
                </a:cubicBezTo>
                <a:cubicBezTo>
                  <a:pt x="259" y="94"/>
                  <a:pt x="254" y="95"/>
                  <a:pt x="247" y="88"/>
                </a:cubicBezTo>
                <a:cubicBezTo>
                  <a:pt x="244" y="86"/>
                  <a:pt x="242" y="83"/>
                  <a:pt x="240" y="79"/>
                </a:cubicBezTo>
                <a:cubicBezTo>
                  <a:pt x="230" y="62"/>
                  <a:pt x="235" y="57"/>
                  <a:pt x="237" y="54"/>
                </a:cubicBezTo>
                <a:cubicBezTo>
                  <a:pt x="238" y="53"/>
                  <a:pt x="239" y="53"/>
                  <a:pt x="239" y="53"/>
                </a:cubicBezTo>
                <a:cubicBezTo>
                  <a:pt x="278" y="30"/>
                  <a:pt x="278" y="30"/>
                  <a:pt x="278" y="30"/>
                </a:cubicBezTo>
                <a:cubicBezTo>
                  <a:pt x="280" y="30"/>
                  <a:pt x="280" y="28"/>
                  <a:pt x="280" y="26"/>
                </a:cubicBezTo>
                <a:cubicBezTo>
                  <a:pt x="280" y="25"/>
                  <a:pt x="279" y="23"/>
                  <a:pt x="278" y="23"/>
                </a:cubicBezTo>
                <a:cubicBezTo>
                  <a:pt x="259" y="14"/>
                  <a:pt x="235" y="14"/>
                  <a:pt x="217" y="25"/>
                </a:cubicBezTo>
                <a:cubicBezTo>
                  <a:pt x="213" y="27"/>
                  <a:pt x="210" y="30"/>
                  <a:pt x="206" y="33"/>
                </a:cubicBezTo>
                <a:cubicBezTo>
                  <a:pt x="196" y="43"/>
                  <a:pt x="191" y="57"/>
                  <a:pt x="191" y="71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191" y="83"/>
                  <a:pt x="190" y="95"/>
                  <a:pt x="182" y="102"/>
                </a:cubicBezTo>
                <a:cubicBezTo>
                  <a:pt x="172" y="113"/>
                  <a:pt x="172" y="113"/>
                  <a:pt x="172" y="113"/>
                </a:cubicBezTo>
                <a:cubicBezTo>
                  <a:pt x="210" y="151"/>
                  <a:pt x="210" y="151"/>
                  <a:pt x="210" y="151"/>
                </a:cubicBezTo>
                <a:cubicBezTo>
                  <a:pt x="221" y="141"/>
                  <a:pt x="221" y="141"/>
                  <a:pt x="221" y="141"/>
                </a:cubicBezTo>
                <a:cubicBezTo>
                  <a:pt x="227" y="134"/>
                  <a:pt x="238" y="133"/>
                  <a:pt x="249" y="133"/>
                </a:cubicBezTo>
                <a:cubicBezTo>
                  <a:pt x="249" y="133"/>
                  <a:pt x="250" y="133"/>
                  <a:pt x="250" y="133"/>
                </a:cubicBezTo>
                <a:cubicBezTo>
                  <a:pt x="251" y="133"/>
                  <a:pt x="252" y="133"/>
                  <a:pt x="252" y="133"/>
                </a:cubicBezTo>
                <a:cubicBezTo>
                  <a:pt x="252" y="133"/>
                  <a:pt x="252" y="133"/>
                  <a:pt x="252" y="133"/>
                </a:cubicBezTo>
                <a:cubicBezTo>
                  <a:pt x="260" y="132"/>
                  <a:pt x="268" y="130"/>
                  <a:pt x="276" y="126"/>
                </a:cubicBezTo>
                <a:cubicBezTo>
                  <a:pt x="280" y="123"/>
                  <a:pt x="284" y="120"/>
                  <a:pt x="288" y="117"/>
                </a:cubicBezTo>
                <a:cubicBezTo>
                  <a:pt x="299" y="106"/>
                  <a:pt x="306" y="90"/>
                  <a:pt x="308" y="75"/>
                </a:cubicBezTo>
                <a:cubicBezTo>
                  <a:pt x="308" y="73"/>
                  <a:pt x="307" y="71"/>
                  <a:pt x="306" y="70"/>
                </a:cubicBezTo>
                <a:close/>
                <a:moveTo>
                  <a:pt x="52" y="146"/>
                </a:moveTo>
                <a:cubicBezTo>
                  <a:pt x="54" y="146"/>
                  <a:pt x="57" y="145"/>
                  <a:pt x="58" y="143"/>
                </a:cubicBezTo>
                <a:cubicBezTo>
                  <a:pt x="143" y="58"/>
                  <a:pt x="143" y="58"/>
                  <a:pt x="143" y="58"/>
                </a:cubicBezTo>
                <a:cubicBezTo>
                  <a:pt x="145" y="57"/>
                  <a:pt x="146" y="54"/>
                  <a:pt x="146" y="52"/>
                </a:cubicBezTo>
                <a:cubicBezTo>
                  <a:pt x="146" y="49"/>
                  <a:pt x="145" y="47"/>
                  <a:pt x="143" y="45"/>
                </a:cubicBezTo>
                <a:cubicBezTo>
                  <a:pt x="100" y="2"/>
                  <a:pt x="100" y="2"/>
                  <a:pt x="100" y="2"/>
                </a:cubicBezTo>
                <a:cubicBezTo>
                  <a:pt x="98" y="1"/>
                  <a:pt x="96" y="0"/>
                  <a:pt x="94" y="0"/>
                </a:cubicBezTo>
                <a:cubicBezTo>
                  <a:pt x="91" y="0"/>
                  <a:pt x="89" y="1"/>
                  <a:pt x="87" y="2"/>
                </a:cubicBezTo>
                <a:cubicBezTo>
                  <a:pt x="2" y="87"/>
                  <a:pt x="2" y="87"/>
                  <a:pt x="2" y="87"/>
                </a:cubicBezTo>
                <a:cubicBezTo>
                  <a:pt x="1" y="89"/>
                  <a:pt x="0" y="91"/>
                  <a:pt x="0" y="93"/>
                </a:cubicBezTo>
                <a:cubicBezTo>
                  <a:pt x="0" y="96"/>
                  <a:pt x="1" y="98"/>
                  <a:pt x="2" y="100"/>
                </a:cubicBezTo>
                <a:cubicBezTo>
                  <a:pt x="46" y="143"/>
                  <a:pt x="46" y="143"/>
                  <a:pt x="46" y="143"/>
                </a:cubicBezTo>
                <a:cubicBezTo>
                  <a:pt x="47" y="145"/>
                  <a:pt x="50" y="146"/>
                  <a:pt x="52" y="1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9945" tIns="34973" rIns="69945" bIns="34973" numCol="1" anchor="t" anchorCtr="0" compatLnSpc="1"/>
          <a:lstStyle/>
          <a:p>
            <a:pPr marL="0" marR="0" lvl="0" indent="0" defTabSz="5943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8056692" y="4080718"/>
            <a:ext cx="735592" cy="598434"/>
            <a:chOff x="4325323" y="3313157"/>
            <a:chExt cx="735592" cy="598434"/>
          </a:xfrm>
        </p:grpSpPr>
        <p:sp>
          <p:nvSpPr>
            <p:cNvPr id="54" name="Freeform 86"/>
            <p:cNvSpPr>
              <a:spLocks noEditPoints="1"/>
            </p:cNvSpPr>
            <p:nvPr/>
          </p:nvSpPr>
          <p:spPr bwMode="black">
            <a:xfrm>
              <a:off x="4325323" y="3371522"/>
              <a:ext cx="537099" cy="540069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  <p:sp>
          <p:nvSpPr>
            <p:cNvPr id="55" name="Oval 87"/>
            <p:cNvSpPr>
              <a:spLocks noChangeArrowheads="1"/>
            </p:cNvSpPr>
            <p:nvPr/>
          </p:nvSpPr>
          <p:spPr bwMode="black">
            <a:xfrm>
              <a:off x="4544055" y="3601090"/>
              <a:ext cx="99636" cy="9960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  <p:sp>
          <p:nvSpPr>
            <p:cNvPr id="56" name="Freeform 88"/>
            <p:cNvSpPr>
              <a:spLocks noEditPoints="1"/>
            </p:cNvSpPr>
            <p:nvPr/>
          </p:nvSpPr>
          <p:spPr bwMode="black">
            <a:xfrm>
              <a:off x="4788474" y="3313157"/>
              <a:ext cx="272441" cy="293381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5613922" y="4126262"/>
            <a:ext cx="743838" cy="499103"/>
            <a:chOff x="8479588" y="2963939"/>
            <a:chExt cx="995567" cy="668009"/>
          </a:xfrm>
        </p:grpSpPr>
        <p:sp>
          <p:nvSpPr>
            <p:cNvPr id="58" name="Freeform 107"/>
            <p:cNvSpPr/>
            <p:nvPr/>
          </p:nvSpPr>
          <p:spPr bwMode="auto">
            <a:xfrm>
              <a:off x="8971697" y="2979414"/>
              <a:ext cx="503458" cy="399774"/>
            </a:xfrm>
            <a:custGeom>
              <a:avLst/>
              <a:gdLst>
                <a:gd name="T0" fmla="*/ 96 w 413"/>
                <a:gd name="T1" fmla="*/ 180 h 328"/>
                <a:gd name="T2" fmla="*/ 0 w 413"/>
                <a:gd name="T3" fmla="*/ 180 h 328"/>
                <a:gd name="T4" fmla="*/ 92 w 413"/>
                <a:gd name="T5" fmla="*/ 328 h 328"/>
                <a:gd name="T6" fmla="*/ 187 w 413"/>
                <a:gd name="T7" fmla="*/ 328 h 328"/>
                <a:gd name="T8" fmla="*/ 413 w 413"/>
                <a:gd name="T9" fmla="*/ 0 h 328"/>
                <a:gd name="T10" fmla="*/ 314 w 413"/>
                <a:gd name="T11" fmla="*/ 0 h 328"/>
                <a:gd name="T12" fmla="*/ 141 w 413"/>
                <a:gd name="T13" fmla="*/ 254 h 328"/>
                <a:gd name="T14" fmla="*/ 96 w 413"/>
                <a:gd name="T15" fmla="*/ 18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328">
                  <a:moveTo>
                    <a:pt x="96" y="180"/>
                  </a:moveTo>
                  <a:cubicBezTo>
                    <a:pt x="96" y="180"/>
                    <a:pt x="96" y="180"/>
                    <a:pt x="0" y="180"/>
                  </a:cubicBezTo>
                  <a:cubicBezTo>
                    <a:pt x="0" y="180"/>
                    <a:pt x="0" y="180"/>
                    <a:pt x="92" y="328"/>
                  </a:cubicBezTo>
                  <a:cubicBezTo>
                    <a:pt x="92" y="328"/>
                    <a:pt x="92" y="328"/>
                    <a:pt x="187" y="328"/>
                  </a:cubicBezTo>
                  <a:cubicBezTo>
                    <a:pt x="187" y="328"/>
                    <a:pt x="187" y="328"/>
                    <a:pt x="413" y="0"/>
                  </a:cubicBezTo>
                  <a:cubicBezTo>
                    <a:pt x="314" y="0"/>
                    <a:pt x="314" y="0"/>
                    <a:pt x="314" y="0"/>
                  </a:cubicBezTo>
                  <a:cubicBezTo>
                    <a:pt x="314" y="0"/>
                    <a:pt x="314" y="0"/>
                    <a:pt x="141" y="254"/>
                  </a:cubicBezTo>
                  <a:cubicBezTo>
                    <a:pt x="141" y="254"/>
                    <a:pt x="141" y="254"/>
                    <a:pt x="96" y="18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  <p:sp>
          <p:nvSpPr>
            <p:cNvPr id="59" name="Freeform 108"/>
            <p:cNvSpPr>
              <a:spLocks noEditPoints="1"/>
            </p:cNvSpPr>
            <p:nvPr/>
          </p:nvSpPr>
          <p:spPr bwMode="auto">
            <a:xfrm>
              <a:off x="8479588" y="2963939"/>
              <a:ext cx="609204" cy="668009"/>
            </a:xfrm>
            <a:custGeom>
              <a:avLst/>
              <a:gdLst>
                <a:gd name="T0" fmla="*/ 340 w 500"/>
                <a:gd name="T1" fmla="*/ 152 h 548"/>
                <a:gd name="T2" fmla="*/ 437 w 500"/>
                <a:gd name="T3" fmla="*/ 150 h 548"/>
                <a:gd name="T4" fmla="*/ 465 w 500"/>
                <a:gd name="T5" fmla="*/ 76 h 548"/>
                <a:gd name="T6" fmla="*/ 427 w 500"/>
                <a:gd name="T7" fmla="*/ 47 h 548"/>
                <a:gd name="T8" fmla="*/ 359 w 500"/>
                <a:gd name="T9" fmla="*/ 87 h 548"/>
                <a:gd name="T10" fmla="*/ 303 w 500"/>
                <a:gd name="T11" fmla="*/ 69 h 548"/>
                <a:gd name="T12" fmla="*/ 269 w 500"/>
                <a:gd name="T13" fmla="*/ 0 h 548"/>
                <a:gd name="T14" fmla="*/ 223 w 500"/>
                <a:gd name="T15" fmla="*/ 5 h 548"/>
                <a:gd name="T16" fmla="*/ 204 w 500"/>
                <a:gd name="T17" fmla="*/ 79 h 548"/>
                <a:gd name="T18" fmla="*/ 152 w 500"/>
                <a:gd name="T19" fmla="*/ 108 h 548"/>
                <a:gd name="T20" fmla="*/ 76 w 500"/>
                <a:gd name="T21" fmla="*/ 82 h 548"/>
                <a:gd name="T22" fmla="*/ 45 w 500"/>
                <a:gd name="T23" fmla="*/ 118 h 548"/>
                <a:gd name="T24" fmla="*/ 89 w 500"/>
                <a:gd name="T25" fmla="*/ 186 h 548"/>
                <a:gd name="T26" fmla="*/ 69 w 500"/>
                <a:gd name="T27" fmla="*/ 244 h 548"/>
                <a:gd name="T28" fmla="*/ 0 w 500"/>
                <a:gd name="T29" fmla="*/ 278 h 548"/>
                <a:gd name="T30" fmla="*/ 4 w 500"/>
                <a:gd name="T31" fmla="*/ 324 h 548"/>
                <a:gd name="T32" fmla="*/ 79 w 500"/>
                <a:gd name="T33" fmla="*/ 343 h 548"/>
                <a:gd name="T34" fmla="*/ 108 w 500"/>
                <a:gd name="T35" fmla="*/ 395 h 548"/>
                <a:gd name="T36" fmla="*/ 81 w 500"/>
                <a:gd name="T37" fmla="*/ 471 h 548"/>
                <a:gd name="T38" fmla="*/ 118 w 500"/>
                <a:gd name="T39" fmla="*/ 500 h 548"/>
                <a:gd name="T40" fmla="*/ 184 w 500"/>
                <a:gd name="T41" fmla="*/ 458 h 548"/>
                <a:gd name="T42" fmla="*/ 244 w 500"/>
                <a:gd name="T43" fmla="*/ 478 h 548"/>
                <a:gd name="T44" fmla="*/ 277 w 500"/>
                <a:gd name="T45" fmla="*/ 548 h 548"/>
                <a:gd name="T46" fmla="*/ 324 w 500"/>
                <a:gd name="T47" fmla="*/ 543 h 548"/>
                <a:gd name="T48" fmla="*/ 343 w 500"/>
                <a:gd name="T49" fmla="*/ 468 h 548"/>
                <a:gd name="T50" fmla="*/ 395 w 500"/>
                <a:gd name="T51" fmla="*/ 439 h 548"/>
                <a:gd name="T52" fmla="*/ 470 w 500"/>
                <a:gd name="T53" fmla="*/ 465 h 548"/>
                <a:gd name="T54" fmla="*/ 500 w 500"/>
                <a:gd name="T55" fmla="*/ 429 h 548"/>
                <a:gd name="T56" fmla="*/ 340 w 500"/>
                <a:gd name="T57" fmla="*/ 152 h 548"/>
                <a:gd name="T58" fmla="*/ 319 w 500"/>
                <a:gd name="T59" fmla="*/ 309 h 548"/>
                <a:gd name="T60" fmla="*/ 235 w 500"/>
                <a:gd name="T61" fmla="*/ 319 h 548"/>
                <a:gd name="T62" fmla="*/ 228 w 500"/>
                <a:gd name="T63" fmla="*/ 235 h 548"/>
                <a:gd name="T64" fmla="*/ 309 w 500"/>
                <a:gd name="T65" fmla="*/ 227 h 548"/>
                <a:gd name="T66" fmla="*/ 319 w 500"/>
                <a:gd name="T67" fmla="*/ 309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00" h="548">
                  <a:moveTo>
                    <a:pt x="340" y="152"/>
                  </a:moveTo>
                  <a:cubicBezTo>
                    <a:pt x="340" y="152"/>
                    <a:pt x="439" y="153"/>
                    <a:pt x="437" y="150"/>
                  </a:cubicBezTo>
                  <a:cubicBezTo>
                    <a:pt x="465" y="76"/>
                    <a:pt x="465" y="76"/>
                    <a:pt x="465" y="76"/>
                  </a:cubicBezTo>
                  <a:cubicBezTo>
                    <a:pt x="453" y="68"/>
                    <a:pt x="440" y="56"/>
                    <a:pt x="427" y="47"/>
                  </a:cubicBezTo>
                  <a:cubicBezTo>
                    <a:pt x="359" y="87"/>
                    <a:pt x="359" y="87"/>
                    <a:pt x="359" y="87"/>
                  </a:cubicBezTo>
                  <a:cubicBezTo>
                    <a:pt x="343" y="79"/>
                    <a:pt x="322" y="73"/>
                    <a:pt x="303" y="69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52" y="0"/>
                    <a:pt x="238" y="1"/>
                    <a:pt x="223" y="5"/>
                  </a:cubicBezTo>
                  <a:cubicBezTo>
                    <a:pt x="204" y="79"/>
                    <a:pt x="204" y="79"/>
                    <a:pt x="204" y="79"/>
                  </a:cubicBezTo>
                  <a:cubicBezTo>
                    <a:pt x="184" y="87"/>
                    <a:pt x="166" y="97"/>
                    <a:pt x="152" y="108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6" y="94"/>
                    <a:pt x="55" y="107"/>
                    <a:pt x="45" y="118"/>
                  </a:cubicBezTo>
                  <a:cubicBezTo>
                    <a:pt x="89" y="186"/>
                    <a:pt x="89" y="186"/>
                    <a:pt x="89" y="186"/>
                  </a:cubicBezTo>
                  <a:cubicBezTo>
                    <a:pt x="79" y="204"/>
                    <a:pt x="72" y="225"/>
                    <a:pt x="69" y="244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295"/>
                    <a:pt x="1" y="308"/>
                    <a:pt x="4" y="324"/>
                  </a:cubicBezTo>
                  <a:cubicBezTo>
                    <a:pt x="79" y="343"/>
                    <a:pt x="79" y="343"/>
                    <a:pt x="79" y="343"/>
                  </a:cubicBezTo>
                  <a:cubicBezTo>
                    <a:pt x="85" y="361"/>
                    <a:pt x="97" y="381"/>
                    <a:pt x="108" y="395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94" y="481"/>
                    <a:pt x="106" y="491"/>
                    <a:pt x="118" y="500"/>
                  </a:cubicBezTo>
                  <a:cubicBezTo>
                    <a:pt x="184" y="458"/>
                    <a:pt x="184" y="458"/>
                    <a:pt x="184" y="458"/>
                  </a:cubicBezTo>
                  <a:cubicBezTo>
                    <a:pt x="204" y="468"/>
                    <a:pt x="223" y="475"/>
                    <a:pt x="244" y="478"/>
                  </a:cubicBezTo>
                  <a:cubicBezTo>
                    <a:pt x="277" y="548"/>
                    <a:pt x="277" y="548"/>
                    <a:pt x="277" y="548"/>
                  </a:cubicBezTo>
                  <a:cubicBezTo>
                    <a:pt x="293" y="548"/>
                    <a:pt x="307" y="546"/>
                    <a:pt x="324" y="543"/>
                  </a:cubicBezTo>
                  <a:cubicBezTo>
                    <a:pt x="343" y="468"/>
                    <a:pt x="343" y="468"/>
                    <a:pt x="343" y="468"/>
                  </a:cubicBezTo>
                  <a:cubicBezTo>
                    <a:pt x="361" y="460"/>
                    <a:pt x="380" y="450"/>
                    <a:pt x="395" y="439"/>
                  </a:cubicBezTo>
                  <a:cubicBezTo>
                    <a:pt x="470" y="465"/>
                    <a:pt x="470" y="465"/>
                    <a:pt x="470" y="465"/>
                  </a:cubicBezTo>
                  <a:cubicBezTo>
                    <a:pt x="479" y="453"/>
                    <a:pt x="491" y="441"/>
                    <a:pt x="500" y="429"/>
                  </a:cubicBezTo>
                  <a:cubicBezTo>
                    <a:pt x="460" y="359"/>
                    <a:pt x="340" y="152"/>
                    <a:pt x="340" y="152"/>
                  </a:cubicBezTo>
                  <a:close/>
                  <a:moveTo>
                    <a:pt x="319" y="309"/>
                  </a:moveTo>
                  <a:cubicBezTo>
                    <a:pt x="298" y="337"/>
                    <a:pt x="262" y="340"/>
                    <a:pt x="235" y="319"/>
                  </a:cubicBezTo>
                  <a:cubicBezTo>
                    <a:pt x="210" y="298"/>
                    <a:pt x="205" y="262"/>
                    <a:pt x="228" y="235"/>
                  </a:cubicBezTo>
                  <a:cubicBezTo>
                    <a:pt x="249" y="210"/>
                    <a:pt x="285" y="207"/>
                    <a:pt x="309" y="227"/>
                  </a:cubicBezTo>
                  <a:cubicBezTo>
                    <a:pt x="337" y="249"/>
                    <a:pt x="340" y="285"/>
                    <a:pt x="319" y="30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/>
            <a:lstStyle/>
            <a:p>
              <a:pPr defTabSz="913130">
                <a:defRPr/>
              </a:pPr>
              <a:endParaRPr lang="en-US" kern="0">
                <a:solidFill>
                  <a:srgbClr val="FFFFFF"/>
                </a:solidFill>
                <a:latin typeface="Segoe"/>
              </a:endParaRPr>
            </a:p>
          </p:txBody>
        </p:sp>
      </p:grpSp>
      <p:sp>
        <p:nvSpPr>
          <p:cNvPr id="60" name="Freeform 104"/>
          <p:cNvSpPr>
            <a:spLocks noEditPoints="1"/>
          </p:cNvSpPr>
          <p:nvPr/>
        </p:nvSpPr>
        <p:spPr bwMode="black">
          <a:xfrm>
            <a:off x="4284027" y="4011910"/>
            <a:ext cx="648072" cy="648072"/>
          </a:xfrm>
          <a:custGeom>
            <a:avLst/>
            <a:gdLst>
              <a:gd name="T0" fmla="*/ 37 w 61"/>
              <a:gd name="T1" fmla="*/ 43 h 61"/>
              <a:gd name="T2" fmla="*/ 18 w 61"/>
              <a:gd name="T3" fmla="*/ 37 h 61"/>
              <a:gd name="T4" fmla="*/ 24 w 61"/>
              <a:gd name="T5" fmla="*/ 18 h 61"/>
              <a:gd name="T6" fmla="*/ 43 w 61"/>
              <a:gd name="T7" fmla="*/ 24 h 61"/>
              <a:gd name="T8" fmla="*/ 37 w 61"/>
              <a:gd name="T9" fmla="*/ 43 h 61"/>
              <a:gd name="T10" fmla="*/ 61 w 61"/>
              <a:gd name="T11" fmla="*/ 28 h 61"/>
              <a:gd name="T12" fmla="*/ 58 w 61"/>
              <a:gd name="T13" fmla="*/ 18 h 61"/>
              <a:gd name="T14" fmla="*/ 50 w 61"/>
              <a:gd name="T15" fmla="*/ 19 h 61"/>
              <a:gd name="T16" fmla="*/ 47 w 61"/>
              <a:gd name="T17" fmla="*/ 15 h 61"/>
              <a:gd name="T18" fmla="*/ 50 w 61"/>
              <a:gd name="T19" fmla="*/ 7 h 61"/>
              <a:gd name="T20" fmla="*/ 41 w 61"/>
              <a:gd name="T21" fmla="*/ 2 h 61"/>
              <a:gd name="T22" fmla="*/ 36 w 61"/>
              <a:gd name="T23" fmla="*/ 9 h 61"/>
              <a:gd name="T24" fmla="*/ 30 w 61"/>
              <a:gd name="T25" fmla="*/ 8 h 61"/>
              <a:gd name="T26" fmla="*/ 27 w 61"/>
              <a:gd name="T27" fmla="*/ 0 h 61"/>
              <a:gd name="T28" fmla="*/ 17 w 61"/>
              <a:gd name="T29" fmla="*/ 3 h 61"/>
              <a:gd name="T30" fmla="*/ 18 w 61"/>
              <a:gd name="T31" fmla="*/ 11 h 61"/>
              <a:gd name="T32" fmla="*/ 15 w 61"/>
              <a:gd name="T33" fmla="*/ 14 h 61"/>
              <a:gd name="T34" fmla="*/ 7 w 61"/>
              <a:gd name="T35" fmla="*/ 11 h 61"/>
              <a:gd name="T36" fmla="*/ 2 w 61"/>
              <a:gd name="T37" fmla="*/ 20 h 61"/>
              <a:gd name="T38" fmla="*/ 8 w 61"/>
              <a:gd name="T39" fmla="*/ 25 h 61"/>
              <a:gd name="T40" fmla="*/ 7 w 61"/>
              <a:gd name="T41" fmla="*/ 30 h 61"/>
              <a:gd name="T42" fmla="*/ 0 w 61"/>
              <a:gd name="T43" fmla="*/ 33 h 61"/>
              <a:gd name="T44" fmla="*/ 2 w 61"/>
              <a:gd name="T45" fmla="*/ 43 h 61"/>
              <a:gd name="T46" fmla="*/ 11 w 61"/>
              <a:gd name="T47" fmla="*/ 42 h 61"/>
              <a:gd name="T48" fmla="*/ 14 w 61"/>
              <a:gd name="T49" fmla="*/ 47 h 61"/>
              <a:gd name="T50" fmla="*/ 11 w 61"/>
              <a:gd name="T51" fmla="*/ 54 h 61"/>
              <a:gd name="T52" fmla="*/ 20 w 61"/>
              <a:gd name="T53" fmla="*/ 59 h 61"/>
              <a:gd name="T54" fmla="*/ 25 w 61"/>
              <a:gd name="T55" fmla="*/ 53 h 61"/>
              <a:gd name="T56" fmla="*/ 30 w 61"/>
              <a:gd name="T57" fmla="*/ 53 h 61"/>
              <a:gd name="T58" fmla="*/ 33 w 61"/>
              <a:gd name="T59" fmla="*/ 61 h 61"/>
              <a:gd name="T60" fmla="*/ 43 w 61"/>
              <a:gd name="T61" fmla="*/ 58 h 61"/>
              <a:gd name="T62" fmla="*/ 42 w 61"/>
              <a:gd name="T63" fmla="*/ 50 h 61"/>
              <a:gd name="T64" fmla="*/ 46 w 61"/>
              <a:gd name="T65" fmla="*/ 47 h 61"/>
              <a:gd name="T66" fmla="*/ 54 w 61"/>
              <a:gd name="T67" fmla="*/ 50 h 61"/>
              <a:gd name="T68" fmla="*/ 59 w 61"/>
              <a:gd name="T69" fmla="*/ 41 h 61"/>
              <a:gd name="T70" fmla="*/ 52 w 61"/>
              <a:gd name="T71" fmla="*/ 36 h 61"/>
              <a:gd name="T72" fmla="*/ 53 w 61"/>
              <a:gd name="T73" fmla="*/ 31 h 61"/>
              <a:gd name="T74" fmla="*/ 61 w 61"/>
              <a:gd name="T75" fmla="*/ 28 h 61"/>
              <a:gd name="T76" fmla="*/ 28 w 61"/>
              <a:gd name="T77" fmla="*/ 26 h 61"/>
              <a:gd name="T78" fmla="*/ 26 w 61"/>
              <a:gd name="T79" fmla="*/ 33 h 61"/>
              <a:gd name="T80" fmla="*/ 33 w 61"/>
              <a:gd name="T81" fmla="*/ 35 h 61"/>
              <a:gd name="T82" fmla="*/ 35 w 61"/>
              <a:gd name="T83" fmla="*/ 28 h 61"/>
              <a:gd name="T84" fmla="*/ 28 w 61"/>
              <a:gd name="T85" fmla="*/ 26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" h="61">
                <a:moveTo>
                  <a:pt x="37" y="43"/>
                </a:moveTo>
                <a:cubicBezTo>
                  <a:pt x="30" y="47"/>
                  <a:pt x="21" y="44"/>
                  <a:pt x="18" y="37"/>
                </a:cubicBezTo>
                <a:cubicBezTo>
                  <a:pt x="14" y="30"/>
                  <a:pt x="17" y="21"/>
                  <a:pt x="24" y="18"/>
                </a:cubicBezTo>
                <a:cubicBezTo>
                  <a:pt x="31" y="14"/>
                  <a:pt x="39" y="17"/>
                  <a:pt x="43" y="24"/>
                </a:cubicBezTo>
                <a:cubicBezTo>
                  <a:pt x="47" y="31"/>
                  <a:pt x="44" y="40"/>
                  <a:pt x="37" y="43"/>
                </a:cubicBezTo>
                <a:moveTo>
                  <a:pt x="61" y="28"/>
                </a:moveTo>
                <a:cubicBezTo>
                  <a:pt x="58" y="18"/>
                  <a:pt x="58" y="18"/>
                  <a:pt x="58" y="18"/>
                </a:cubicBezTo>
                <a:cubicBezTo>
                  <a:pt x="50" y="19"/>
                  <a:pt x="50" y="19"/>
                  <a:pt x="50" y="19"/>
                </a:cubicBezTo>
                <a:cubicBezTo>
                  <a:pt x="49" y="17"/>
                  <a:pt x="48" y="16"/>
                  <a:pt x="47" y="15"/>
                </a:cubicBezTo>
                <a:cubicBezTo>
                  <a:pt x="50" y="7"/>
                  <a:pt x="50" y="7"/>
                  <a:pt x="50" y="7"/>
                </a:cubicBezTo>
                <a:cubicBezTo>
                  <a:pt x="41" y="2"/>
                  <a:pt x="41" y="2"/>
                  <a:pt x="41" y="2"/>
                </a:cubicBezTo>
                <a:cubicBezTo>
                  <a:pt x="36" y="9"/>
                  <a:pt x="36" y="9"/>
                  <a:pt x="36" y="9"/>
                </a:cubicBezTo>
                <a:cubicBezTo>
                  <a:pt x="34" y="8"/>
                  <a:pt x="32" y="8"/>
                  <a:pt x="30" y="8"/>
                </a:cubicBezTo>
                <a:cubicBezTo>
                  <a:pt x="27" y="0"/>
                  <a:pt x="27" y="0"/>
                  <a:pt x="27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18" y="11"/>
                  <a:pt x="18" y="11"/>
                  <a:pt x="18" y="11"/>
                </a:cubicBezTo>
                <a:cubicBezTo>
                  <a:pt x="17" y="12"/>
                  <a:pt x="16" y="13"/>
                  <a:pt x="15" y="14"/>
                </a:cubicBezTo>
                <a:cubicBezTo>
                  <a:pt x="7" y="11"/>
                  <a:pt x="7" y="11"/>
                  <a:pt x="7" y="11"/>
                </a:cubicBezTo>
                <a:cubicBezTo>
                  <a:pt x="2" y="20"/>
                  <a:pt x="2" y="20"/>
                  <a:pt x="2" y="20"/>
                </a:cubicBezTo>
                <a:cubicBezTo>
                  <a:pt x="8" y="25"/>
                  <a:pt x="8" y="25"/>
                  <a:pt x="8" y="25"/>
                </a:cubicBezTo>
                <a:cubicBezTo>
                  <a:pt x="8" y="27"/>
                  <a:pt x="7" y="28"/>
                  <a:pt x="7" y="30"/>
                </a:cubicBezTo>
                <a:cubicBezTo>
                  <a:pt x="0" y="33"/>
                  <a:pt x="0" y="33"/>
                  <a:pt x="0" y="33"/>
                </a:cubicBezTo>
                <a:cubicBezTo>
                  <a:pt x="2" y="43"/>
                  <a:pt x="2" y="43"/>
                  <a:pt x="2" y="43"/>
                </a:cubicBezTo>
                <a:cubicBezTo>
                  <a:pt x="11" y="42"/>
                  <a:pt x="11" y="42"/>
                  <a:pt x="11" y="42"/>
                </a:cubicBezTo>
                <a:cubicBezTo>
                  <a:pt x="12" y="44"/>
                  <a:pt x="13" y="45"/>
                  <a:pt x="14" y="47"/>
                </a:cubicBezTo>
                <a:cubicBezTo>
                  <a:pt x="11" y="54"/>
                  <a:pt x="11" y="54"/>
                  <a:pt x="11" y="54"/>
                </a:cubicBezTo>
                <a:cubicBezTo>
                  <a:pt x="20" y="59"/>
                  <a:pt x="20" y="59"/>
                  <a:pt x="20" y="59"/>
                </a:cubicBezTo>
                <a:cubicBezTo>
                  <a:pt x="25" y="53"/>
                  <a:pt x="25" y="53"/>
                  <a:pt x="25" y="53"/>
                </a:cubicBezTo>
                <a:cubicBezTo>
                  <a:pt x="26" y="53"/>
                  <a:pt x="28" y="53"/>
                  <a:pt x="30" y="53"/>
                </a:cubicBezTo>
                <a:cubicBezTo>
                  <a:pt x="33" y="61"/>
                  <a:pt x="33" y="61"/>
                  <a:pt x="33" y="61"/>
                </a:cubicBezTo>
                <a:cubicBezTo>
                  <a:pt x="43" y="58"/>
                  <a:pt x="43" y="58"/>
                  <a:pt x="43" y="58"/>
                </a:cubicBezTo>
                <a:cubicBezTo>
                  <a:pt x="42" y="50"/>
                  <a:pt x="42" y="50"/>
                  <a:pt x="42" y="50"/>
                </a:cubicBezTo>
                <a:cubicBezTo>
                  <a:pt x="44" y="49"/>
                  <a:pt x="45" y="48"/>
                  <a:pt x="46" y="47"/>
                </a:cubicBezTo>
                <a:cubicBezTo>
                  <a:pt x="54" y="50"/>
                  <a:pt x="54" y="50"/>
                  <a:pt x="54" y="50"/>
                </a:cubicBezTo>
                <a:cubicBezTo>
                  <a:pt x="59" y="41"/>
                  <a:pt x="59" y="41"/>
                  <a:pt x="59" y="41"/>
                </a:cubicBezTo>
                <a:cubicBezTo>
                  <a:pt x="52" y="36"/>
                  <a:pt x="52" y="36"/>
                  <a:pt x="52" y="36"/>
                </a:cubicBezTo>
                <a:cubicBezTo>
                  <a:pt x="53" y="34"/>
                  <a:pt x="53" y="33"/>
                  <a:pt x="53" y="31"/>
                </a:cubicBezTo>
                <a:lnTo>
                  <a:pt x="61" y="28"/>
                </a:lnTo>
                <a:close/>
                <a:moveTo>
                  <a:pt x="28" y="26"/>
                </a:moveTo>
                <a:cubicBezTo>
                  <a:pt x="25" y="27"/>
                  <a:pt x="24" y="30"/>
                  <a:pt x="26" y="33"/>
                </a:cubicBezTo>
                <a:cubicBezTo>
                  <a:pt x="27" y="35"/>
                  <a:pt x="30" y="36"/>
                  <a:pt x="33" y="35"/>
                </a:cubicBezTo>
                <a:cubicBezTo>
                  <a:pt x="35" y="34"/>
                  <a:pt x="36" y="31"/>
                  <a:pt x="35" y="28"/>
                </a:cubicBezTo>
                <a:cubicBezTo>
                  <a:pt x="34" y="26"/>
                  <a:pt x="31" y="25"/>
                  <a:pt x="28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2974" tIns="46489" rIns="92974" bIns="46489" numCol="1" anchor="t" anchorCtr="0" compatLnSpc="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1" name="Picture 9" descr="\\MAGNUM\Projects\Microsoft\Cloud Power FY12\Design\Icons\PNGs\Optimized.png"/>
          <p:cNvPicPr>
            <a:picLocks noChangeAspect="1" noChangeArrowheads="1"/>
          </p:cNvPicPr>
          <p:nvPr/>
        </p:nvPicPr>
        <p:blipFill>
          <a:blip r:embed="rId1" cstate="print">
            <a:lum bright="100000"/>
          </a:blip>
          <a:srcRect/>
          <a:stretch>
            <a:fillRect/>
          </a:stretch>
        </p:blipFill>
        <p:spPr bwMode="auto">
          <a:xfrm>
            <a:off x="1668645" y="3971450"/>
            <a:ext cx="794003" cy="794003"/>
          </a:xfrm>
          <a:prstGeom prst="rect">
            <a:avLst/>
          </a:prstGeom>
          <a:noFill/>
        </p:spPr>
      </p:pic>
      <p:pic>
        <p:nvPicPr>
          <p:cNvPr id="62" name="Picture 5" descr="W:\Open Engagements\Productivity\MS-Unified Communications\#1601 BizProd MOD Team Core Content Work\New Iconography\Words\Fix_0605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831" y="3924614"/>
            <a:ext cx="867857" cy="869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4" descr="W:\Open Engagements\Productivity\MS-Unified Communications\#1601 BizProd MOD Team Core Content Work\New Iconography\Words\Draft\061312_Word_Icons\Tools_061312_white-04.pn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41269" y="2845574"/>
            <a:ext cx="700741" cy="699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4" name="Group 45"/>
          <p:cNvGrpSpPr>
            <a:grpSpLocks noChangeAspect="1"/>
          </p:cNvGrpSpPr>
          <p:nvPr/>
        </p:nvGrpSpPr>
        <p:grpSpPr bwMode="black">
          <a:xfrm>
            <a:off x="1731915" y="2883745"/>
            <a:ext cx="656836" cy="739091"/>
            <a:chOff x="1752600" y="4267200"/>
            <a:chExt cx="1157286" cy="1302545"/>
          </a:xfrm>
        </p:grpSpPr>
        <p:sp>
          <p:nvSpPr>
            <p:cNvPr id="65" name="Freeform 219"/>
            <p:cNvSpPr/>
            <p:nvPr/>
          </p:nvSpPr>
          <p:spPr bwMode="black">
            <a:xfrm>
              <a:off x="2573475" y="4995891"/>
              <a:ext cx="330824" cy="573854"/>
            </a:xfrm>
            <a:custGeom>
              <a:avLst/>
              <a:gdLst>
                <a:gd name="T0" fmla="*/ 157 w 351"/>
                <a:gd name="T1" fmla="*/ 2 h 609"/>
                <a:gd name="T2" fmla="*/ 155 w 351"/>
                <a:gd name="T3" fmla="*/ 104 h 609"/>
                <a:gd name="T4" fmla="*/ 180 w 351"/>
                <a:gd name="T5" fmla="*/ 99 h 609"/>
                <a:gd name="T6" fmla="*/ 231 w 351"/>
                <a:gd name="T7" fmla="*/ 121 h 609"/>
                <a:gd name="T8" fmla="*/ 252 w 351"/>
                <a:gd name="T9" fmla="*/ 174 h 609"/>
                <a:gd name="T10" fmla="*/ 251 w 351"/>
                <a:gd name="T11" fmla="*/ 212 h 609"/>
                <a:gd name="T12" fmla="*/ 251 w 351"/>
                <a:gd name="T13" fmla="*/ 212 h 609"/>
                <a:gd name="T14" fmla="*/ 247 w 351"/>
                <a:gd name="T15" fmla="*/ 387 h 609"/>
                <a:gd name="T16" fmla="*/ 247 w 351"/>
                <a:gd name="T17" fmla="*/ 387 h 609"/>
                <a:gd name="T18" fmla="*/ 246 w 351"/>
                <a:gd name="T19" fmla="*/ 438 h 609"/>
                <a:gd name="T20" fmla="*/ 223 w 351"/>
                <a:gd name="T21" fmla="*/ 489 h 609"/>
                <a:gd name="T22" fmla="*/ 171 w 351"/>
                <a:gd name="T23" fmla="*/ 510 h 609"/>
                <a:gd name="T24" fmla="*/ 120 w 351"/>
                <a:gd name="T25" fmla="*/ 487 h 609"/>
                <a:gd name="T26" fmla="*/ 100 w 351"/>
                <a:gd name="T27" fmla="*/ 435 h 609"/>
                <a:gd name="T28" fmla="*/ 101 w 351"/>
                <a:gd name="T29" fmla="*/ 395 h 609"/>
                <a:gd name="T30" fmla="*/ 4 w 351"/>
                <a:gd name="T31" fmla="*/ 311 h 609"/>
                <a:gd name="T32" fmla="*/ 1 w 351"/>
                <a:gd name="T33" fmla="*/ 433 h 609"/>
                <a:gd name="T34" fmla="*/ 49 w 351"/>
                <a:gd name="T35" fmla="*/ 555 h 609"/>
                <a:gd name="T36" fmla="*/ 169 w 351"/>
                <a:gd name="T37" fmla="*/ 608 h 609"/>
                <a:gd name="T38" fmla="*/ 292 w 351"/>
                <a:gd name="T39" fmla="*/ 561 h 609"/>
                <a:gd name="T40" fmla="*/ 292 w 351"/>
                <a:gd name="T41" fmla="*/ 561 h 609"/>
                <a:gd name="T42" fmla="*/ 345 w 351"/>
                <a:gd name="T43" fmla="*/ 441 h 609"/>
                <a:gd name="T44" fmla="*/ 350 w 351"/>
                <a:gd name="T45" fmla="*/ 176 h 609"/>
                <a:gd name="T46" fmla="*/ 303 w 351"/>
                <a:gd name="T47" fmla="*/ 53 h 609"/>
                <a:gd name="T48" fmla="*/ 183 w 351"/>
                <a:gd name="T49" fmla="*/ 0 h 609"/>
                <a:gd name="T50" fmla="*/ 157 w 351"/>
                <a:gd name="T51" fmla="*/ 2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51" h="609">
                  <a:moveTo>
                    <a:pt x="157" y="2"/>
                  </a:moveTo>
                  <a:cubicBezTo>
                    <a:pt x="155" y="104"/>
                    <a:pt x="155" y="104"/>
                    <a:pt x="155" y="104"/>
                  </a:cubicBezTo>
                  <a:cubicBezTo>
                    <a:pt x="163" y="101"/>
                    <a:pt x="171" y="99"/>
                    <a:pt x="180" y="99"/>
                  </a:cubicBezTo>
                  <a:cubicBezTo>
                    <a:pt x="201" y="99"/>
                    <a:pt x="218" y="108"/>
                    <a:pt x="231" y="121"/>
                  </a:cubicBezTo>
                  <a:cubicBezTo>
                    <a:pt x="244" y="135"/>
                    <a:pt x="252" y="153"/>
                    <a:pt x="252" y="174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47" y="387"/>
                    <a:pt x="247" y="387"/>
                    <a:pt x="247" y="387"/>
                  </a:cubicBezTo>
                  <a:cubicBezTo>
                    <a:pt x="247" y="387"/>
                    <a:pt x="247" y="387"/>
                    <a:pt x="247" y="387"/>
                  </a:cubicBezTo>
                  <a:cubicBezTo>
                    <a:pt x="246" y="438"/>
                    <a:pt x="246" y="438"/>
                    <a:pt x="246" y="438"/>
                  </a:cubicBezTo>
                  <a:cubicBezTo>
                    <a:pt x="245" y="459"/>
                    <a:pt x="237" y="476"/>
                    <a:pt x="223" y="489"/>
                  </a:cubicBezTo>
                  <a:cubicBezTo>
                    <a:pt x="210" y="502"/>
                    <a:pt x="191" y="510"/>
                    <a:pt x="171" y="510"/>
                  </a:cubicBezTo>
                  <a:cubicBezTo>
                    <a:pt x="151" y="509"/>
                    <a:pt x="133" y="501"/>
                    <a:pt x="120" y="487"/>
                  </a:cubicBezTo>
                  <a:cubicBezTo>
                    <a:pt x="107" y="474"/>
                    <a:pt x="99" y="455"/>
                    <a:pt x="100" y="435"/>
                  </a:cubicBezTo>
                  <a:cubicBezTo>
                    <a:pt x="101" y="395"/>
                    <a:pt x="101" y="395"/>
                    <a:pt x="101" y="395"/>
                  </a:cubicBezTo>
                  <a:cubicBezTo>
                    <a:pt x="42" y="375"/>
                    <a:pt x="16" y="338"/>
                    <a:pt x="4" y="311"/>
                  </a:cubicBezTo>
                  <a:cubicBezTo>
                    <a:pt x="1" y="433"/>
                    <a:pt x="1" y="433"/>
                    <a:pt x="1" y="433"/>
                  </a:cubicBezTo>
                  <a:cubicBezTo>
                    <a:pt x="0" y="480"/>
                    <a:pt x="18" y="524"/>
                    <a:pt x="49" y="555"/>
                  </a:cubicBezTo>
                  <a:cubicBezTo>
                    <a:pt x="79" y="587"/>
                    <a:pt x="122" y="607"/>
                    <a:pt x="169" y="608"/>
                  </a:cubicBezTo>
                  <a:cubicBezTo>
                    <a:pt x="216" y="609"/>
                    <a:pt x="260" y="591"/>
                    <a:pt x="292" y="561"/>
                  </a:cubicBezTo>
                  <a:cubicBezTo>
                    <a:pt x="292" y="561"/>
                    <a:pt x="292" y="561"/>
                    <a:pt x="292" y="561"/>
                  </a:cubicBezTo>
                  <a:cubicBezTo>
                    <a:pt x="323" y="530"/>
                    <a:pt x="343" y="488"/>
                    <a:pt x="345" y="441"/>
                  </a:cubicBezTo>
                  <a:cubicBezTo>
                    <a:pt x="350" y="176"/>
                    <a:pt x="350" y="176"/>
                    <a:pt x="350" y="176"/>
                  </a:cubicBezTo>
                  <a:cubicBezTo>
                    <a:pt x="351" y="128"/>
                    <a:pt x="333" y="85"/>
                    <a:pt x="303" y="53"/>
                  </a:cubicBezTo>
                  <a:cubicBezTo>
                    <a:pt x="273" y="22"/>
                    <a:pt x="230" y="1"/>
                    <a:pt x="183" y="0"/>
                  </a:cubicBezTo>
                  <a:cubicBezTo>
                    <a:pt x="174" y="0"/>
                    <a:pt x="165" y="1"/>
                    <a:pt x="157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6" name="Freeform 220"/>
            <p:cNvSpPr/>
            <p:nvPr/>
          </p:nvSpPr>
          <p:spPr bwMode="black">
            <a:xfrm>
              <a:off x="2579062" y="4756453"/>
              <a:ext cx="330824" cy="573854"/>
            </a:xfrm>
            <a:custGeom>
              <a:avLst/>
              <a:gdLst>
                <a:gd name="T0" fmla="*/ 182 w 351"/>
                <a:gd name="T1" fmla="*/ 1 h 609"/>
                <a:gd name="T2" fmla="*/ 60 w 351"/>
                <a:gd name="T3" fmla="*/ 48 h 609"/>
                <a:gd name="T4" fmla="*/ 60 w 351"/>
                <a:gd name="T5" fmla="*/ 49 h 609"/>
                <a:gd name="T6" fmla="*/ 7 w 351"/>
                <a:gd name="T7" fmla="*/ 169 h 609"/>
                <a:gd name="T8" fmla="*/ 1 w 351"/>
                <a:gd name="T9" fmla="*/ 433 h 609"/>
                <a:gd name="T10" fmla="*/ 48 w 351"/>
                <a:gd name="T11" fmla="*/ 556 h 609"/>
                <a:gd name="T12" fmla="*/ 169 w 351"/>
                <a:gd name="T13" fmla="*/ 609 h 609"/>
                <a:gd name="T14" fmla="*/ 194 w 351"/>
                <a:gd name="T15" fmla="*/ 607 h 609"/>
                <a:gd name="T16" fmla="*/ 197 w 351"/>
                <a:gd name="T17" fmla="*/ 505 h 609"/>
                <a:gd name="T18" fmla="*/ 171 w 351"/>
                <a:gd name="T19" fmla="*/ 510 h 609"/>
                <a:gd name="T20" fmla="*/ 120 w 351"/>
                <a:gd name="T21" fmla="*/ 488 h 609"/>
                <a:gd name="T22" fmla="*/ 99 w 351"/>
                <a:gd name="T23" fmla="*/ 436 h 609"/>
                <a:gd name="T24" fmla="*/ 104 w 351"/>
                <a:gd name="T25" fmla="*/ 227 h 609"/>
                <a:gd name="T26" fmla="*/ 104 w 351"/>
                <a:gd name="T27" fmla="*/ 220 h 609"/>
                <a:gd name="T28" fmla="*/ 105 w 351"/>
                <a:gd name="T29" fmla="*/ 171 h 609"/>
                <a:gd name="T30" fmla="*/ 128 w 351"/>
                <a:gd name="T31" fmla="*/ 120 h 609"/>
                <a:gd name="T32" fmla="*/ 180 w 351"/>
                <a:gd name="T33" fmla="*/ 99 h 609"/>
                <a:gd name="T34" fmla="*/ 231 w 351"/>
                <a:gd name="T35" fmla="*/ 122 h 609"/>
                <a:gd name="T36" fmla="*/ 251 w 351"/>
                <a:gd name="T37" fmla="*/ 174 h 609"/>
                <a:gd name="T38" fmla="*/ 250 w 351"/>
                <a:gd name="T39" fmla="*/ 214 h 609"/>
                <a:gd name="T40" fmla="*/ 347 w 351"/>
                <a:gd name="T41" fmla="*/ 299 h 609"/>
                <a:gd name="T42" fmla="*/ 350 w 351"/>
                <a:gd name="T43" fmla="*/ 176 h 609"/>
                <a:gd name="T44" fmla="*/ 302 w 351"/>
                <a:gd name="T45" fmla="*/ 54 h 609"/>
                <a:gd name="T46" fmla="*/ 182 w 351"/>
                <a:gd name="T47" fmla="*/ 1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609">
                  <a:moveTo>
                    <a:pt x="182" y="1"/>
                  </a:moveTo>
                  <a:cubicBezTo>
                    <a:pt x="135" y="0"/>
                    <a:pt x="91" y="18"/>
                    <a:pt x="60" y="48"/>
                  </a:cubicBezTo>
                  <a:cubicBezTo>
                    <a:pt x="60" y="48"/>
                    <a:pt x="60" y="49"/>
                    <a:pt x="60" y="49"/>
                  </a:cubicBezTo>
                  <a:cubicBezTo>
                    <a:pt x="28" y="79"/>
                    <a:pt x="8" y="122"/>
                    <a:pt x="7" y="169"/>
                  </a:cubicBezTo>
                  <a:cubicBezTo>
                    <a:pt x="1" y="433"/>
                    <a:pt x="1" y="433"/>
                    <a:pt x="1" y="433"/>
                  </a:cubicBezTo>
                  <a:cubicBezTo>
                    <a:pt x="0" y="481"/>
                    <a:pt x="18" y="524"/>
                    <a:pt x="48" y="556"/>
                  </a:cubicBezTo>
                  <a:cubicBezTo>
                    <a:pt x="79" y="588"/>
                    <a:pt x="121" y="608"/>
                    <a:pt x="169" y="609"/>
                  </a:cubicBezTo>
                  <a:cubicBezTo>
                    <a:pt x="177" y="609"/>
                    <a:pt x="186" y="608"/>
                    <a:pt x="194" y="607"/>
                  </a:cubicBezTo>
                  <a:cubicBezTo>
                    <a:pt x="197" y="505"/>
                    <a:pt x="197" y="505"/>
                    <a:pt x="197" y="505"/>
                  </a:cubicBezTo>
                  <a:cubicBezTo>
                    <a:pt x="189" y="508"/>
                    <a:pt x="180" y="510"/>
                    <a:pt x="171" y="510"/>
                  </a:cubicBezTo>
                  <a:cubicBezTo>
                    <a:pt x="151" y="510"/>
                    <a:pt x="133" y="501"/>
                    <a:pt x="120" y="488"/>
                  </a:cubicBezTo>
                  <a:cubicBezTo>
                    <a:pt x="107" y="474"/>
                    <a:pt x="99" y="456"/>
                    <a:pt x="99" y="436"/>
                  </a:cubicBezTo>
                  <a:cubicBezTo>
                    <a:pt x="104" y="227"/>
                    <a:pt x="104" y="227"/>
                    <a:pt x="104" y="227"/>
                  </a:cubicBezTo>
                  <a:cubicBezTo>
                    <a:pt x="104" y="220"/>
                    <a:pt x="104" y="220"/>
                    <a:pt x="104" y="220"/>
                  </a:cubicBezTo>
                  <a:cubicBezTo>
                    <a:pt x="105" y="171"/>
                    <a:pt x="105" y="171"/>
                    <a:pt x="105" y="171"/>
                  </a:cubicBezTo>
                  <a:cubicBezTo>
                    <a:pt x="106" y="151"/>
                    <a:pt x="114" y="133"/>
                    <a:pt x="128" y="120"/>
                  </a:cubicBezTo>
                  <a:cubicBezTo>
                    <a:pt x="142" y="107"/>
                    <a:pt x="160" y="99"/>
                    <a:pt x="180" y="99"/>
                  </a:cubicBezTo>
                  <a:cubicBezTo>
                    <a:pt x="200" y="100"/>
                    <a:pt x="218" y="108"/>
                    <a:pt x="231" y="122"/>
                  </a:cubicBezTo>
                  <a:cubicBezTo>
                    <a:pt x="244" y="136"/>
                    <a:pt x="252" y="154"/>
                    <a:pt x="251" y="174"/>
                  </a:cubicBezTo>
                  <a:cubicBezTo>
                    <a:pt x="250" y="214"/>
                    <a:pt x="250" y="214"/>
                    <a:pt x="250" y="214"/>
                  </a:cubicBezTo>
                  <a:cubicBezTo>
                    <a:pt x="309" y="234"/>
                    <a:pt x="335" y="271"/>
                    <a:pt x="347" y="299"/>
                  </a:cubicBezTo>
                  <a:cubicBezTo>
                    <a:pt x="350" y="176"/>
                    <a:pt x="350" y="176"/>
                    <a:pt x="350" y="176"/>
                  </a:cubicBezTo>
                  <a:cubicBezTo>
                    <a:pt x="351" y="129"/>
                    <a:pt x="333" y="85"/>
                    <a:pt x="302" y="54"/>
                  </a:cubicBezTo>
                  <a:cubicBezTo>
                    <a:pt x="272" y="22"/>
                    <a:pt x="229" y="2"/>
                    <a:pt x="18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7" name="Freeform 221"/>
            <p:cNvSpPr/>
            <p:nvPr/>
          </p:nvSpPr>
          <p:spPr bwMode="black">
            <a:xfrm>
              <a:off x="1752600" y="4467929"/>
              <a:ext cx="670029" cy="926627"/>
            </a:xfrm>
            <a:custGeom>
              <a:avLst/>
              <a:gdLst>
                <a:gd name="T0" fmla="*/ 678 w 711"/>
                <a:gd name="T1" fmla="*/ 915 h 983"/>
                <a:gd name="T2" fmla="*/ 154 w 711"/>
                <a:gd name="T3" fmla="*/ 755 h 983"/>
                <a:gd name="T4" fmla="*/ 69 w 711"/>
                <a:gd name="T5" fmla="*/ 562 h 983"/>
                <a:gd name="T6" fmla="*/ 69 w 711"/>
                <a:gd name="T7" fmla="*/ 34 h 983"/>
                <a:gd name="T8" fmla="*/ 34 w 711"/>
                <a:gd name="T9" fmla="*/ 0 h 983"/>
                <a:gd name="T10" fmla="*/ 0 w 711"/>
                <a:gd name="T11" fmla="*/ 34 h 983"/>
                <a:gd name="T12" fmla="*/ 0 w 711"/>
                <a:gd name="T13" fmla="*/ 562 h 983"/>
                <a:gd name="T14" fmla="*/ 0 w 711"/>
                <a:gd name="T15" fmla="*/ 562 h 983"/>
                <a:gd name="T16" fmla="*/ 108 w 711"/>
                <a:gd name="T17" fmla="*/ 805 h 983"/>
                <a:gd name="T18" fmla="*/ 676 w 711"/>
                <a:gd name="T19" fmla="*/ 983 h 983"/>
                <a:gd name="T20" fmla="*/ 677 w 711"/>
                <a:gd name="T21" fmla="*/ 983 h 983"/>
                <a:gd name="T22" fmla="*/ 711 w 711"/>
                <a:gd name="T23" fmla="*/ 950 h 983"/>
                <a:gd name="T24" fmla="*/ 678 w 711"/>
                <a:gd name="T25" fmla="*/ 915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1" h="983">
                  <a:moveTo>
                    <a:pt x="678" y="915"/>
                  </a:moveTo>
                  <a:cubicBezTo>
                    <a:pt x="470" y="911"/>
                    <a:pt x="285" y="874"/>
                    <a:pt x="154" y="755"/>
                  </a:cubicBezTo>
                  <a:cubicBezTo>
                    <a:pt x="110" y="712"/>
                    <a:pt x="69" y="647"/>
                    <a:pt x="69" y="562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15"/>
                    <a:pt x="53" y="0"/>
                    <a:pt x="34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562"/>
                    <a:pt x="0" y="562"/>
                    <a:pt x="0" y="562"/>
                  </a:cubicBezTo>
                  <a:cubicBezTo>
                    <a:pt x="0" y="562"/>
                    <a:pt x="0" y="562"/>
                    <a:pt x="0" y="562"/>
                  </a:cubicBezTo>
                  <a:cubicBezTo>
                    <a:pt x="1" y="670"/>
                    <a:pt x="53" y="753"/>
                    <a:pt x="108" y="805"/>
                  </a:cubicBezTo>
                  <a:cubicBezTo>
                    <a:pt x="259" y="942"/>
                    <a:pt x="462" y="980"/>
                    <a:pt x="676" y="983"/>
                  </a:cubicBezTo>
                  <a:cubicBezTo>
                    <a:pt x="677" y="983"/>
                    <a:pt x="677" y="983"/>
                    <a:pt x="677" y="983"/>
                  </a:cubicBezTo>
                  <a:cubicBezTo>
                    <a:pt x="695" y="983"/>
                    <a:pt x="711" y="969"/>
                    <a:pt x="711" y="950"/>
                  </a:cubicBezTo>
                  <a:cubicBezTo>
                    <a:pt x="711" y="931"/>
                    <a:pt x="697" y="915"/>
                    <a:pt x="678" y="9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8" name="Freeform 222"/>
            <p:cNvSpPr/>
            <p:nvPr/>
          </p:nvSpPr>
          <p:spPr bwMode="black">
            <a:xfrm>
              <a:off x="1752600" y="4467929"/>
              <a:ext cx="670029" cy="926627"/>
            </a:xfrm>
            <a:custGeom>
              <a:avLst/>
              <a:gdLst>
                <a:gd name="T0" fmla="*/ 678 w 711"/>
                <a:gd name="T1" fmla="*/ 915 h 983"/>
                <a:gd name="T2" fmla="*/ 154 w 711"/>
                <a:gd name="T3" fmla="*/ 755 h 983"/>
                <a:gd name="T4" fmla="*/ 69 w 711"/>
                <a:gd name="T5" fmla="*/ 562 h 983"/>
                <a:gd name="T6" fmla="*/ 69 w 711"/>
                <a:gd name="T7" fmla="*/ 34 h 983"/>
                <a:gd name="T8" fmla="*/ 34 w 711"/>
                <a:gd name="T9" fmla="*/ 0 h 983"/>
                <a:gd name="T10" fmla="*/ 0 w 711"/>
                <a:gd name="T11" fmla="*/ 34 h 983"/>
                <a:gd name="T12" fmla="*/ 0 w 711"/>
                <a:gd name="T13" fmla="*/ 562 h 983"/>
                <a:gd name="T14" fmla="*/ 0 w 711"/>
                <a:gd name="T15" fmla="*/ 562 h 983"/>
                <a:gd name="T16" fmla="*/ 108 w 711"/>
                <a:gd name="T17" fmla="*/ 805 h 983"/>
                <a:gd name="T18" fmla="*/ 676 w 711"/>
                <a:gd name="T19" fmla="*/ 983 h 983"/>
                <a:gd name="T20" fmla="*/ 677 w 711"/>
                <a:gd name="T21" fmla="*/ 983 h 983"/>
                <a:gd name="T22" fmla="*/ 711 w 711"/>
                <a:gd name="T23" fmla="*/ 950 h 983"/>
                <a:gd name="T24" fmla="*/ 678 w 711"/>
                <a:gd name="T25" fmla="*/ 915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1" h="983">
                  <a:moveTo>
                    <a:pt x="678" y="915"/>
                  </a:moveTo>
                  <a:cubicBezTo>
                    <a:pt x="470" y="911"/>
                    <a:pt x="285" y="874"/>
                    <a:pt x="154" y="755"/>
                  </a:cubicBezTo>
                  <a:cubicBezTo>
                    <a:pt x="110" y="712"/>
                    <a:pt x="69" y="647"/>
                    <a:pt x="69" y="562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15"/>
                    <a:pt x="53" y="0"/>
                    <a:pt x="34" y="0"/>
                  </a:cubicBezTo>
                  <a:cubicBezTo>
                    <a:pt x="16" y="0"/>
                    <a:pt x="0" y="15"/>
                    <a:pt x="0" y="34"/>
                  </a:cubicBezTo>
                  <a:cubicBezTo>
                    <a:pt x="0" y="562"/>
                    <a:pt x="0" y="562"/>
                    <a:pt x="0" y="562"/>
                  </a:cubicBezTo>
                  <a:cubicBezTo>
                    <a:pt x="0" y="562"/>
                    <a:pt x="0" y="562"/>
                    <a:pt x="0" y="562"/>
                  </a:cubicBezTo>
                  <a:cubicBezTo>
                    <a:pt x="1" y="670"/>
                    <a:pt x="53" y="753"/>
                    <a:pt x="108" y="805"/>
                  </a:cubicBezTo>
                  <a:cubicBezTo>
                    <a:pt x="259" y="942"/>
                    <a:pt x="462" y="980"/>
                    <a:pt x="676" y="983"/>
                  </a:cubicBezTo>
                  <a:cubicBezTo>
                    <a:pt x="677" y="983"/>
                    <a:pt x="677" y="983"/>
                    <a:pt x="677" y="983"/>
                  </a:cubicBezTo>
                  <a:cubicBezTo>
                    <a:pt x="695" y="983"/>
                    <a:pt x="711" y="969"/>
                    <a:pt x="711" y="950"/>
                  </a:cubicBezTo>
                  <a:cubicBezTo>
                    <a:pt x="711" y="931"/>
                    <a:pt x="697" y="915"/>
                    <a:pt x="678" y="9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9" name="Freeform 223"/>
            <p:cNvSpPr/>
            <p:nvPr/>
          </p:nvSpPr>
          <p:spPr bwMode="black">
            <a:xfrm>
              <a:off x="1977672" y="4663072"/>
              <a:ext cx="606178" cy="195940"/>
            </a:xfrm>
            <a:custGeom>
              <a:avLst/>
              <a:gdLst>
                <a:gd name="T0" fmla="*/ 643 w 643"/>
                <a:gd name="T1" fmla="*/ 132 h 208"/>
                <a:gd name="T2" fmla="*/ 438 w 643"/>
                <a:gd name="T3" fmla="*/ 150 h 208"/>
                <a:gd name="T4" fmla="*/ 0 w 643"/>
                <a:gd name="T5" fmla="*/ 0 h 208"/>
                <a:gd name="T6" fmla="*/ 0 w 643"/>
                <a:gd name="T7" fmla="*/ 103 h 208"/>
                <a:gd name="T8" fmla="*/ 39 w 643"/>
                <a:gd name="T9" fmla="*/ 130 h 208"/>
                <a:gd name="T10" fmla="*/ 438 w 643"/>
                <a:gd name="T11" fmla="*/ 208 h 208"/>
                <a:gd name="T12" fmla="*/ 606 w 643"/>
                <a:gd name="T13" fmla="*/ 197 h 208"/>
                <a:gd name="T14" fmla="*/ 643 w 643"/>
                <a:gd name="T15" fmla="*/ 13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3" h="208">
                  <a:moveTo>
                    <a:pt x="643" y="132"/>
                  </a:moveTo>
                  <a:cubicBezTo>
                    <a:pt x="582" y="143"/>
                    <a:pt x="512" y="150"/>
                    <a:pt x="438" y="150"/>
                  </a:cubicBezTo>
                  <a:cubicBezTo>
                    <a:pt x="196" y="150"/>
                    <a:pt x="0" y="82"/>
                    <a:pt x="0" y="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2" y="113"/>
                    <a:pt x="25" y="121"/>
                    <a:pt x="39" y="130"/>
                  </a:cubicBezTo>
                  <a:cubicBezTo>
                    <a:pt x="130" y="180"/>
                    <a:pt x="273" y="208"/>
                    <a:pt x="438" y="208"/>
                  </a:cubicBezTo>
                  <a:cubicBezTo>
                    <a:pt x="497" y="208"/>
                    <a:pt x="554" y="204"/>
                    <a:pt x="606" y="197"/>
                  </a:cubicBezTo>
                  <a:cubicBezTo>
                    <a:pt x="615" y="174"/>
                    <a:pt x="628" y="152"/>
                    <a:pt x="643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0" name="Freeform 224"/>
            <p:cNvSpPr/>
            <p:nvPr/>
          </p:nvSpPr>
          <p:spPr bwMode="black">
            <a:xfrm>
              <a:off x="1976076" y="4835467"/>
              <a:ext cx="555896" cy="196340"/>
            </a:xfrm>
            <a:custGeom>
              <a:avLst/>
              <a:gdLst>
                <a:gd name="T0" fmla="*/ 590 w 590"/>
                <a:gd name="T1" fmla="*/ 140 h 208"/>
                <a:gd name="T2" fmla="*/ 438 w 590"/>
                <a:gd name="T3" fmla="*/ 150 h 208"/>
                <a:gd name="T4" fmla="*/ 0 w 590"/>
                <a:gd name="T5" fmla="*/ 0 h 208"/>
                <a:gd name="T6" fmla="*/ 0 w 590"/>
                <a:gd name="T7" fmla="*/ 103 h 208"/>
                <a:gd name="T8" fmla="*/ 39 w 590"/>
                <a:gd name="T9" fmla="*/ 129 h 208"/>
                <a:gd name="T10" fmla="*/ 438 w 590"/>
                <a:gd name="T11" fmla="*/ 208 h 208"/>
                <a:gd name="T12" fmla="*/ 589 w 590"/>
                <a:gd name="T13" fmla="*/ 199 h 208"/>
                <a:gd name="T14" fmla="*/ 590 w 590"/>
                <a:gd name="T15" fmla="*/ 14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208">
                  <a:moveTo>
                    <a:pt x="590" y="140"/>
                  </a:moveTo>
                  <a:cubicBezTo>
                    <a:pt x="543" y="146"/>
                    <a:pt x="491" y="150"/>
                    <a:pt x="438" y="150"/>
                  </a:cubicBezTo>
                  <a:cubicBezTo>
                    <a:pt x="196" y="150"/>
                    <a:pt x="0" y="82"/>
                    <a:pt x="0" y="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2" y="113"/>
                    <a:pt x="25" y="121"/>
                    <a:pt x="39" y="129"/>
                  </a:cubicBezTo>
                  <a:cubicBezTo>
                    <a:pt x="129" y="180"/>
                    <a:pt x="273" y="208"/>
                    <a:pt x="438" y="208"/>
                  </a:cubicBezTo>
                  <a:cubicBezTo>
                    <a:pt x="491" y="208"/>
                    <a:pt x="541" y="205"/>
                    <a:pt x="589" y="199"/>
                  </a:cubicBezTo>
                  <a:lnTo>
                    <a:pt x="590" y="1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1" name="Freeform 225"/>
            <p:cNvSpPr>
              <a:spLocks noEditPoints="1"/>
            </p:cNvSpPr>
            <p:nvPr/>
          </p:nvSpPr>
          <p:spPr bwMode="black">
            <a:xfrm>
              <a:off x="1886286" y="4267200"/>
              <a:ext cx="1011628" cy="995266"/>
            </a:xfrm>
            <a:custGeom>
              <a:avLst/>
              <a:gdLst>
                <a:gd name="T0" fmla="*/ 683 w 1073"/>
                <a:gd name="T1" fmla="*/ 951 h 1056"/>
                <a:gd name="T2" fmla="*/ 683 w 1073"/>
                <a:gd name="T3" fmla="*/ 947 h 1056"/>
                <a:gd name="T4" fmla="*/ 537 w 1073"/>
                <a:gd name="T5" fmla="*/ 957 h 1056"/>
                <a:gd name="T6" fmla="*/ 99 w 1073"/>
                <a:gd name="T7" fmla="*/ 776 h 1056"/>
                <a:gd name="T8" fmla="*/ 99 w 1073"/>
                <a:gd name="T9" fmla="*/ 623 h 1056"/>
                <a:gd name="T10" fmla="*/ 99 w 1073"/>
                <a:gd name="T11" fmla="*/ 520 h 1056"/>
                <a:gd name="T12" fmla="*/ 99 w 1073"/>
                <a:gd name="T13" fmla="*/ 352 h 1056"/>
                <a:gd name="T14" fmla="*/ 137 w 1073"/>
                <a:gd name="T15" fmla="*/ 379 h 1056"/>
                <a:gd name="T16" fmla="*/ 537 w 1073"/>
                <a:gd name="T17" fmla="*/ 458 h 1056"/>
                <a:gd name="T18" fmla="*/ 862 w 1073"/>
                <a:gd name="T19" fmla="*/ 411 h 1056"/>
                <a:gd name="T20" fmla="*/ 972 w 1073"/>
                <a:gd name="T21" fmla="*/ 355 h 1056"/>
                <a:gd name="T22" fmla="*/ 975 w 1073"/>
                <a:gd name="T23" fmla="*/ 352 h 1056"/>
                <a:gd name="T24" fmla="*/ 975 w 1073"/>
                <a:gd name="T25" fmla="*/ 460 h 1056"/>
                <a:gd name="T26" fmla="*/ 1067 w 1073"/>
                <a:gd name="T27" fmla="*/ 493 h 1056"/>
                <a:gd name="T28" fmla="*/ 1073 w 1073"/>
                <a:gd name="T29" fmla="*/ 494 h 1056"/>
                <a:gd name="T30" fmla="*/ 1073 w 1073"/>
                <a:gd name="T31" fmla="*/ 249 h 1056"/>
                <a:gd name="T32" fmla="*/ 1002 w 1073"/>
                <a:gd name="T33" fmla="*/ 114 h 1056"/>
                <a:gd name="T34" fmla="*/ 537 w 1073"/>
                <a:gd name="T35" fmla="*/ 0 h 1056"/>
                <a:gd name="T36" fmla="*/ 195 w 1073"/>
                <a:gd name="T37" fmla="*/ 49 h 1056"/>
                <a:gd name="T38" fmla="*/ 71 w 1073"/>
                <a:gd name="T39" fmla="*/ 114 h 1056"/>
                <a:gd name="T40" fmla="*/ 0 w 1073"/>
                <a:gd name="T41" fmla="*/ 249 h 1056"/>
                <a:gd name="T42" fmla="*/ 0 w 1073"/>
                <a:gd name="T43" fmla="*/ 776 h 1056"/>
                <a:gd name="T44" fmla="*/ 64 w 1073"/>
                <a:gd name="T45" fmla="*/ 917 h 1056"/>
                <a:gd name="T46" fmla="*/ 537 w 1073"/>
                <a:gd name="T47" fmla="*/ 1056 h 1056"/>
                <a:gd name="T48" fmla="*/ 681 w 1073"/>
                <a:gd name="T49" fmla="*/ 1047 h 1056"/>
                <a:gd name="T50" fmla="*/ 683 w 1073"/>
                <a:gd name="T51" fmla="*/ 951 h 1056"/>
                <a:gd name="T52" fmla="*/ 537 w 1073"/>
                <a:gd name="T53" fmla="*/ 99 h 1056"/>
                <a:gd name="T54" fmla="*/ 975 w 1073"/>
                <a:gd name="T55" fmla="*/ 249 h 1056"/>
                <a:gd name="T56" fmla="*/ 537 w 1073"/>
                <a:gd name="T57" fmla="*/ 399 h 1056"/>
                <a:gd name="T58" fmla="*/ 99 w 1073"/>
                <a:gd name="T59" fmla="*/ 249 h 1056"/>
                <a:gd name="T60" fmla="*/ 537 w 1073"/>
                <a:gd name="T61" fmla="*/ 99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73" h="1056">
                  <a:moveTo>
                    <a:pt x="683" y="951"/>
                  </a:moveTo>
                  <a:cubicBezTo>
                    <a:pt x="683" y="947"/>
                    <a:pt x="683" y="947"/>
                    <a:pt x="683" y="947"/>
                  </a:cubicBezTo>
                  <a:cubicBezTo>
                    <a:pt x="638" y="954"/>
                    <a:pt x="587" y="957"/>
                    <a:pt x="537" y="957"/>
                  </a:cubicBezTo>
                  <a:cubicBezTo>
                    <a:pt x="295" y="957"/>
                    <a:pt x="99" y="876"/>
                    <a:pt x="99" y="776"/>
                  </a:cubicBezTo>
                  <a:cubicBezTo>
                    <a:pt x="99" y="623"/>
                    <a:pt x="99" y="623"/>
                    <a:pt x="99" y="623"/>
                  </a:cubicBezTo>
                  <a:cubicBezTo>
                    <a:pt x="99" y="520"/>
                    <a:pt x="99" y="520"/>
                    <a:pt x="99" y="520"/>
                  </a:cubicBezTo>
                  <a:cubicBezTo>
                    <a:pt x="99" y="352"/>
                    <a:pt x="99" y="352"/>
                    <a:pt x="99" y="352"/>
                  </a:cubicBezTo>
                  <a:cubicBezTo>
                    <a:pt x="110" y="362"/>
                    <a:pt x="123" y="371"/>
                    <a:pt x="137" y="379"/>
                  </a:cubicBezTo>
                  <a:cubicBezTo>
                    <a:pt x="228" y="429"/>
                    <a:pt x="371" y="457"/>
                    <a:pt x="537" y="458"/>
                  </a:cubicBezTo>
                  <a:cubicBezTo>
                    <a:pt x="662" y="458"/>
                    <a:pt x="776" y="441"/>
                    <a:pt x="862" y="411"/>
                  </a:cubicBezTo>
                  <a:cubicBezTo>
                    <a:pt x="906" y="396"/>
                    <a:pt x="942" y="378"/>
                    <a:pt x="972" y="355"/>
                  </a:cubicBezTo>
                  <a:cubicBezTo>
                    <a:pt x="973" y="354"/>
                    <a:pt x="974" y="353"/>
                    <a:pt x="975" y="352"/>
                  </a:cubicBezTo>
                  <a:cubicBezTo>
                    <a:pt x="975" y="460"/>
                    <a:pt x="975" y="460"/>
                    <a:pt x="975" y="460"/>
                  </a:cubicBezTo>
                  <a:cubicBezTo>
                    <a:pt x="1008" y="465"/>
                    <a:pt x="1039" y="476"/>
                    <a:pt x="1067" y="493"/>
                  </a:cubicBezTo>
                  <a:cubicBezTo>
                    <a:pt x="1069" y="493"/>
                    <a:pt x="1071" y="493"/>
                    <a:pt x="1073" y="494"/>
                  </a:cubicBezTo>
                  <a:cubicBezTo>
                    <a:pt x="1073" y="249"/>
                    <a:pt x="1073" y="249"/>
                    <a:pt x="1073" y="249"/>
                  </a:cubicBezTo>
                  <a:cubicBezTo>
                    <a:pt x="1073" y="187"/>
                    <a:pt x="1037" y="141"/>
                    <a:pt x="1002" y="114"/>
                  </a:cubicBezTo>
                  <a:cubicBezTo>
                    <a:pt x="896" y="33"/>
                    <a:pt x="733" y="3"/>
                    <a:pt x="537" y="0"/>
                  </a:cubicBezTo>
                  <a:cubicBezTo>
                    <a:pt x="406" y="0"/>
                    <a:pt x="288" y="18"/>
                    <a:pt x="195" y="49"/>
                  </a:cubicBezTo>
                  <a:cubicBezTo>
                    <a:pt x="148" y="66"/>
                    <a:pt x="107" y="85"/>
                    <a:pt x="71" y="114"/>
                  </a:cubicBezTo>
                  <a:cubicBezTo>
                    <a:pt x="36" y="141"/>
                    <a:pt x="0" y="187"/>
                    <a:pt x="0" y="249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35"/>
                    <a:pt x="29" y="884"/>
                    <a:pt x="64" y="917"/>
                  </a:cubicBezTo>
                  <a:cubicBezTo>
                    <a:pt x="169" y="1014"/>
                    <a:pt x="338" y="1053"/>
                    <a:pt x="537" y="1056"/>
                  </a:cubicBezTo>
                  <a:cubicBezTo>
                    <a:pt x="586" y="1056"/>
                    <a:pt x="636" y="1053"/>
                    <a:pt x="681" y="1047"/>
                  </a:cubicBezTo>
                  <a:lnTo>
                    <a:pt x="683" y="951"/>
                  </a:lnTo>
                  <a:close/>
                  <a:moveTo>
                    <a:pt x="537" y="99"/>
                  </a:moveTo>
                  <a:cubicBezTo>
                    <a:pt x="778" y="99"/>
                    <a:pt x="975" y="166"/>
                    <a:pt x="975" y="249"/>
                  </a:cubicBezTo>
                  <a:cubicBezTo>
                    <a:pt x="975" y="332"/>
                    <a:pt x="778" y="399"/>
                    <a:pt x="537" y="399"/>
                  </a:cubicBezTo>
                  <a:cubicBezTo>
                    <a:pt x="295" y="399"/>
                    <a:pt x="99" y="332"/>
                    <a:pt x="99" y="249"/>
                  </a:cubicBezTo>
                  <a:cubicBezTo>
                    <a:pt x="99" y="166"/>
                    <a:pt x="295" y="99"/>
                    <a:pt x="537" y="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3260" tIns="46630" rIns="93260" bIns="46630" numCol="1" anchor="t" anchorCtr="0" compatLnSpc="1"/>
            <a:lstStyle/>
            <a:p>
              <a:pPr defTabSz="930275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72" name="Picture 1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0670" y="2931716"/>
            <a:ext cx="610502" cy="624069"/>
          </a:xfrm>
          <a:prstGeom prst="rect">
            <a:avLst/>
          </a:prstGeom>
        </p:spPr>
      </p:pic>
      <p:pic>
        <p:nvPicPr>
          <p:cNvPr id="73" name="Picture 7" descr="\\MAGNUM\Projects\Microsoft\Cloud Power FY12\Design\ICONS_PNG\New_Business_Requirements.png"/>
          <p:cNvPicPr>
            <a:picLocks noChangeAspect="1" noChangeArrowheads="1"/>
          </p:cNvPicPr>
          <p:nvPr/>
        </p:nvPicPr>
        <p:blipFill>
          <a:blip r:embed="rId5" cstate="print">
            <a:lum bright="100000"/>
          </a:blip>
          <a:stretch>
            <a:fillRect/>
          </a:stretch>
        </p:blipFill>
        <p:spPr bwMode="auto">
          <a:xfrm>
            <a:off x="5412255" y="471713"/>
            <a:ext cx="858499" cy="808915"/>
          </a:xfrm>
          <a:prstGeom prst="rect">
            <a:avLst/>
          </a:prstGeom>
          <a:noFill/>
        </p:spPr>
      </p:pic>
      <p:sp>
        <p:nvSpPr>
          <p:cNvPr id="75" name="Freeform 762"/>
          <p:cNvSpPr>
            <a:spLocks noChangeAspect="1" noEditPoints="1"/>
          </p:cNvSpPr>
          <p:nvPr/>
        </p:nvSpPr>
        <p:spPr bwMode="auto">
          <a:xfrm>
            <a:off x="6862156" y="2800320"/>
            <a:ext cx="548615" cy="811742"/>
          </a:xfrm>
          <a:custGeom>
            <a:avLst/>
            <a:gdLst>
              <a:gd name="T0" fmla="*/ 270 w 270"/>
              <a:gd name="T1" fmla="*/ 260 h 400"/>
              <a:gd name="T2" fmla="*/ 270 w 270"/>
              <a:gd name="T3" fmla="*/ 166 h 400"/>
              <a:gd name="T4" fmla="*/ 241 w 270"/>
              <a:gd name="T5" fmla="*/ 164 h 400"/>
              <a:gd name="T6" fmla="*/ 241 w 270"/>
              <a:gd name="T7" fmla="*/ 106 h 400"/>
              <a:gd name="T8" fmla="*/ 135 w 270"/>
              <a:gd name="T9" fmla="*/ 0 h 400"/>
              <a:gd name="T10" fmla="*/ 29 w 270"/>
              <a:gd name="T11" fmla="*/ 106 h 400"/>
              <a:gd name="T12" fmla="*/ 29 w 270"/>
              <a:gd name="T13" fmla="*/ 164 h 400"/>
              <a:gd name="T14" fmla="*/ 0 w 270"/>
              <a:gd name="T15" fmla="*/ 166 h 400"/>
              <a:gd name="T16" fmla="*/ 0 w 270"/>
              <a:gd name="T17" fmla="*/ 260 h 400"/>
              <a:gd name="T18" fmla="*/ 0 w 270"/>
              <a:gd name="T19" fmla="*/ 297 h 400"/>
              <a:gd name="T20" fmla="*/ 0 w 270"/>
              <a:gd name="T21" fmla="*/ 391 h 400"/>
              <a:gd name="T22" fmla="*/ 135 w 270"/>
              <a:gd name="T23" fmla="*/ 400 h 400"/>
              <a:gd name="T24" fmla="*/ 270 w 270"/>
              <a:gd name="T25" fmla="*/ 391 h 400"/>
              <a:gd name="T26" fmla="*/ 270 w 270"/>
              <a:gd name="T27" fmla="*/ 297 h 400"/>
              <a:gd name="T28" fmla="*/ 270 w 270"/>
              <a:gd name="T29" fmla="*/ 297 h 400"/>
              <a:gd name="T30" fmla="*/ 270 w 270"/>
              <a:gd name="T31" fmla="*/ 260 h 400"/>
              <a:gd name="T32" fmla="*/ 151 w 270"/>
              <a:gd name="T33" fmla="*/ 314 h 400"/>
              <a:gd name="T34" fmla="*/ 137 w 270"/>
              <a:gd name="T35" fmla="*/ 314 h 400"/>
              <a:gd name="T36" fmla="*/ 133 w 270"/>
              <a:gd name="T37" fmla="*/ 314 h 400"/>
              <a:gd name="T38" fmla="*/ 119 w 270"/>
              <a:gd name="T39" fmla="*/ 314 h 400"/>
              <a:gd name="T40" fmla="*/ 129 w 270"/>
              <a:gd name="T41" fmla="*/ 277 h 400"/>
              <a:gd name="T42" fmla="*/ 119 w 270"/>
              <a:gd name="T43" fmla="*/ 262 h 400"/>
              <a:gd name="T44" fmla="*/ 135 w 270"/>
              <a:gd name="T45" fmla="*/ 246 h 400"/>
              <a:gd name="T46" fmla="*/ 151 w 270"/>
              <a:gd name="T47" fmla="*/ 262 h 400"/>
              <a:gd name="T48" fmla="*/ 141 w 270"/>
              <a:gd name="T49" fmla="*/ 277 h 400"/>
              <a:gd name="T50" fmla="*/ 151 w 270"/>
              <a:gd name="T51" fmla="*/ 314 h 400"/>
              <a:gd name="T52" fmla="*/ 209 w 270"/>
              <a:gd name="T53" fmla="*/ 162 h 400"/>
              <a:gd name="T54" fmla="*/ 135 w 270"/>
              <a:gd name="T55" fmla="*/ 157 h 400"/>
              <a:gd name="T56" fmla="*/ 61 w 270"/>
              <a:gd name="T57" fmla="*/ 162 h 400"/>
              <a:gd name="T58" fmla="*/ 61 w 270"/>
              <a:gd name="T59" fmla="*/ 106 h 400"/>
              <a:gd name="T60" fmla="*/ 135 w 270"/>
              <a:gd name="T61" fmla="*/ 32 h 400"/>
              <a:gd name="T62" fmla="*/ 209 w 270"/>
              <a:gd name="T63" fmla="*/ 106 h 400"/>
              <a:gd name="T64" fmla="*/ 209 w 270"/>
              <a:gd name="T65" fmla="*/ 16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400">
                <a:moveTo>
                  <a:pt x="270" y="260"/>
                </a:moveTo>
                <a:cubicBezTo>
                  <a:pt x="270" y="166"/>
                  <a:pt x="270" y="166"/>
                  <a:pt x="270" y="166"/>
                </a:cubicBezTo>
                <a:cubicBezTo>
                  <a:pt x="241" y="164"/>
                  <a:pt x="241" y="164"/>
                  <a:pt x="241" y="164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41" y="47"/>
                  <a:pt x="193" y="0"/>
                  <a:pt x="135" y="0"/>
                </a:cubicBezTo>
                <a:cubicBezTo>
                  <a:pt x="77" y="0"/>
                  <a:pt x="29" y="47"/>
                  <a:pt x="29" y="106"/>
                </a:cubicBezTo>
                <a:cubicBezTo>
                  <a:pt x="29" y="164"/>
                  <a:pt x="29" y="164"/>
                  <a:pt x="29" y="164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260"/>
                  <a:pt x="0" y="260"/>
                  <a:pt x="0" y="260"/>
                </a:cubicBezTo>
                <a:cubicBezTo>
                  <a:pt x="0" y="297"/>
                  <a:pt x="0" y="297"/>
                  <a:pt x="0" y="297"/>
                </a:cubicBezTo>
                <a:cubicBezTo>
                  <a:pt x="0" y="391"/>
                  <a:pt x="0" y="391"/>
                  <a:pt x="0" y="391"/>
                </a:cubicBezTo>
                <a:cubicBezTo>
                  <a:pt x="135" y="400"/>
                  <a:pt x="135" y="400"/>
                  <a:pt x="135" y="400"/>
                </a:cubicBezTo>
                <a:cubicBezTo>
                  <a:pt x="270" y="391"/>
                  <a:pt x="270" y="391"/>
                  <a:pt x="270" y="391"/>
                </a:cubicBezTo>
                <a:cubicBezTo>
                  <a:pt x="270" y="297"/>
                  <a:pt x="270" y="297"/>
                  <a:pt x="270" y="297"/>
                </a:cubicBezTo>
                <a:cubicBezTo>
                  <a:pt x="270" y="297"/>
                  <a:pt x="270" y="297"/>
                  <a:pt x="270" y="297"/>
                </a:cubicBezTo>
                <a:lnTo>
                  <a:pt x="270" y="260"/>
                </a:lnTo>
                <a:close/>
                <a:moveTo>
                  <a:pt x="151" y="314"/>
                </a:moveTo>
                <a:cubicBezTo>
                  <a:pt x="137" y="314"/>
                  <a:pt x="137" y="314"/>
                  <a:pt x="137" y="314"/>
                </a:cubicBezTo>
                <a:cubicBezTo>
                  <a:pt x="133" y="314"/>
                  <a:pt x="133" y="314"/>
                  <a:pt x="133" y="314"/>
                </a:cubicBezTo>
                <a:cubicBezTo>
                  <a:pt x="119" y="314"/>
                  <a:pt x="119" y="314"/>
                  <a:pt x="119" y="314"/>
                </a:cubicBezTo>
                <a:cubicBezTo>
                  <a:pt x="129" y="277"/>
                  <a:pt x="129" y="277"/>
                  <a:pt x="129" y="277"/>
                </a:cubicBezTo>
                <a:cubicBezTo>
                  <a:pt x="123" y="275"/>
                  <a:pt x="119" y="269"/>
                  <a:pt x="119" y="262"/>
                </a:cubicBezTo>
                <a:cubicBezTo>
                  <a:pt x="119" y="253"/>
                  <a:pt x="126" y="246"/>
                  <a:pt x="135" y="246"/>
                </a:cubicBezTo>
                <a:cubicBezTo>
                  <a:pt x="144" y="246"/>
                  <a:pt x="151" y="253"/>
                  <a:pt x="151" y="262"/>
                </a:cubicBezTo>
                <a:cubicBezTo>
                  <a:pt x="151" y="269"/>
                  <a:pt x="147" y="275"/>
                  <a:pt x="141" y="277"/>
                </a:cubicBezTo>
                <a:lnTo>
                  <a:pt x="151" y="314"/>
                </a:lnTo>
                <a:close/>
                <a:moveTo>
                  <a:pt x="209" y="162"/>
                </a:moveTo>
                <a:cubicBezTo>
                  <a:pt x="135" y="157"/>
                  <a:pt x="135" y="157"/>
                  <a:pt x="135" y="157"/>
                </a:cubicBezTo>
                <a:cubicBezTo>
                  <a:pt x="61" y="162"/>
                  <a:pt x="61" y="162"/>
                  <a:pt x="61" y="162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1" y="65"/>
                  <a:pt x="94" y="32"/>
                  <a:pt x="135" y="32"/>
                </a:cubicBezTo>
                <a:cubicBezTo>
                  <a:pt x="176" y="32"/>
                  <a:pt x="209" y="65"/>
                  <a:pt x="209" y="106"/>
                </a:cubicBezTo>
                <a:lnTo>
                  <a:pt x="20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/>
            </a:endParaRPr>
          </a:p>
        </p:txBody>
      </p:sp>
      <p:pic>
        <p:nvPicPr>
          <p:cNvPr id="76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6027" y="2813921"/>
            <a:ext cx="636921" cy="835153"/>
          </a:xfrm>
          <a:prstGeom prst="rect">
            <a:avLst/>
          </a:prstGeom>
          <a:noFill/>
        </p:spPr>
      </p:pic>
      <p:sp>
        <p:nvSpPr>
          <p:cNvPr id="77" name="Freeform 114"/>
          <p:cNvSpPr>
            <a:spLocks noChangeAspect="1" noEditPoints="1"/>
          </p:cNvSpPr>
          <p:nvPr/>
        </p:nvSpPr>
        <p:spPr bwMode="black">
          <a:xfrm>
            <a:off x="405347" y="1795648"/>
            <a:ext cx="672919" cy="531688"/>
          </a:xfrm>
          <a:custGeom>
            <a:avLst/>
            <a:gdLst>
              <a:gd name="T0" fmla="*/ 22 w 75"/>
              <a:gd name="T1" fmla="*/ 22 h 59"/>
              <a:gd name="T2" fmla="*/ 33 w 75"/>
              <a:gd name="T3" fmla="*/ 11 h 59"/>
              <a:gd name="T4" fmla="*/ 22 w 75"/>
              <a:gd name="T5" fmla="*/ 0 h 59"/>
              <a:gd name="T6" fmla="*/ 11 w 75"/>
              <a:gd name="T7" fmla="*/ 11 h 59"/>
              <a:gd name="T8" fmla="*/ 22 w 75"/>
              <a:gd name="T9" fmla="*/ 22 h 59"/>
              <a:gd name="T10" fmla="*/ 45 w 75"/>
              <a:gd name="T11" fmla="*/ 22 h 59"/>
              <a:gd name="T12" fmla="*/ 56 w 75"/>
              <a:gd name="T13" fmla="*/ 11 h 59"/>
              <a:gd name="T14" fmla="*/ 45 w 75"/>
              <a:gd name="T15" fmla="*/ 0 h 59"/>
              <a:gd name="T16" fmla="*/ 34 w 75"/>
              <a:gd name="T17" fmla="*/ 11 h 59"/>
              <a:gd name="T18" fmla="*/ 45 w 75"/>
              <a:gd name="T19" fmla="*/ 22 h 59"/>
              <a:gd name="T20" fmla="*/ 3 w 75"/>
              <a:gd name="T21" fmla="*/ 25 h 59"/>
              <a:gd name="T22" fmla="*/ 0 w 75"/>
              <a:gd name="T23" fmla="*/ 27 h 59"/>
              <a:gd name="T24" fmla="*/ 0 w 75"/>
              <a:gd name="T25" fmla="*/ 38 h 59"/>
              <a:gd name="T26" fmla="*/ 3 w 75"/>
              <a:gd name="T27" fmla="*/ 41 h 59"/>
              <a:gd name="T28" fmla="*/ 5 w 75"/>
              <a:gd name="T29" fmla="*/ 38 h 59"/>
              <a:gd name="T30" fmla="*/ 5 w 75"/>
              <a:gd name="T31" fmla="*/ 27 h 59"/>
              <a:gd name="T32" fmla="*/ 3 w 75"/>
              <a:gd name="T33" fmla="*/ 25 h 59"/>
              <a:gd name="T34" fmla="*/ 75 w 75"/>
              <a:gd name="T35" fmla="*/ 23 h 59"/>
              <a:gd name="T36" fmla="*/ 75 w 75"/>
              <a:gd name="T37" fmla="*/ 56 h 59"/>
              <a:gd name="T38" fmla="*/ 73 w 75"/>
              <a:gd name="T39" fmla="*/ 57 h 59"/>
              <a:gd name="T40" fmla="*/ 65 w 75"/>
              <a:gd name="T41" fmla="*/ 51 h 59"/>
              <a:gd name="T42" fmla="*/ 64 w 75"/>
              <a:gd name="T43" fmla="*/ 49 h 59"/>
              <a:gd name="T44" fmla="*/ 60 w 75"/>
              <a:gd name="T45" fmla="*/ 49 h 59"/>
              <a:gd name="T46" fmla="*/ 60 w 75"/>
              <a:gd name="T47" fmla="*/ 56 h 59"/>
              <a:gd name="T48" fmla="*/ 57 w 75"/>
              <a:gd name="T49" fmla="*/ 59 h 59"/>
              <a:gd name="T50" fmla="*/ 11 w 75"/>
              <a:gd name="T51" fmla="*/ 59 h 59"/>
              <a:gd name="T52" fmla="*/ 8 w 75"/>
              <a:gd name="T53" fmla="*/ 55 h 59"/>
              <a:gd name="T54" fmla="*/ 8 w 75"/>
              <a:gd name="T55" fmla="*/ 27 h 59"/>
              <a:gd name="T56" fmla="*/ 11 w 75"/>
              <a:gd name="T57" fmla="*/ 23 h 59"/>
              <a:gd name="T58" fmla="*/ 57 w 75"/>
              <a:gd name="T59" fmla="*/ 23 h 59"/>
              <a:gd name="T60" fmla="*/ 60 w 75"/>
              <a:gd name="T61" fmla="*/ 27 h 59"/>
              <a:gd name="T62" fmla="*/ 60 w 75"/>
              <a:gd name="T63" fmla="*/ 30 h 59"/>
              <a:gd name="T64" fmla="*/ 64 w 75"/>
              <a:gd name="T65" fmla="*/ 30 h 59"/>
              <a:gd name="T66" fmla="*/ 65 w 75"/>
              <a:gd name="T67" fmla="*/ 29 h 59"/>
              <a:gd name="T68" fmla="*/ 73 w 75"/>
              <a:gd name="T69" fmla="*/ 22 h 59"/>
              <a:gd name="T70" fmla="*/ 75 w 75"/>
              <a:gd name="T71" fmla="*/ 23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" h="59">
                <a:moveTo>
                  <a:pt x="22" y="22"/>
                </a:moveTo>
                <a:cubicBezTo>
                  <a:pt x="28" y="22"/>
                  <a:pt x="33" y="17"/>
                  <a:pt x="33" y="11"/>
                </a:cubicBezTo>
                <a:cubicBezTo>
                  <a:pt x="33" y="5"/>
                  <a:pt x="28" y="0"/>
                  <a:pt x="22" y="0"/>
                </a:cubicBezTo>
                <a:cubicBezTo>
                  <a:pt x="16" y="0"/>
                  <a:pt x="11" y="5"/>
                  <a:pt x="11" y="11"/>
                </a:cubicBezTo>
                <a:cubicBezTo>
                  <a:pt x="11" y="17"/>
                  <a:pt x="16" y="22"/>
                  <a:pt x="22" y="22"/>
                </a:cubicBezTo>
                <a:moveTo>
                  <a:pt x="45" y="22"/>
                </a:moveTo>
                <a:cubicBezTo>
                  <a:pt x="51" y="22"/>
                  <a:pt x="56" y="17"/>
                  <a:pt x="56" y="11"/>
                </a:cubicBezTo>
                <a:cubicBezTo>
                  <a:pt x="56" y="5"/>
                  <a:pt x="51" y="0"/>
                  <a:pt x="45" y="0"/>
                </a:cubicBezTo>
                <a:cubicBezTo>
                  <a:pt x="39" y="0"/>
                  <a:pt x="34" y="5"/>
                  <a:pt x="34" y="11"/>
                </a:cubicBezTo>
                <a:cubicBezTo>
                  <a:pt x="34" y="17"/>
                  <a:pt x="39" y="22"/>
                  <a:pt x="45" y="22"/>
                </a:cubicBezTo>
                <a:moveTo>
                  <a:pt x="3" y="25"/>
                </a:moveTo>
                <a:cubicBezTo>
                  <a:pt x="1" y="25"/>
                  <a:pt x="0" y="26"/>
                  <a:pt x="0" y="27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39"/>
                  <a:pt x="1" y="41"/>
                  <a:pt x="3" y="41"/>
                </a:cubicBezTo>
                <a:cubicBezTo>
                  <a:pt x="4" y="41"/>
                  <a:pt x="5" y="39"/>
                  <a:pt x="5" y="3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26"/>
                  <a:pt x="4" y="25"/>
                  <a:pt x="3" y="25"/>
                </a:cubicBezTo>
                <a:moveTo>
                  <a:pt x="75" y="23"/>
                </a:moveTo>
                <a:cubicBezTo>
                  <a:pt x="75" y="56"/>
                  <a:pt x="75" y="56"/>
                  <a:pt x="75" y="56"/>
                </a:cubicBezTo>
                <a:cubicBezTo>
                  <a:pt x="75" y="58"/>
                  <a:pt x="74" y="58"/>
                  <a:pt x="73" y="57"/>
                </a:cubicBezTo>
                <a:cubicBezTo>
                  <a:pt x="65" y="51"/>
                  <a:pt x="65" y="51"/>
                  <a:pt x="65" y="51"/>
                </a:cubicBezTo>
                <a:cubicBezTo>
                  <a:pt x="64" y="50"/>
                  <a:pt x="64" y="50"/>
                  <a:pt x="64" y="49"/>
                </a:cubicBezTo>
                <a:cubicBezTo>
                  <a:pt x="60" y="49"/>
                  <a:pt x="60" y="49"/>
                  <a:pt x="60" y="49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8"/>
                  <a:pt x="59" y="59"/>
                  <a:pt x="57" y="59"/>
                </a:cubicBezTo>
                <a:cubicBezTo>
                  <a:pt x="11" y="59"/>
                  <a:pt x="11" y="59"/>
                  <a:pt x="11" y="59"/>
                </a:cubicBezTo>
                <a:cubicBezTo>
                  <a:pt x="9" y="59"/>
                  <a:pt x="8" y="57"/>
                  <a:pt x="8" y="55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5"/>
                  <a:pt x="9" y="23"/>
                  <a:pt x="11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3"/>
                  <a:pt x="60" y="25"/>
                  <a:pt x="60" y="27"/>
                </a:cubicBezTo>
                <a:cubicBezTo>
                  <a:pt x="60" y="30"/>
                  <a:pt x="60" y="30"/>
                  <a:pt x="60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0"/>
                  <a:pt x="64" y="29"/>
                  <a:pt x="65" y="29"/>
                </a:cubicBezTo>
                <a:cubicBezTo>
                  <a:pt x="73" y="22"/>
                  <a:pt x="73" y="22"/>
                  <a:pt x="73" y="22"/>
                </a:cubicBezTo>
                <a:cubicBezTo>
                  <a:pt x="74" y="21"/>
                  <a:pt x="75" y="21"/>
                  <a:pt x="75" y="23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60" tIns="46630" rIns="93260" bIns="46630" numCol="1" anchor="t" anchorCtr="0" compatLnSpc="1"/>
          <a:lstStyle/>
          <a:p>
            <a:pPr defTabSz="932180"/>
            <a:endParaRPr lang="en-US">
              <a:solidFill>
                <a:srgbClr val="000000"/>
              </a:solidFill>
            </a:endParaRPr>
          </a:p>
        </p:txBody>
      </p:sp>
      <p:sp>
        <p:nvSpPr>
          <p:cNvPr id="78" name="Freeform 79"/>
          <p:cNvSpPr>
            <a:spLocks noEditPoints="1"/>
          </p:cNvSpPr>
          <p:nvPr/>
        </p:nvSpPr>
        <p:spPr bwMode="black">
          <a:xfrm>
            <a:off x="1754498" y="1715188"/>
            <a:ext cx="534784" cy="704485"/>
          </a:xfrm>
          <a:custGeom>
            <a:avLst/>
            <a:gdLst>
              <a:gd name="T0" fmla="*/ 1441 w 1615"/>
              <a:gd name="T1" fmla="*/ 131 h 2179"/>
              <a:gd name="T2" fmla="*/ 1344 w 1615"/>
              <a:gd name="T3" fmla="*/ 16 h 2179"/>
              <a:gd name="T4" fmla="*/ 306 w 1615"/>
              <a:gd name="T5" fmla="*/ 0 h 2179"/>
              <a:gd name="T6" fmla="*/ 62 w 1615"/>
              <a:gd name="T7" fmla="*/ 171 h 2179"/>
              <a:gd name="T8" fmla="*/ 174 w 1615"/>
              <a:gd name="T9" fmla="*/ 131 h 2179"/>
              <a:gd name="T10" fmla="*/ 174 w 1615"/>
              <a:gd name="T11" fmla="*/ 180 h 2179"/>
              <a:gd name="T12" fmla="*/ 0 w 1615"/>
              <a:gd name="T13" fmla="*/ 2005 h 2179"/>
              <a:gd name="T14" fmla="*/ 1441 w 1615"/>
              <a:gd name="T15" fmla="*/ 2179 h 2179"/>
              <a:gd name="T16" fmla="*/ 1615 w 1615"/>
              <a:gd name="T17" fmla="*/ 354 h 2179"/>
              <a:gd name="T18" fmla="*/ 1518 w 1615"/>
              <a:gd name="T19" fmla="*/ 2005 h 2179"/>
              <a:gd name="T20" fmla="*/ 174 w 1615"/>
              <a:gd name="T21" fmla="*/ 2082 h 2179"/>
              <a:gd name="T22" fmla="*/ 97 w 1615"/>
              <a:gd name="T23" fmla="*/ 354 h 2179"/>
              <a:gd name="T24" fmla="*/ 1441 w 1615"/>
              <a:gd name="T25" fmla="*/ 277 h 2179"/>
              <a:gd name="T26" fmla="*/ 1518 w 1615"/>
              <a:gd name="T27" fmla="*/ 2005 h 2179"/>
              <a:gd name="T28" fmla="*/ 241 w 1615"/>
              <a:gd name="T29" fmla="*/ 1038 h 2179"/>
              <a:gd name="T30" fmla="*/ 532 w 1615"/>
              <a:gd name="T31" fmla="*/ 1339 h 2179"/>
              <a:gd name="T32" fmla="*/ 713 w 1615"/>
              <a:gd name="T33" fmla="*/ 1304 h 2179"/>
              <a:gd name="T34" fmla="*/ 695 w 1615"/>
              <a:gd name="T35" fmla="*/ 1594 h 2179"/>
              <a:gd name="T36" fmla="*/ 1375 w 1615"/>
              <a:gd name="T37" fmla="*/ 1038 h 2179"/>
              <a:gd name="T38" fmla="*/ 808 w 1615"/>
              <a:gd name="T39" fmla="*/ 1206 h 2179"/>
              <a:gd name="T40" fmla="*/ 808 w 1615"/>
              <a:gd name="T41" fmla="*/ 870 h 2179"/>
              <a:gd name="T42" fmla="*/ 808 w 1615"/>
              <a:gd name="T43" fmla="*/ 1206 h 2179"/>
              <a:gd name="T44" fmla="*/ 652 w 1615"/>
              <a:gd name="T45" fmla="*/ 1331 h 2179"/>
              <a:gd name="T46" fmla="*/ 453 w 1615"/>
              <a:gd name="T47" fmla="*/ 1481 h 2179"/>
              <a:gd name="T48" fmla="*/ 258 w 1615"/>
              <a:gd name="T49" fmla="*/ 1960 h 2179"/>
              <a:gd name="T50" fmla="*/ 534 w 1615"/>
              <a:gd name="T51" fmla="*/ 1842 h 2179"/>
              <a:gd name="T52" fmla="*/ 702 w 1615"/>
              <a:gd name="T53" fmla="*/ 1467 h 2179"/>
              <a:gd name="T54" fmla="*/ 418 w 1615"/>
              <a:gd name="T55" fmla="*/ 1872 h 2179"/>
              <a:gd name="T56" fmla="*/ 284 w 1615"/>
              <a:gd name="T57" fmla="*/ 1780 h 2179"/>
              <a:gd name="T58" fmla="*/ 418 w 1615"/>
              <a:gd name="T59" fmla="*/ 1872 h 2179"/>
              <a:gd name="T60" fmla="*/ 204 w 1615"/>
              <a:gd name="T61" fmla="*/ 323 h 2179"/>
              <a:gd name="T62" fmla="*/ 204 w 1615"/>
              <a:gd name="T63" fmla="*/ 428 h 2179"/>
              <a:gd name="T64" fmla="*/ 1418 w 1615"/>
              <a:gd name="T65" fmla="*/ 323 h 2179"/>
              <a:gd name="T66" fmla="*/ 1418 w 1615"/>
              <a:gd name="T67" fmla="*/ 428 h 2179"/>
              <a:gd name="T68" fmla="*/ 1418 w 1615"/>
              <a:gd name="T69" fmla="*/ 323 h 2179"/>
              <a:gd name="T70" fmla="*/ 1366 w 1615"/>
              <a:gd name="T71" fmla="*/ 1978 h 2179"/>
              <a:gd name="T72" fmla="*/ 1471 w 1615"/>
              <a:gd name="T73" fmla="*/ 1978 h 2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615" h="2179">
                <a:moveTo>
                  <a:pt x="174" y="131"/>
                </a:moveTo>
                <a:cubicBezTo>
                  <a:pt x="1441" y="131"/>
                  <a:pt x="1441" y="131"/>
                  <a:pt x="1441" y="131"/>
                </a:cubicBezTo>
                <a:cubicBezTo>
                  <a:pt x="1465" y="131"/>
                  <a:pt x="1488" y="136"/>
                  <a:pt x="1509" y="145"/>
                </a:cubicBezTo>
                <a:cubicBezTo>
                  <a:pt x="1344" y="16"/>
                  <a:pt x="1344" y="16"/>
                  <a:pt x="1344" y="16"/>
                </a:cubicBezTo>
                <a:cubicBezTo>
                  <a:pt x="1333" y="7"/>
                  <a:pt x="1312" y="0"/>
                  <a:pt x="1298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292" y="0"/>
                  <a:pt x="271" y="7"/>
                  <a:pt x="260" y="16"/>
                </a:cubicBezTo>
                <a:cubicBezTo>
                  <a:pt x="62" y="171"/>
                  <a:pt x="62" y="171"/>
                  <a:pt x="62" y="171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94" y="146"/>
                  <a:pt x="132" y="131"/>
                  <a:pt x="174" y="131"/>
                </a:cubicBezTo>
                <a:close/>
                <a:moveTo>
                  <a:pt x="1441" y="180"/>
                </a:moveTo>
                <a:cubicBezTo>
                  <a:pt x="174" y="180"/>
                  <a:pt x="174" y="180"/>
                  <a:pt x="174" y="180"/>
                </a:cubicBezTo>
                <a:cubicBezTo>
                  <a:pt x="78" y="180"/>
                  <a:pt x="0" y="258"/>
                  <a:pt x="0" y="354"/>
                </a:cubicBezTo>
                <a:cubicBezTo>
                  <a:pt x="0" y="2005"/>
                  <a:pt x="0" y="2005"/>
                  <a:pt x="0" y="2005"/>
                </a:cubicBezTo>
                <a:cubicBezTo>
                  <a:pt x="0" y="2101"/>
                  <a:pt x="78" y="2179"/>
                  <a:pt x="174" y="2179"/>
                </a:cubicBezTo>
                <a:cubicBezTo>
                  <a:pt x="1441" y="2179"/>
                  <a:pt x="1441" y="2179"/>
                  <a:pt x="1441" y="2179"/>
                </a:cubicBezTo>
                <a:cubicBezTo>
                  <a:pt x="1537" y="2179"/>
                  <a:pt x="1615" y="2101"/>
                  <a:pt x="1615" y="2005"/>
                </a:cubicBezTo>
                <a:cubicBezTo>
                  <a:pt x="1615" y="354"/>
                  <a:pt x="1615" y="354"/>
                  <a:pt x="1615" y="354"/>
                </a:cubicBezTo>
                <a:cubicBezTo>
                  <a:pt x="1615" y="258"/>
                  <a:pt x="1537" y="180"/>
                  <a:pt x="1441" y="180"/>
                </a:cubicBezTo>
                <a:close/>
                <a:moveTo>
                  <a:pt x="1518" y="2005"/>
                </a:moveTo>
                <a:cubicBezTo>
                  <a:pt x="1518" y="2047"/>
                  <a:pt x="1484" y="2082"/>
                  <a:pt x="1441" y="2082"/>
                </a:cubicBezTo>
                <a:cubicBezTo>
                  <a:pt x="174" y="2082"/>
                  <a:pt x="174" y="2082"/>
                  <a:pt x="174" y="2082"/>
                </a:cubicBezTo>
                <a:cubicBezTo>
                  <a:pt x="132" y="2082"/>
                  <a:pt x="97" y="2047"/>
                  <a:pt x="97" y="2005"/>
                </a:cubicBezTo>
                <a:cubicBezTo>
                  <a:pt x="97" y="354"/>
                  <a:pt x="97" y="354"/>
                  <a:pt x="97" y="354"/>
                </a:cubicBezTo>
                <a:cubicBezTo>
                  <a:pt x="97" y="312"/>
                  <a:pt x="132" y="277"/>
                  <a:pt x="174" y="277"/>
                </a:cubicBezTo>
                <a:cubicBezTo>
                  <a:pt x="1441" y="277"/>
                  <a:pt x="1441" y="277"/>
                  <a:pt x="1441" y="277"/>
                </a:cubicBezTo>
                <a:cubicBezTo>
                  <a:pt x="1484" y="277"/>
                  <a:pt x="1518" y="312"/>
                  <a:pt x="1518" y="354"/>
                </a:cubicBezTo>
                <a:lnTo>
                  <a:pt x="1518" y="2005"/>
                </a:lnTo>
                <a:close/>
                <a:moveTo>
                  <a:pt x="808" y="471"/>
                </a:moveTo>
                <a:cubicBezTo>
                  <a:pt x="494" y="471"/>
                  <a:pt x="241" y="725"/>
                  <a:pt x="241" y="1038"/>
                </a:cubicBezTo>
                <a:cubicBezTo>
                  <a:pt x="241" y="1201"/>
                  <a:pt x="309" y="1347"/>
                  <a:pt x="419" y="1451"/>
                </a:cubicBezTo>
                <a:cubicBezTo>
                  <a:pt x="532" y="1339"/>
                  <a:pt x="532" y="1339"/>
                  <a:pt x="532" y="1339"/>
                </a:cubicBezTo>
                <a:cubicBezTo>
                  <a:pt x="565" y="1305"/>
                  <a:pt x="610" y="1286"/>
                  <a:pt x="652" y="1286"/>
                </a:cubicBezTo>
                <a:cubicBezTo>
                  <a:pt x="675" y="1286"/>
                  <a:pt x="696" y="1292"/>
                  <a:pt x="713" y="1304"/>
                </a:cubicBezTo>
                <a:cubicBezTo>
                  <a:pt x="762" y="1337"/>
                  <a:pt x="775" y="1416"/>
                  <a:pt x="744" y="1486"/>
                </a:cubicBezTo>
                <a:cubicBezTo>
                  <a:pt x="695" y="1594"/>
                  <a:pt x="695" y="1594"/>
                  <a:pt x="695" y="1594"/>
                </a:cubicBezTo>
                <a:cubicBezTo>
                  <a:pt x="731" y="1601"/>
                  <a:pt x="769" y="1605"/>
                  <a:pt x="808" y="1605"/>
                </a:cubicBezTo>
                <a:cubicBezTo>
                  <a:pt x="1121" y="1605"/>
                  <a:pt x="1375" y="1351"/>
                  <a:pt x="1375" y="1038"/>
                </a:cubicBezTo>
                <a:cubicBezTo>
                  <a:pt x="1375" y="725"/>
                  <a:pt x="1121" y="471"/>
                  <a:pt x="808" y="471"/>
                </a:cubicBezTo>
                <a:close/>
                <a:moveTo>
                  <a:pt x="808" y="1206"/>
                </a:moveTo>
                <a:cubicBezTo>
                  <a:pt x="715" y="1206"/>
                  <a:pt x="640" y="1131"/>
                  <a:pt x="640" y="1038"/>
                </a:cubicBezTo>
                <a:cubicBezTo>
                  <a:pt x="640" y="945"/>
                  <a:pt x="715" y="870"/>
                  <a:pt x="808" y="870"/>
                </a:cubicBezTo>
                <a:cubicBezTo>
                  <a:pt x="900" y="870"/>
                  <a:pt x="976" y="945"/>
                  <a:pt x="976" y="1038"/>
                </a:cubicBezTo>
                <a:cubicBezTo>
                  <a:pt x="976" y="1131"/>
                  <a:pt x="900" y="1206"/>
                  <a:pt x="808" y="1206"/>
                </a:cubicBezTo>
                <a:close/>
                <a:moveTo>
                  <a:pt x="687" y="1341"/>
                </a:moveTo>
                <a:cubicBezTo>
                  <a:pt x="678" y="1334"/>
                  <a:pt x="665" y="1331"/>
                  <a:pt x="652" y="1331"/>
                </a:cubicBezTo>
                <a:cubicBezTo>
                  <a:pt x="623" y="1331"/>
                  <a:pt x="590" y="1345"/>
                  <a:pt x="564" y="1371"/>
                </a:cubicBezTo>
                <a:cubicBezTo>
                  <a:pt x="453" y="1481"/>
                  <a:pt x="453" y="1481"/>
                  <a:pt x="453" y="1481"/>
                </a:cubicBezTo>
                <a:cubicBezTo>
                  <a:pt x="271" y="1660"/>
                  <a:pt x="271" y="1660"/>
                  <a:pt x="271" y="1660"/>
                </a:cubicBezTo>
                <a:cubicBezTo>
                  <a:pt x="170" y="1760"/>
                  <a:pt x="164" y="1895"/>
                  <a:pt x="258" y="1960"/>
                </a:cubicBezTo>
                <a:cubicBezTo>
                  <a:pt x="286" y="1979"/>
                  <a:pt x="315" y="1988"/>
                  <a:pt x="346" y="1988"/>
                </a:cubicBezTo>
                <a:cubicBezTo>
                  <a:pt x="419" y="1988"/>
                  <a:pt x="493" y="1935"/>
                  <a:pt x="534" y="1842"/>
                </a:cubicBezTo>
                <a:cubicBezTo>
                  <a:pt x="650" y="1583"/>
                  <a:pt x="650" y="1583"/>
                  <a:pt x="650" y="1583"/>
                </a:cubicBezTo>
                <a:cubicBezTo>
                  <a:pt x="702" y="1467"/>
                  <a:pt x="702" y="1467"/>
                  <a:pt x="702" y="1467"/>
                </a:cubicBezTo>
                <a:cubicBezTo>
                  <a:pt x="724" y="1418"/>
                  <a:pt x="717" y="1362"/>
                  <a:pt x="687" y="1341"/>
                </a:cubicBezTo>
                <a:close/>
                <a:moveTo>
                  <a:pt x="418" y="1872"/>
                </a:moveTo>
                <a:cubicBezTo>
                  <a:pt x="392" y="1909"/>
                  <a:pt x="341" y="1919"/>
                  <a:pt x="304" y="1893"/>
                </a:cubicBezTo>
                <a:cubicBezTo>
                  <a:pt x="267" y="1867"/>
                  <a:pt x="258" y="1817"/>
                  <a:pt x="284" y="1780"/>
                </a:cubicBezTo>
                <a:cubicBezTo>
                  <a:pt x="310" y="1743"/>
                  <a:pt x="360" y="1734"/>
                  <a:pt x="397" y="1759"/>
                </a:cubicBezTo>
                <a:cubicBezTo>
                  <a:pt x="434" y="1785"/>
                  <a:pt x="443" y="1836"/>
                  <a:pt x="418" y="1872"/>
                </a:cubicBezTo>
                <a:close/>
                <a:moveTo>
                  <a:pt x="256" y="376"/>
                </a:moveTo>
                <a:cubicBezTo>
                  <a:pt x="256" y="346"/>
                  <a:pt x="233" y="323"/>
                  <a:pt x="204" y="323"/>
                </a:cubicBezTo>
                <a:cubicBezTo>
                  <a:pt x="174" y="323"/>
                  <a:pt x="151" y="346"/>
                  <a:pt x="151" y="376"/>
                </a:cubicBezTo>
                <a:cubicBezTo>
                  <a:pt x="151" y="405"/>
                  <a:pt x="174" y="428"/>
                  <a:pt x="204" y="428"/>
                </a:cubicBezTo>
                <a:cubicBezTo>
                  <a:pt x="233" y="428"/>
                  <a:pt x="256" y="405"/>
                  <a:pt x="256" y="376"/>
                </a:cubicBezTo>
                <a:close/>
                <a:moveTo>
                  <a:pt x="1418" y="323"/>
                </a:moveTo>
                <a:cubicBezTo>
                  <a:pt x="1389" y="323"/>
                  <a:pt x="1366" y="346"/>
                  <a:pt x="1366" y="376"/>
                </a:cubicBezTo>
                <a:cubicBezTo>
                  <a:pt x="1366" y="405"/>
                  <a:pt x="1389" y="428"/>
                  <a:pt x="1418" y="428"/>
                </a:cubicBezTo>
                <a:cubicBezTo>
                  <a:pt x="1448" y="428"/>
                  <a:pt x="1471" y="405"/>
                  <a:pt x="1471" y="376"/>
                </a:cubicBezTo>
                <a:cubicBezTo>
                  <a:pt x="1471" y="346"/>
                  <a:pt x="1448" y="323"/>
                  <a:pt x="1418" y="323"/>
                </a:cubicBezTo>
                <a:close/>
                <a:moveTo>
                  <a:pt x="1418" y="1925"/>
                </a:moveTo>
                <a:cubicBezTo>
                  <a:pt x="1389" y="1925"/>
                  <a:pt x="1366" y="1949"/>
                  <a:pt x="1366" y="1978"/>
                </a:cubicBezTo>
                <a:cubicBezTo>
                  <a:pt x="1366" y="2007"/>
                  <a:pt x="1389" y="2031"/>
                  <a:pt x="1418" y="2031"/>
                </a:cubicBezTo>
                <a:cubicBezTo>
                  <a:pt x="1448" y="2031"/>
                  <a:pt x="1471" y="2007"/>
                  <a:pt x="1471" y="1978"/>
                </a:cubicBezTo>
                <a:cubicBezTo>
                  <a:pt x="1471" y="1949"/>
                  <a:pt x="1448" y="1925"/>
                  <a:pt x="1418" y="19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2305" tIns="41153" rIns="82305" bIns="41153" numCol="1" anchor="t" anchorCtr="0" compatLnSpc="1"/>
          <a:lstStyle/>
          <a:p>
            <a:endParaRPr lang="en-US" sz="1600" dirty="0"/>
          </a:p>
        </p:txBody>
      </p:sp>
      <p:pic>
        <p:nvPicPr>
          <p:cNvPr id="79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72205" y="1859286"/>
            <a:ext cx="727431" cy="401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Freeform 12"/>
          <p:cNvSpPr>
            <a:spLocks noChangeAspect="1"/>
          </p:cNvSpPr>
          <p:nvPr/>
        </p:nvSpPr>
        <p:spPr bwMode="black">
          <a:xfrm>
            <a:off x="4299086" y="1652590"/>
            <a:ext cx="546066" cy="758379"/>
          </a:xfrm>
          <a:custGeom>
            <a:avLst/>
            <a:gdLst>
              <a:gd name="T0" fmla="*/ 642 w 811"/>
              <a:gd name="T1" fmla="*/ 692 h 1128"/>
              <a:gd name="T2" fmla="*/ 499 w 811"/>
              <a:gd name="T3" fmla="*/ 758 h 1128"/>
              <a:gd name="T4" fmla="*/ 465 w 811"/>
              <a:gd name="T5" fmla="*/ 735 h 1128"/>
              <a:gd name="T6" fmla="*/ 301 w 811"/>
              <a:gd name="T7" fmla="*/ 382 h 1128"/>
              <a:gd name="T8" fmla="*/ 305 w 811"/>
              <a:gd name="T9" fmla="*/ 341 h 1128"/>
              <a:gd name="T10" fmla="*/ 459 w 811"/>
              <a:gd name="T11" fmla="*/ 269 h 1128"/>
              <a:gd name="T12" fmla="*/ 474 w 811"/>
              <a:gd name="T13" fmla="*/ 232 h 1128"/>
              <a:gd name="T14" fmla="*/ 378 w 811"/>
              <a:gd name="T15" fmla="*/ 19 h 1128"/>
              <a:gd name="T16" fmla="*/ 341 w 811"/>
              <a:gd name="T17" fmla="*/ 0 h 1128"/>
              <a:gd name="T18" fmla="*/ 236 w 811"/>
              <a:gd name="T19" fmla="*/ 28 h 1128"/>
              <a:gd name="T20" fmla="*/ 192 w 811"/>
              <a:gd name="T21" fmla="*/ 49 h 1128"/>
              <a:gd name="T22" fmla="*/ 117 w 811"/>
              <a:gd name="T23" fmla="*/ 543 h 1128"/>
              <a:gd name="T24" fmla="*/ 313 w 811"/>
              <a:gd name="T25" fmla="*/ 932 h 1128"/>
              <a:gd name="T26" fmla="*/ 686 w 811"/>
              <a:gd name="T27" fmla="*/ 1060 h 1128"/>
              <a:gd name="T28" fmla="*/ 730 w 811"/>
              <a:gd name="T29" fmla="*/ 1039 h 1128"/>
              <a:gd name="T30" fmla="*/ 789 w 811"/>
              <a:gd name="T31" fmla="*/ 999 h 1128"/>
              <a:gd name="T32" fmla="*/ 796 w 811"/>
              <a:gd name="T33" fmla="*/ 944 h 1128"/>
              <a:gd name="T34" fmla="*/ 689 w 811"/>
              <a:gd name="T35" fmla="*/ 708 h 1128"/>
              <a:gd name="T36" fmla="*/ 642 w 811"/>
              <a:gd name="T37" fmla="*/ 692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11" h="1128">
                <a:moveTo>
                  <a:pt x="642" y="692"/>
                </a:moveTo>
                <a:cubicBezTo>
                  <a:pt x="616" y="704"/>
                  <a:pt x="499" y="758"/>
                  <a:pt x="499" y="758"/>
                </a:cubicBezTo>
                <a:cubicBezTo>
                  <a:pt x="488" y="763"/>
                  <a:pt x="473" y="753"/>
                  <a:pt x="465" y="735"/>
                </a:cubicBezTo>
                <a:cubicBezTo>
                  <a:pt x="301" y="382"/>
                  <a:pt x="301" y="382"/>
                  <a:pt x="301" y="382"/>
                </a:cubicBezTo>
                <a:cubicBezTo>
                  <a:pt x="292" y="364"/>
                  <a:pt x="294" y="346"/>
                  <a:pt x="305" y="341"/>
                </a:cubicBezTo>
                <a:cubicBezTo>
                  <a:pt x="305" y="341"/>
                  <a:pt x="441" y="279"/>
                  <a:pt x="459" y="269"/>
                </a:cubicBezTo>
                <a:cubicBezTo>
                  <a:pt x="470" y="264"/>
                  <a:pt x="483" y="251"/>
                  <a:pt x="474" y="232"/>
                </a:cubicBezTo>
                <a:cubicBezTo>
                  <a:pt x="452" y="180"/>
                  <a:pt x="385" y="29"/>
                  <a:pt x="378" y="19"/>
                </a:cubicBezTo>
                <a:cubicBezTo>
                  <a:pt x="369" y="8"/>
                  <a:pt x="363" y="0"/>
                  <a:pt x="341" y="0"/>
                </a:cubicBezTo>
                <a:cubicBezTo>
                  <a:pt x="306" y="0"/>
                  <a:pt x="269" y="13"/>
                  <a:pt x="236" y="28"/>
                </a:cubicBezTo>
                <a:cubicBezTo>
                  <a:pt x="192" y="49"/>
                  <a:pt x="192" y="49"/>
                  <a:pt x="192" y="49"/>
                </a:cubicBezTo>
                <a:cubicBezTo>
                  <a:pt x="0" y="158"/>
                  <a:pt x="62" y="427"/>
                  <a:pt x="117" y="543"/>
                </a:cubicBezTo>
                <a:cubicBezTo>
                  <a:pt x="173" y="662"/>
                  <a:pt x="313" y="932"/>
                  <a:pt x="313" y="932"/>
                </a:cubicBezTo>
                <a:cubicBezTo>
                  <a:pt x="381" y="1070"/>
                  <a:pt x="547" y="1128"/>
                  <a:pt x="686" y="1060"/>
                </a:cubicBezTo>
                <a:cubicBezTo>
                  <a:pt x="730" y="1039"/>
                  <a:pt x="730" y="1039"/>
                  <a:pt x="730" y="1039"/>
                </a:cubicBezTo>
                <a:cubicBezTo>
                  <a:pt x="756" y="1026"/>
                  <a:pt x="769" y="1018"/>
                  <a:pt x="789" y="999"/>
                </a:cubicBezTo>
                <a:cubicBezTo>
                  <a:pt x="795" y="994"/>
                  <a:pt x="811" y="977"/>
                  <a:pt x="796" y="944"/>
                </a:cubicBezTo>
                <a:cubicBezTo>
                  <a:pt x="767" y="880"/>
                  <a:pt x="698" y="726"/>
                  <a:pt x="689" y="708"/>
                </a:cubicBezTo>
                <a:cubicBezTo>
                  <a:pt x="680" y="693"/>
                  <a:pt x="661" y="684"/>
                  <a:pt x="642" y="69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3943" tIns="41972" rIns="83943" bIns="41972" numCol="1" anchor="t" anchorCtr="0" compatLnSpc="1"/>
          <a:lstStyle/>
          <a:p>
            <a:pPr defTabSz="932180"/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81" name="Freeform 44"/>
          <p:cNvSpPr>
            <a:spLocks noEditPoints="1"/>
          </p:cNvSpPr>
          <p:nvPr/>
        </p:nvSpPr>
        <p:spPr bwMode="black">
          <a:xfrm>
            <a:off x="8056692" y="1674345"/>
            <a:ext cx="785236" cy="767083"/>
          </a:xfrm>
          <a:custGeom>
            <a:avLst/>
            <a:gdLst>
              <a:gd name="T0" fmla="*/ 120 w 155"/>
              <a:gd name="T1" fmla="*/ 50 h 150"/>
              <a:gd name="T2" fmla="*/ 120 w 155"/>
              <a:gd name="T3" fmla="*/ 54 h 150"/>
              <a:gd name="T4" fmla="*/ 117 w 155"/>
              <a:gd name="T5" fmla="*/ 54 h 150"/>
              <a:gd name="T6" fmla="*/ 117 w 155"/>
              <a:gd name="T7" fmla="*/ 54 h 150"/>
              <a:gd name="T8" fmla="*/ 108 w 155"/>
              <a:gd name="T9" fmla="*/ 54 h 150"/>
              <a:gd name="T10" fmla="*/ 101 w 155"/>
              <a:gd name="T11" fmla="*/ 86 h 150"/>
              <a:gd name="T12" fmla="*/ 99 w 155"/>
              <a:gd name="T13" fmla="*/ 96 h 150"/>
              <a:gd name="T14" fmla="*/ 98 w 155"/>
              <a:gd name="T15" fmla="*/ 97 h 150"/>
              <a:gd name="T16" fmla="*/ 100 w 155"/>
              <a:gd name="T17" fmla="*/ 101 h 150"/>
              <a:gd name="T18" fmla="*/ 94 w 155"/>
              <a:gd name="T19" fmla="*/ 107 h 150"/>
              <a:gd name="T20" fmla="*/ 89 w 155"/>
              <a:gd name="T21" fmla="*/ 101 h 150"/>
              <a:gd name="T22" fmla="*/ 90 w 155"/>
              <a:gd name="T23" fmla="*/ 98 h 150"/>
              <a:gd name="T24" fmla="*/ 67 w 155"/>
              <a:gd name="T25" fmla="*/ 98 h 150"/>
              <a:gd name="T26" fmla="*/ 68 w 155"/>
              <a:gd name="T27" fmla="*/ 101 h 150"/>
              <a:gd name="T28" fmla="*/ 63 w 155"/>
              <a:gd name="T29" fmla="*/ 107 h 150"/>
              <a:gd name="T30" fmla="*/ 58 w 155"/>
              <a:gd name="T31" fmla="*/ 101 h 150"/>
              <a:gd name="T32" fmla="*/ 59 w 155"/>
              <a:gd name="T33" fmla="*/ 98 h 150"/>
              <a:gd name="T34" fmla="*/ 55 w 155"/>
              <a:gd name="T35" fmla="*/ 98 h 150"/>
              <a:gd name="T36" fmla="*/ 54 w 155"/>
              <a:gd name="T37" fmla="*/ 98 h 150"/>
              <a:gd name="T38" fmla="*/ 52 w 155"/>
              <a:gd name="T39" fmla="*/ 98 h 150"/>
              <a:gd name="T40" fmla="*/ 52 w 155"/>
              <a:gd name="T41" fmla="*/ 93 h 150"/>
              <a:gd name="T42" fmla="*/ 55 w 155"/>
              <a:gd name="T43" fmla="*/ 93 h 150"/>
              <a:gd name="T44" fmla="*/ 56 w 155"/>
              <a:gd name="T45" fmla="*/ 93 h 150"/>
              <a:gd name="T46" fmla="*/ 94 w 155"/>
              <a:gd name="T47" fmla="*/ 93 h 150"/>
              <a:gd name="T48" fmla="*/ 95 w 155"/>
              <a:gd name="T49" fmla="*/ 88 h 150"/>
              <a:gd name="T50" fmla="*/ 58 w 155"/>
              <a:gd name="T51" fmla="*/ 88 h 150"/>
              <a:gd name="T52" fmla="*/ 58 w 155"/>
              <a:gd name="T53" fmla="*/ 88 h 150"/>
              <a:gd name="T54" fmla="*/ 56 w 155"/>
              <a:gd name="T55" fmla="*/ 88 h 150"/>
              <a:gd name="T56" fmla="*/ 56 w 155"/>
              <a:gd name="T57" fmla="*/ 87 h 150"/>
              <a:gd name="T58" fmla="*/ 56 w 155"/>
              <a:gd name="T59" fmla="*/ 86 h 150"/>
              <a:gd name="T60" fmla="*/ 50 w 155"/>
              <a:gd name="T61" fmla="*/ 61 h 150"/>
              <a:gd name="T62" fmla="*/ 50 w 155"/>
              <a:gd name="T63" fmla="*/ 61 h 150"/>
              <a:gd name="T64" fmla="*/ 50 w 155"/>
              <a:gd name="T65" fmla="*/ 58 h 150"/>
              <a:gd name="T66" fmla="*/ 53 w 155"/>
              <a:gd name="T67" fmla="*/ 58 h 150"/>
              <a:gd name="T68" fmla="*/ 55 w 155"/>
              <a:gd name="T69" fmla="*/ 58 h 150"/>
              <a:gd name="T70" fmla="*/ 103 w 155"/>
              <a:gd name="T71" fmla="*/ 58 h 150"/>
              <a:gd name="T72" fmla="*/ 104 w 155"/>
              <a:gd name="T73" fmla="*/ 50 h 150"/>
              <a:gd name="T74" fmla="*/ 106 w 155"/>
              <a:gd name="T75" fmla="*/ 50 h 150"/>
              <a:gd name="T76" fmla="*/ 107 w 155"/>
              <a:gd name="T77" fmla="*/ 50 h 150"/>
              <a:gd name="T78" fmla="*/ 117 w 155"/>
              <a:gd name="T79" fmla="*/ 50 h 150"/>
              <a:gd name="T80" fmla="*/ 117 w 155"/>
              <a:gd name="T81" fmla="*/ 50 h 150"/>
              <a:gd name="T82" fmla="*/ 120 w 155"/>
              <a:gd name="T83" fmla="*/ 50 h 150"/>
              <a:gd name="T84" fmla="*/ 43 w 155"/>
              <a:gd name="T85" fmla="*/ 6 h 150"/>
              <a:gd name="T86" fmla="*/ 21 w 155"/>
              <a:gd name="T87" fmla="*/ 39 h 150"/>
              <a:gd name="T88" fmla="*/ 7 w 155"/>
              <a:gd name="T89" fmla="*/ 27 h 150"/>
              <a:gd name="T90" fmla="*/ 0 w 155"/>
              <a:gd name="T91" fmla="*/ 35 h 150"/>
              <a:gd name="T92" fmla="*/ 22 w 155"/>
              <a:gd name="T93" fmla="*/ 54 h 150"/>
              <a:gd name="T94" fmla="*/ 52 w 155"/>
              <a:gd name="T95" fmla="*/ 12 h 150"/>
              <a:gd name="T96" fmla="*/ 43 w 155"/>
              <a:gd name="T97" fmla="*/ 6 h 150"/>
              <a:gd name="T98" fmla="*/ 80 w 155"/>
              <a:gd name="T99" fmla="*/ 0 h 150"/>
              <a:gd name="T100" fmla="*/ 74 w 155"/>
              <a:gd name="T101" fmla="*/ 0 h 150"/>
              <a:gd name="T102" fmla="*/ 74 w 155"/>
              <a:gd name="T103" fmla="*/ 10 h 150"/>
              <a:gd name="T104" fmla="*/ 80 w 155"/>
              <a:gd name="T105" fmla="*/ 9 h 150"/>
              <a:gd name="T106" fmla="*/ 145 w 155"/>
              <a:gd name="T107" fmla="*/ 75 h 150"/>
              <a:gd name="T108" fmla="*/ 80 w 155"/>
              <a:gd name="T109" fmla="*/ 140 h 150"/>
              <a:gd name="T110" fmla="*/ 14 w 155"/>
              <a:gd name="T111" fmla="*/ 75 h 150"/>
              <a:gd name="T112" fmla="*/ 14 w 155"/>
              <a:gd name="T113" fmla="*/ 74 h 150"/>
              <a:gd name="T114" fmla="*/ 5 w 155"/>
              <a:gd name="T115" fmla="*/ 74 h 150"/>
              <a:gd name="T116" fmla="*/ 5 w 155"/>
              <a:gd name="T117" fmla="*/ 75 h 150"/>
              <a:gd name="T118" fmla="*/ 80 w 155"/>
              <a:gd name="T119" fmla="*/ 150 h 150"/>
              <a:gd name="T120" fmla="*/ 155 w 155"/>
              <a:gd name="T121" fmla="*/ 75 h 150"/>
              <a:gd name="T122" fmla="*/ 80 w 155"/>
              <a:gd name="T123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5" h="150">
                <a:moveTo>
                  <a:pt x="120" y="50"/>
                </a:moveTo>
                <a:cubicBezTo>
                  <a:pt x="120" y="54"/>
                  <a:pt x="120" y="54"/>
                  <a:pt x="120" y="54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17" y="54"/>
                  <a:pt x="117" y="54"/>
                  <a:pt x="117" y="54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01" y="86"/>
                  <a:pt x="101" y="86"/>
                  <a:pt x="101" y="86"/>
                </a:cubicBezTo>
                <a:cubicBezTo>
                  <a:pt x="99" y="96"/>
                  <a:pt x="99" y="96"/>
                  <a:pt x="99" y="96"/>
                </a:cubicBezTo>
                <a:cubicBezTo>
                  <a:pt x="99" y="97"/>
                  <a:pt x="98" y="97"/>
                  <a:pt x="98" y="97"/>
                </a:cubicBezTo>
                <a:cubicBezTo>
                  <a:pt x="99" y="98"/>
                  <a:pt x="100" y="100"/>
                  <a:pt x="100" y="101"/>
                </a:cubicBezTo>
                <a:cubicBezTo>
                  <a:pt x="100" y="104"/>
                  <a:pt x="97" y="107"/>
                  <a:pt x="94" y="107"/>
                </a:cubicBezTo>
                <a:cubicBezTo>
                  <a:pt x="91" y="107"/>
                  <a:pt x="89" y="104"/>
                  <a:pt x="89" y="101"/>
                </a:cubicBezTo>
                <a:cubicBezTo>
                  <a:pt x="89" y="100"/>
                  <a:pt x="89" y="99"/>
                  <a:pt x="90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8" y="99"/>
                  <a:pt x="68" y="100"/>
                  <a:pt x="68" y="101"/>
                </a:cubicBezTo>
                <a:cubicBezTo>
                  <a:pt x="68" y="104"/>
                  <a:pt x="66" y="107"/>
                  <a:pt x="63" y="107"/>
                </a:cubicBezTo>
                <a:cubicBezTo>
                  <a:pt x="60" y="107"/>
                  <a:pt x="58" y="104"/>
                  <a:pt x="58" y="101"/>
                </a:cubicBezTo>
                <a:cubicBezTo>
                  <a:pt x="58" y="100"/>
                  <a:pt x="58" y="99"/>
                  <a:pt x="59" y="98"/>
                </a:cubicBezTo>
                <a:cubicBezTo>
                  <a:pt x="55" y="98"/>
                  <a:pt x="55" y="98"/>
                  <a:pt x="55" y="98"/>
                </a:cubicBezTo>
                <a:cubicBezTo>
                  <a:pt x="55" y="98"/>
                  <a:pt x="54" y="98"/>
                  <a:pt x="54" y="98"/>
                </a:cubicBezTo>
                <a:cubicBezTo>
                  <a:pt x="52" y="98"/>
                  <a:pt x="52" y="98"/>
                  <a:pt x="52" y="98"/>
                </a:cubicBezTo>
                <a:cubicBezTo>
                  <a:pt x="52" y="93"/>
                  <a:pt x="52" y="93"/>
                  <a:pt x="52" y="93"/>
                </a:cubicBezTo>
                <a:cubicBezTo>
                  <a:pt x="55" y="93"/>
                  <a:pt x="55" y="93"/>
                  <a:pt x="55" y="93"/>
                </a:cubicBezTo>
                <a:cubicBezTo>
                  <a:pt x="56" y="93"/>
                  <a:pt x="56" y="93"/>
                  <a:pt x="56" y="93"/>
                </a:cubicBezTo>
                <a:cubicBezTo>
                  <a:pt x="94" y="93"/>
                  <a:pt x="94" y="93"/>
                  <a:pt x="94" y="93"/>
                </a:cubicBezTo>
                <a:cubicBezTo>
                  <a:pt x="95" y="88"/>
                  <a:pt x="95" y="88"/>
                  <a:pt x="95" y="88"/>
                </a:cubicBezTo>
                <a:cubicBezTo>
                  <a:pt x="58" y="88"/>
                  <a:pt x="58" y="88"/>
                  <a:pt x="58" y="88"/>
                </a:cubicBezTo>
                <a:cubicBezTo>
                  <a:pt x="58" y="88"/>
                  <a:pt x="58" y="88"/>
                  <a:pt x="58" y="88"/>
                </a:cubicBezTo>
                <a:cubicBezTo>
                  <a:pt x="56" y="88"/>
                  <a:pt x="56" y="88"/>
                  <a:pt x="56" y="88"/>
                </a:cubicBezTo>
                <a:cubicBezTo>
                  <a:pt x="56" y="87"/>
                  <a:pt x="56" y="87"/>
                  <a:pt x="56" y="87"/>
                </a:cubicBezTo>
                <a:cubicBezTo>
                  <a:pt x="56" y="87"/>
                  <a:pt x="56" y="87"/>
                  <a:pt x="56" y="86"/>
                </a:cubicBezTo>
                <a:cubicBezTo>
                  <a:pt x="50" y="61"/>
                  <a:pt x="50" y="61"/>
                  <a:pt x="50" y="61"/>
                </a:cubicBezTo>
                <a:cubicBezTo>
                  <a:pt x="50" y="61"/>
                  <a:pt x="50" y="61"/>
                  <a:pt x="50" y="61"/>
                </a:cubicBezTo>
                <a:cubicBezTo>
                  <a:pt x="50" y="58"/>
                  <a:pt x="50" y="58"/>
                  <a:pt x="50" y="58"/>
                </a:cubicBezTo>
                <a:cubicBezTo>
                  <a:pt x="53" y="58"/>
                  <a:pt x="53" y="58"/>
                  <a:pt x="53" y="58"/>
                </a:cubicBezTo>
                <a:cubicBezTo>
                  <a:pt x="55" y="58"/>
                  <a:pt x="55" y="58"/>
                  <a:pt x="55" y="58"/>
                </a:cubicBezTo>
                <a:cubicBezTo>
                  <a:pt x="103" y="58"/>
                  <a:pt x="103" y="58"/>
                  <a:pt x="103" y="58"/>
                </a:cubicBezTo>
                <a:cubicBezTo>
                  <a:pt x="104" y="50"/>
                  <a:pt x="104" y="50"/>
                  <a:pt x="104" y="50"/>
                </a:cubicBezTo>
                <a:cubicBezTo>
                  <a:pt x="106" y="50"/>
                  <a:pt x="106" y="50"/>
                  <a:pt x="106" y="50"/>
                </a:cubicBezTo>
                <a:cubicBezTo>
                  <a:pt x="107" y="50"/>
                  <a:pt x="107" y="50"/>
                  <a:pt x="107" y="50"/>
                </a:cubicBezTo>
                <a:cubicBezTo>
                  <a:pt x="117" y="50"/>
                  <a:pt x="117" y="50"/>
                  <a:pt x="117" y="50"/>
                </a:cubicBezTo>
                <a:cubicBezTo>
                  <a:pt x="117" y="50"/>
                  <a:pt x="117" y="50"/>
                  <a:pt x="117" y="50"/>
                </a:cubicBezTo>
                <a:lnTo>
                  <a:pt x="120" y="50"/>
                </a:lnTo>
                <a:close/>
                <a:moveTo>
                  <a:pt x="43" y="6"/>
                </a:moveTo>
                <a:cubicBezTo>
                  <a:pt x="21" y="39"/>
                  <a:pt x="21" y="39"/>
                  <a:pt x="21" y="39"/>
                </a:cubicBezTo>
                <a:cubicBezTo>
                  <a:pt x="7" y="27"/>
                  <a:pt x="7" y="27"/>
                  <a:pt x="7" y="27"/>
                </a:cubicBezTo>
                <a:cubicBezTo>
                  <a:pt x="0" y="35"/>
                  <a:pt x="0" y="35"/>
                  <a:pt x="0" y="35"/>
                </a:cubicBezTo>
                <a:cubicBezTo>
                  <a:pt x="22" y="54"/>
                  <a:pt x="22" y="54"/>
                  <a:pt x="22" y="54"/>
                </a:cubicBezTo>
                <a:cubicBezTo>
                  <a:pt x="52" y="12"/>
                  <a:pt x="52" y="12"/>
                  <a:pt x="52" y="12"/>
                </a:cubicBezTo>
                <a:lnTo>
                  <a:pt x="43" y="6"/>
                </a:lnTo>
                <a:close/>
                <a:moveTo>
                  <a:pt x="80" y="0"/>
                </a:moveTo>
                <a:cubicBezTo>
                  <a:pt x="78" y="0"/>
                  <a:pt x="76" y="0"/>
                  <a:pt x="74" y="0"/>
                </a:cubicBezTo>
                <a:cubicBezTo>
                  <a:pt x="74" y="10"/>
                  <a:pt x="74" y="10"/>
                  <a:pt x="74" y="10"/>
                </a:cubicBezTo>
                <a:cubicBezTo>
                  <a:pt x="76" y="10"/>
                  <a:pt x="78" y="9"/>
                  <a:pt x="80" y="9"/>
                </a:cubicBezTo>
                <a:cubicBezTo>
                  <a:pt x="116" y="9"/>
                  <a:pt x="145" y="39"/>
                  <a:pt x="145" y="75"/>
                </a:cubicBezTo>
                <a:cubicBezTo>
                  <a:pt x="145" y="111"/>
                  <a:pt x="116" y="140"/>
                  <a:pt x="80" y="140"/>
                </a:cubicBezTo>
                <a:cubicBezTo>
                  <a:pt x="44" y="140"/>
                  <a:pt x="14" y="111"/>
                  <a:pt x="14" y="75"/>
                </a:cubicBezTo>
                <a:cubicBezTo>
                  <a:pt x="14" y="75"/>
                  <a:pt x="14" y="75"/>
                  <a:pt x="14" y="74"/>
                </a:cubicBezTo>
                <a:cubicBezTo>
                  <a:pt x="5" y="74"/>
                  <a:pt x="5" y="74"/>
                  <a:pt x="5" y="74"/>
                </a:cubicBezTo>
                <a:cubicBezTo>
                  <a:pt x="5" y="75"/>
                  <a:pt x="5" y="75"/>
                  <a:pt x="5" y="75"/>
                </a:cubicBezTo>
                <a:cubicBezTo>
                  <a:pt x="5" y="116"/>
                  <a:pt x="38" y="150"/>
                  <a:pt x="80" y="150"/>
                </a:cubicBezTo>
                <a:cubicBezTo>
                  <a:pt x="121" y="150"/>
                  <a:pt x="155" y="116"/>
                  <a:pt x="155" y="75"/>
                </a:cubicBezTo>
                <a:cubicBezTo>
                  <a:pt x="155" y="34"/>
                  <a:pt x="121" y="0"/>
                  <a:pt x="8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2800" b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2" name="Freeform 131"/>
          <p:cNvSpPr>
            <a:spLocks noEditPoints="1"/>
          </p:cNvSpPr>
          <p:nvPr/>
        </p:nvSpPr>
        <p:spPr bwMode="black">
          <a:xfrm>
            <a:off x="6865832" y="1795648"/>
            <a:ext cx="636173" cy="428026"/>
          </a:xfrm>
          <a:custGeom>
            <a:avLst/>
            <a:gdLst>
              <a:gd name="T0" fmla="*/ 2163 w 2252"/>
              <a:gd name="T1" fmla="*/ 31 h 1520"/>
              <a:gd name="T2" fmla="*/ 390 w 2252"/>
              <a:gd name="T3" fmla="*/ 31 h 1520"/>
              <a:gd name="T4" fmla="*/ 90 w 2252"/>
              <a:gd name="T5" fmla="*/ 24 h 1520"/>
              <a:gd name="T6" fmla="*/ 0 w 2252"/>
              <a:gd name="T7" fmla="*/ 113 h 1520"/>
              <a:gd name="T8" fmla="*/ 0 w 2252"/>
              <a:gd name="T9" fmla="*/ 1418 h 1520"/>
              <a:gd name="T10" fmla="*/ 90 w 2252"/>
              <a:gd name="T11" fmla="*/ 1508 h 1520"/>
              <a:gd name="T12" fmla="*/ 463 w 2252"/>
              <a:gd name="T13" fmla="*/ 1478 h 1520"/>
              <a:gd name="T14" fmla="*/ 2163 w 2252"/>
              <a:gd name="T15" fmla="*/ 1478 h 1520"/>
              <a:gd name="T16" fmla="*/ 2252 w 2252"/>
              <a:gd name="T17" fmla="*/ 1388 h 1520"/>
              <a:gd name="T18" fmla="*/ 2252 w 2252"/>
              <a:gd name="T19" fmla="*/ 121 h 1520"/>
              <a:gd name="T20" fmla="*/ 2163 w 2252"/>
              <a:gd name="T21" fmla="*/ 31 h 1520"/>
              <a:gd name="T22" fmla="*/ 1635 w 2252"/>
              <a:gd name="T23" fmla="*/ 1391 h 1520"/>
              <a:gd name="T24" fmla="*/ 546 w 2252"/>
              <a:gd name="T25" fmla="*/ 1391 h 1520"/>
              <a:gd name="T26" fmla="*/ 512 w 2252"/>
              <a:gd name="T27" fmla="*/ 1354 h 1520"/>
              <a:gd name="T28" fmla="*/ 546 w 2252"/>
              <a:gd name="T29" fmla="*/ 1316 h 1520"/>
              <a:gd name="T30" fmla="*/ 1635 w 2252"/>
              <a:gd name="T31" fmla="*/ 1316 h 1520"/>
              <a:gd name="T32" fmla="*/ 1668 w 2252"/>
              <a:gd name="T33" fmla="*/ 1354 h 1520"/>
              <a:gd name="T34" fmla="*/ 1635 w 2252"/>
              <a:gd name="T35" fmla="*/ 1391 h 1520"/>
              <a:gd name="T36" fmla="*/ 1305 w 2252"/>
              <a:gd name="T37" fmla="*/ 1195 h 1520"/>
              <a:gd name="T38" fmla="*/ 877 w 2252"/>
              <a:gd name="T39" fmla="*/ 766 h 1520"/>
              <a:gd name="T40" fmla="*/ 1305 w 2252"/>
              <a:gd name="T41" fmla="*/ 337 h 1520"/>
              <a:gd name="T42" fmla="*/ 1734 w 2252"/>
              <a:gd name="T43" fmla="*/ 766 h 1520"/>
              <a:gd name="T44" fmla="*/ 1305 w 2252"/>
              <a:gd name="T45" fmla="*/ 1195 h 1520"/>
              <a:gd name="T46" fmla="*/ 1966 w 2252"/>
              <a:gd name="T47" fmla="*/ 325 h 1520"/>
              <a:gd name="T48" fmla="*/ 1810 w 2252"/>
              <a:gd name="T49" fmla="*/ 325 h 1520"/>
              <a:gd name="T50" fmla="*/ 1720 w 2252"/>
              <a:gd name="T51" fmla="*/ 235 h 1520"/>
              <a:gd name="T52" fmla="*/ 1810 w 2252"/>
              <a:gd name="T53" fmla="*/ 146 h 1520"/>
              <a:gd name="T54" fmla="*/ 1966 w 2252"/>
              <a:gd name="T55" fmla="*/ 146 h 1520"/>
              <a:gd name="T56" fmla="*/ 2056 w 2252"/>
              <a:gd name="T57" fmla="*/ 235 h 1520"/>
              <a:gd name="T58" fmla="*/ 1966 w 2252"/>
              <a:gd name="T59" fmla="*/ 325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52" h="1520">
                <a:moveTo>
                  <a:pt x="2163" y="31"/>
                </a:moveTo>
                <a:cubicBezTo>
                  <a:pt x="390" y="31"/>
                  <a:pt x="390" y="31"/>
                  <a:pt x="390" y="31"/>
                </a:cubicBezTo>
                <a:cubicBezTo>
                  <a:pt x="247" y="0"/>
                  <a:pt x="126" y="24"/>
                  <a:pt x="90" y="24"/>
                </a:cubicBezTo>
                <a:cubicBezTo>
                  <a:pt x="40" y="24"/>
                  <a:pt x="0" y="64"/>
                  <a:pt x="0" y="113"/>
                </a:cubicBezTo>
                <a:cubicBezTo>
                  <a:pt x="0" y="1418"/>
                  <a:pt x="0" y="1418"/>
                  <a:pt x="0" y="1418"/>
                </a:cubicBezTo>
                <a:cubicBezTo>
                  <a:pt x="0" y="1468"/>
                  <a:pt x="40" y="1508"/>
                  <a:pt x="90" y="1508"/>
                </a:cubicBezTo>
                <a:cubicBezTo>
                  <a:pt x="134" y="1508"/>
                  <a:pt x="382" y="1520"/>
                  <a:pt x="463" y="1478"/>
                </a:cubicBezTo>
                <a:cubicBezTo>
                  <a:pt x="2163" y="1478"/>
                  <a:pt x="2163" y="1478"/>
                  <a:pt x="2163" y="1478"/>
                </a:cubicBezTo>
                <a:cubicBezTo>
                  <a:pt x="2212" y="1478"/>
                  <a:pt x="2252" y="1438"/>
                  <a:pt x="2252" y="1388"/>
                </a:cubicBezTo>
                <a:cubicBezTo>
                  <a:pt x="2252" y="121"/>
                  <a:pt x="2252" y="121"/>
                  <a:pt x="2252" y="121"/>
                </a:cubicBezTo>
                <a:cubicBezTo>
                  <a:pt x="2252" y="71"/>
                  <a:pt x="2212" y="31"/>
                  <a:pt x="2163" y="31"/>
                </a:cubicBezTo>
                <a:close/>
                <a:moveTo>
                  <a:pt x="1635" y="1391"/>
                </a:moveTo>
                <a:cubicBezTo>
                  <a:pt x="546" y="1391"/>
                  <a:pt x="546" y="1391"/>
                  <a:pt x="546" y="1391"/>
                </a:cubicBezTo>
                <a:cubicBezTo>
                  <a:pt x="527" y="1391"/>
                  <a:pt x="512" y="1374"/>
                  <a:pt x="512" y="1354"/>
                </a:cubicBezTo>
                <a:cubicBezTo>
                  <a:pt x="512" y="1333"/>
                  <a:pt x="527" y="1316"/>
                  <a:pt x="546" y="1316"/>
                </a:cubicBezTo>
                <a:cubicBezTo>
                  <a:pt x="1635" y="1316"/>
                  <a:pt x="1635" y="1316"/>
                  <a:pt x="1635" y="1316"/>
                </a:cubicBezTo>
                <a:cubicBezTo>
                  <a:pt x="1653" y="1316"/>
                  <a:pt x="1668" y="1333"/>
                  <a:pt x="1668" y="1354"/>
                </a:cubicBezTo>
                <a:cubicBezTo>
                  <a:pt x="1668" y="1374"/>
                  <a:pt x="1653" y="1391"/>
                  <a:pt x="1635" y="1391"/>
                </a:cubicBezTo>
                <a:close/>
                <a:moveTo>
                  <a:pt x="1305" y="1195"/>
                </a:moveTo>
                <a:cubicBezTo>
                  <a:pt x="1068" y="1195"/>
                  <a:pt x="877" y="1003"/>
                  <a:pt x="877" y="766"/>
                </a:cubicBezTo>
                <a:cubicBezTo>
                  <a:pt x="877" y="529"/>
                  <a:pt x="1068" y="337"/>
                  <a:pt x="1305" y="337"/>
                </a:cubicBezTo>
                <a:cubicBezTo>
                  <a:pt x="1542" y="337"/>
                  <a:pt x="1734" y="529"/>
                  <a:pt x="1734" y="766"/>
                </a:cubicBezTo>
                <a:cubicBezTo>
                  <a:pt x="1734" y="1003"/>
                  <a:pt x="1542" y="1195"/>
                  <a:pt x="1305" y="1195"/>
                </a:cubicBezTo>
                <a:close/>
                <a:moveTo>
                  <a:pt x="1966" y="325"/>
                </a:moveTo>
                <a:cubicBezTo>
                  <a:pt x="1810" y="325"/>
                  <a:pt x="1810" y="325"/>
                  <a:pt x="1810" y="325"/>
                </a:cubicBezTo>
                <a:cubicBezTo>
                  <a:pt x="1760" y="325"/>
                  <a:pt x="1720" y="285"/>
                  <a:pt x="1720" y="235"/>
                </a:cubicBezTo>
                <a:cubicBezTo>
                  <a:pt x="1720" y="186"/>
                  <a:pt x="1760" y="146"/>
                  <a:pt x="1810" y="146"/>
                </a:cubicBezTo>
                <a:cubicBezTo>
                  <a:pt x="1966" y="146"/>
                  <a:pt x="1966" y="146"/>
                  <a:pt x="1966" y="146"/>
                </a:cubicBezTo>
                <a:cubicBezTo>
                  <a:pt x="2016" y="146"/>
                  <a:pt x="2056" y="186"/>
                  <a:pt x="2056" y="235"/>
                </a:cubicBezTo>
                <a:cubicBezTo>
                  <a:pt x="2056" y="285"/>
                  <a:pt x="2016" y="325"/>
                  <a:pt x="1966" y="325"/>
                </a:cubicBezTo>
                <a:close/>
              </a:path>
            </a:pathLst>
          </a:custGeom>
          <a:solidFill>
            <a:srgbClr val="FFFFFF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423" tIns="45711" rIns="91423" bIns="45711" numCol="1" rtlCol="0" anchor="ctr" anchorCtr="0" compatLnSpc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39775">
              <a:defRPr/>
            </a:pPr>
            <a:endParaRPr lang="en-US" spc="-122">
              <a:solidFill>
                <a:prstClr val="black">
                  <a:lumMod val="50000"/>
                </a:prstClr>
              </a:solidFill>
              <a:latin typeface="Segoe UI Light" panose="020B0502040204020203"/>
              <a:sym typeface="Segoe UI Light" panose="020B0502040204020203"/>
            </a:endParaRPr>
          </a:p>
        </p:txBody>
      </p:sp>
      <p:sp>
        <p:nvSpPr>
          <p:cNvPr id="83" name="Freeform 92"/>
          <p:cNvSpPr>
            <a:spLocks noEditPoints="1"/>
          </p:cNvSpPr>
          <p:nvPr/>
        </p:nvSpPr>
        <p:spPr bwMode="black">
          <a:xfrm>
            <a:off x="5621067" y="2845574"/>
            <a:ext cx="536985" cy="731636"/>
          </a:xfrm>
          <a:custGeom>
            <a:avLst/>
            <a:gdLst>
              <a:gd name="T0" fmla="*/ 15 w 48"/>
              <a:gd name="T1" fmla="*/ 11 h 66"/>
              <a:gd name="T2" fmla="*/ 24 w 48"/>
              <a:gd name="T3" fmla="*/ 9 h 66"/>
              <a:gd name="T4" fmla="*/ 33 w 48"/>
              <a:gd name="T5" fmla="*/ 11 h 66"/>
              <a:gd name="T6" fmla="*/ 35 w 48"/>
              <a:gd name="T7" fmla="*/ 23 h 66"/>
              <a:gd name="T8" fmla="*/ 35 w 48"/>
              <a:gd name="T9" fmla="*/ 25 h 66"/>
              <a:gd name="T10" fmla="*/ 35 w 48"/>
              <a:gd name="T11" fmla="*/ 27 h 66"/>
              <a:gd name="T12" fmla="*/ 14 w 48"/>
              <a:gd name="T13" fmla="*/ 27 h 66"/>
              <a:gd name="T14" fmla="*/ 14 w 48"/>
              <a:gd name="T15" fmla="*/ 25 h 66"/>
              <a:gd name="T16" fmla="*/ 14 w 48"/>
              <a:gd name="T17" fmla="*/ 22 h 66"/>
              <a:gd name="T18" fmla="*/ 15 w 48"/>
              <a:gd name="T19" fmla="*/ 11 h 66"/>
              <a:gd name="T20" fmla="*/ 44 w 48"/>
              <a:gd name="T21" fmla="*/ 28 h 66"/>
              <a:gd name="T22" fmla="*/ 44 w 48"/>
              <a:gd name="T23" fmla="*/ 25 h 66"/>
              <a:gd name="T24" fmla="*/ 44 w 48"/>
              <a:gd name="T25" fmla="*/ 23 h 66"/>
              <a:gd name="T26" fmla="*/ 39 w 48"/>
              <a:gd name="T27" fmla="*/ 5 h 66"/>
              <a:gd name="T28" fmla="*/ 24 w 48"/>
              <a:gd name="T29" fmla="*/ 0 h 66"/>
              <a:gd name="T30" fmla="*/ 9 w 48"/>
              <a:gd name="T31" fmla="*/ 5 h 66"/>
              <a:gd name="T32" fmla="*/ 5 w 48"/>
              <a:gd name="T33" fmla="*/ 22 h 66"/>
              <a:gd name="T34" fmla="*/ 5 w 48"/>
              <a:gd name="T35" fmla="*/ 25 h 66"/>
              <a:gd name="T36" fmla="*/ 5 w 48"/>
              <a:gd name="T37" fmla="*/ 27 h 66"/>
              <a:gd name="T38" fmla="*/ 0 w 48"/>
              <a:gd name="T39" fmla="*/ 32 h 66"/>
              <a:gd name="T40" fmla="*/ 0 w 48"/>
              <a:gd name="T41" fmla="*/ 62 h 66"/>
              <a:gd name="T42" fmla="*/ 5 w 48"/>
              <a:gd name="T43" fmla="*/ 66 h 66"/>
              <a:gd name="T44" fmla="*/ 43 w 48"/>
              <a:gd name="T45" fmla="*/ 66 h 66"/>
              <a:gd name="T46" fmla="*/ 48 w 48"/>
              <a:gd name="T47" fmla="*/ 62 h 66"/>
              <a:gd name="T48" fmla="*/ 48 w 48"/>
              <a:gd name="T49" fmla="*/ 32 h 66"/>
              <a:gd name="T50" fmla="*/ 44 w 48"/>
              <a:gd name="T51" fmla="*/ 2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8" h="66">
                <a:moveTo>
                  <a:pt x="15" y="11"/>
                </a:moveTo>
                <a:cubicBezTo>
                  <a:pt x="17" y="10"/>
                  <a:pt x="20" y="9"/>
                  <a:pt x="24" y="9"/>
                </a:cubicBezTo>
                <a:cubicBezTo>
                  <a:pt x="29" y="9"/>
                  <a:pt x="32" y="10"/>
                  <a:pt x="33" y="11"/>
                </a:cubicBezTo>
                <a:cubicBezTo>
                  <a:pt x="35" y="13"/>
                  <a:pt x="35" y="18"/>
                  <a:pt x="35" y="23"/>
                </a:cubicBezTo>
                <a:cubicBezTo>
                  <a:pt x="35" y="25"/>
                  <a:pt x="35" y="25"/>
                  <a:pt x="35" y="25"/>
                </a:cubicBezTo>
                <a:cubicBezTo>
                  <a:pt x="35" y="26"/>
                  <a:pt x="35" y="27"/>
                  <a:pt x="35" y="27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7"/>
                  <a:pt x="14" y="26"/>
                  <a:pt x="14" y="25"/>
                </a:cubicBezTo>
                <a:cubicBezTo>
                  <a:pt x="14" y="22"/>
                  <a:pt x="14" y="22"/>
                  <a:pt x="14" y="22"/>
                </a:cubicBezTo>
                <a:cubicBezTo>
                  <a:pt x="14" y="17"/>
                  <a:pt x="14" y="13"/>
                  <a:pt x="15" y="11"/>
                </a:cubicBezTo>
                <a:moveTo>
                  <a:pt x="44" y="28"/>
                </a:moveTo>
                <a:cubicBezTo>
                  <a:pt x="44" y="27"/>
                  <a:pt x="44" y="26"/>
                  <a:pt x="44" y="25"/>
                </a:cubicBezTo>
                <a:cubicBezTo>
                  <a:pt x="44" y="23"/>
                  <a:pt x="44" y="23"/>
                  <a:pt x="44" y="23"/>
                </a:cubicBezTo>
                <a:cubicBezTo>
                  <a:pt x="44" y="16"/>
                  <a:pt x="44" y="10"/>
                  <a:pt x="39" y="5"/>
                </a:cubicBezTo>
                <a:cubicBezTo>
                  <a:pt x="36" y="2"/>
                  <a:pt x="31" y="0"/>
                  <a:pt x="24" y="0"/>
                </a:cubicBezTo>
                <a:cubicBezTo>
                  <a:pt x="17" y="0"/>
                  <a:pt x="12" y="2"/>
                  <a:pt x="9" y="5"/>
                </a:cubicBezTo>
                <a:cubicBezTo>
                  <a:pt x="5" y="9"/>
                  <a:pt x="5" y="16"/>
                  <a:pt x="5" y="22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26"/>
                  <a:pt x="5" y="27"/>
                  <a:pt x="5" y="27"/>
                </a:cubicBezTo>
                <a:cubicBezTo>
                  <a:pt x="2" y="28"/>
                  <a:pt x="0" y="30"/>
                  <a:pt x="0" y="3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4"/>
                  <a:pt x="2" y="66"/>
                  <a:pt x="5" y="66"/>
                </a:cubicBezTo>
                <a:cubicBezTo>
                  <a:pt x="43" y="66"/>
                  <a:pt x="43" y="66"/>
                  <a:pt x="43" y="66"/>
                </a:cubicBezTo>
                <a:cubicBezTo>
                  <a:pt x="46" y="66"/>
                  <a:pt x="48" y="64"/>
                  <a:pt x="48" y="6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0"/>
                  <a:pt x="46" y="28"/>
                  <a:pt x="44" y="28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201" tIns="46602" rIns="93201" bIns="46602" numCol="1" anchor="t" anchorCtr="0" compatLnSpc="1"/>
          <a:lstStyle/>
          <a:p>
            <a:endParaRPr lang="en-US" dirty="0"/>
          </a:p>
        </p:txBody>
      </p:sp>
      <p:pic>
        <p:nvPicPr>
          <p:cNvPr id="84" name="Picture 17"/>
          <p:cNvPicPr>
            <a:picLocks noChangeAspect="1"/>
          </p:cNvPicPr>
          <p:nvPr/>
        </p:nvPicPr>
        <p:blipFill>
          <a:blip r:embed="rId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58132" y="557882"/>
            <a:ext cx="813691" cy="643480"/>
          </a:xfrm>
          <a:prstGeom prst="rect">
            <a:avLst/>
          </a:prstGeom>
        </p:spPr>
      </p:pic>
      <p:pic>
        <p:nvPicPr>
          <p:cNvPr id="85" name="Picture 16"/>
          <p:cNvPicPr>
            <a:picLocks noChangeAspect="1"/>
          </p:cNvPicPr>
          <p:nvPr/>
        </p:nvPicPr>
        <p:blipFill>
          <a:blip r:embed="rId9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50943" y="408815"/>
            <a:ext cx="856365" cy="941614"/>
          </a:xfrm>
          <a:prstGeom prst="rect">
            <a:avLst/>
          </a:prstGeom>
        </p:spPr>
      </p:pic>
      <p:pic>
        <p:nvPicPr>
          <p:cNvPr id="86" name="Picture 19"/>
          <p:cNvPicPr>
            <a:picLocks noChangeAspect="1"/>
          </p:cNvPicPr>
          <p:nvPr/>
        </p:nvPicPr>
        <p:blipFill>
          <a:blip r:embed="rId1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1028" y="472968"/>
            <a:ext cx="670980" cy="813308"/>
          </a:xfrm>
          <a:prstGeom prst="rect">
            <a:avLst/>
          </a:prstGeom>
        </p:spPr>
      </p:pic>
      <p:sp>
        <p:nvSpPr>
          <p:cNvPr id="88" name="Freeform 82"/>
          <p:cNvSpPr>
            <a:spLocks noChangeAspect="1" noEditPoints="1"/>
          </p:cNvSpPr>
          <p:nvPr/>
        </p:nvSpPr>
        <p:spPr bwMode="auto">
          <a:xfrm>
            <a:off x="1633598" y="633041"/>
            <a:ext cx="864096" cy="653235"/>
          </a:xfrm>
          <a:custGeom>
            <a:avLst/>
            <a:gdLst>
              <a:gd name="T0" fmla="*/ 77 w 400"/>
              <a:gd name="T1" fmla="*/ 143 h 302"/>
              <a:gd name="T2" fmla="*/ 18 w 400"/>
              <a:gd name="T3" fmla="*/ 118 h 302"/>
              <a:gd name="T4" fmla="*/ 42 w 400"/>
              <a:gd name="T5" fmla="*/ 18 h 302"/>
              <a:gd name="T6" fmla="*/ 220 w 400"/>
              <a:gd name="T7" fmla="*/ 44 h 302"/>
              <a:gd name="T8" fmla="*/ 196 w 400"/>
              <a:gd name="T9" fmla="*/ 143 h 302"/>
              <a:gd name="T10" fmla="*/ 238 w 400"/>
              <a:gd name="T11" fmla="*/ 118 h 302"/>
              <a:gd name="T12" fmla="*/ 196 w 400"/>
              <a:gd name="T13" fmla="*/ 0 h 302"/>
              <a:gd name="T14" fmla="*/ 0 w 400"/>
              <a:gd name="T15" fmla="*/ 44 h 302"/>
              <a:gd name="T16" fmla="*/ 42 w 400"/>
              <a:gd name="T17" fmla="*/ 161 h 302"/>
              <a:gd name="T18" fmla="*/ 59 w 400"/>
              <a:gd name="T19" fmla="*/ 193 h 302"/>
              <a:gd name="T20" fmla="*/ 71 w 400"/>
              <a:gd name="T21" fmla="*/ 205 h 302"/>
              <a:gd name="T22" fmla="*/ 113 w 400"/>
              <a:gd name="T23" fmla="*/ 161 h 302"/>
              <a:gd name="T24" fmla="*/ 146 w 400"/>
              <a:gd name="T25" fmla="*/ 143 h 302"/>
              <a:gd name="T26" fmla="*/ 77 w 400"/>
              <a:gd name="T27" fmla="*/ 176 h 302"/>
              <a:gd name="T28" fmla="*/ 254 w 400"/>
              <a:gd name="T29" fmla="*/ 97 h 302"/>
              <a:gd name="T30" fmla="*/ 358 w 400"/>
              <a:gd name="T31" fmla="*/ 115 h 302"/>
              <a:gd name="T32" fmla="*/ 382 w 400"/>
              <a:gd name="T33" fmla="*/ 215 h 302"/>
              <a:gd name="T34" fmla="*/ 323 w 400"/>
              <a:gd name="T35" fmla="*/ 240 h 302"/>
              <a:gd name="T36" fmla="*/ 295 w 400"/>
              <a:gd name="T37" fmla="*/ 240 h 302"/>
              <a:gd name="T38" fmla="*/ 180 w 400"/>
              <a:gd name="T39" fmla="*/ 215 h 302"/>
              <a:gd name="T40" fmla="*/ 204 w 400"/>
              <a:gd name="T41" fmla="*/ 115 h 302"/>
              <a:gd name="T42" fmla="*/ 162 w 400"/>
              <a:gd name="T43" fmla="*/ 141 h 302"/>
              <a:gd name="T44" fmla="*/ 204 w 400"/>
              <a:gd name="T45" fmla="*/ 258 h 302"/>
              <a:gd name="T46" fmla="*/ 321 w 400"/>
              <a:gd name="T47" fmla="*/ 298 h 302"/>
              <a:gd name="T48" fmla="*/ 333 w 400"/>
              <a:gd name="T49" fmla="*/ 301 h 302"/>
              <a:gd name="T50" fmla="*/ 341 w 400"/>
              <a:gd name="T51" fmla="*/ 258 h 302"/>
              <a:gd name="T52" fmla="*/ 400 w 400"/>
              <a:gd name="T53" fmla="*/ 215 h 302"/>
              <a:gd name="T54" fmla="*/ 358 w 400"/>
              <a:gd name="T55" fmla="*/ 97 h 302"/>
              <a:gd name="T56" fmla="*/ 74 w 400"/>
              <a:gd name="T57" fmla="*/ 114 h 302"/>
              <a:gd name="T58" fmla="*/ 100 w 400"/>
              <a:gd name="T59" fmla="*/ 95 h 302"/>
              <a:gd name="T60" fmla="*/ 137 w 400"/>
              <a:gd name="T61" fmla="*/ 114 h 302"/>
              <a:gd name="T62" fmla="*/ 125 w 400"/>
              <a:gd name="T63" fmla="*/ 30 h 302"/>
              <a:gd name="T64" fmla="*/ 104 w 400"/>
              <a:gd name="T65" fmla="*/ 81 h 302"/>
              <a:gd name="T66" fmla="*/ 116 w 400"/>
              <a:gd name="T67" fmla="*/ 51 h 302"/>
              <a:gd name="T68" fmla="*/ 104 w 400"/>
              <a:gd name="T69" fmla="*/ 81 h 302"/>
              <a:gd name="T70" fmla="*/ 256 w 400"/>
              <a:gd name="T71" fmla="*/ 212 h 302"/>
              <a:gd name="T72" fmla="*/ 301 w 400"/>
              <a:gd name="T73" fmla="*/ 177 h 302"/>
              <a:gd name="T74" fmla="*/ 282 w 400"/>
              <a:gd name="T75" fmla="*/ 207 h 302"/>
              <a:gd name="T76" fmla="*/ 324 w 400"/>
              <a:gd name="T77" fmla="*/ 189 h 302"/>
              <a:gd name="T78" fmla="*/ 306 w 400"/>
              <a:gd name="T79" fmla="*/ 161 h 302"/>
              <a:gd name="T80" fmla="*/ 291 w 400"/>
              <a:gd name="T81" fmla="*/ 162 h 302"/>
              <a:gd name="T82" fmla="*/ 278 w 400"/>
              <a:gd name="T83" fmla="*/ 150 h 302"/>
              <a:gd name="T84" fmla="*/ 312 w 400"/>
              <a:gd name="T85" fmla="*/ 133 h 302"/>
              <a:gd name="T86" fmla="*/ 280 w 400"/>
              <a:gd name="T87" fmla="*/ 126 h 302"/>
              <a:gd name="T88" fmla="*/ 264 w 400"/>
              <a:gd name="T89" fmla="*/ 137 h 302"/>
              <a:gd name="T90" fmla="*/ 246 w 400"/>
              <a:gd name="T91" fmla="*/ 151 h 302"/>
              <a:gd name="T92" fmla="*/ 264 w 400"/>
              <a:gd name="T93" fmla="*/ 151 h 302"/>
              <a:gd name="T94" fmla="*/ 240 w 400"/>
              <a:gd name="T95" fmla="*/ 197 h 302"/>
              <a:gd name="T96" fmla="*/ 279 w 400"/>
              <a:gd name="T97" fmla="*/ 185 h 302"/>
              <a:gd name="T98" fmla="*/ 286 w 400"/>
              <a:gd name="T99" fmla="*/ 174 h 302"/>
              <a:gd name="T100" fmla="*/ 267 w 400"/>
              <a:gd name="T101" fmla="*/ 196 h 302"/>
              <a:gd name="T102" fmla="*/ 255 w 400"/>
              <a:gd name="T103" fmla="*/ 194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00" h="302">
                <a:moveTo>
                  <a:pt x="77" y="176"/>
                </a:moveTo>
                <a:cubicBezTo>
                  <a:pt x="77" y="143"/>
                  <a:pt x="77" y="143"/>
                  <a:pt x="77" y="143"/>
                </a:cubicBezTo>
                <a:cubicBezTo>
                  <a:pt x="42" y="143"/>
                  <a:pt x="42" y="143"/>
                  <a:pt x="42" y="143"/>
                </a:cubicBezTo>
                <a:cubicBezTo>
                  <a:pt x="29" y="143"/>
                  <a:pt x="18" y="132"/>
                  <a:pt x="18" y="118"/>
                </a:cubicBezTo>
                <a:cubicBezTo>
                  <a:pt x="18" y="44"/>
                  <a:pt x="18" y="44"/>
                  <a:pt x="18" y="44"/>
                </a:cubicBezTo>
                <a:cubicBezTo>
                  <a:pt x="18" y="30"/>
                  <a:pt x="29" y="18"/>
                  <a:pt x="42" y="18"/>
                </a:cubicBezTo>
                <a:cubicBezTo>
                  <a:pt x="196" y="18"/>
                  <a:pt x="196" y="18"/>
                  <a:pt x="196" y="18"/>
                </a:cubicBezTo>
                <a:cubicBezTo>
                  <a:pt x="209" y="18"/>
                  <a:pt x="220" y="30"/>
                  <a:pt x="220" y="44"/>
                </a:cubicBezTo>
                <a:cubicBezTo>
                  <a:pt x="220" y="118"/>
                  <a:pt x="220" y="118"/>
                  <a:pt x="220" y="118"/>
                </a:cubicBezTo>
                <a:cubicBezTo>
                  <a:pt x="220" y="132"/>
                  <a:pt x="209" y="143"/>
                  <a:pt x="196" y="143"/>
                </a:cubicBezTo>
                <a:cubicBezTo>
                  <a:pt x="196" y="161"/>
                  <a:pt x="196" y="161"/>
                  <a:pt x="196" y="161"/>
                </a:cubicBezTo>
                <a:cubicBezTo>
                  <a:pt x="219" y="161"/>
                  <a:pt x="238" y="142"/>
                  <a:pt x="238" y="118"/>
                </a:cubicBezTo>
                <a:cubicBezTo>
                  <a:pt x="238" y="44"/>
                  <a:pt x="238" y="44"/>
                  <a:pt x="238" y="44"/>
                </a:cubicBezTo>
                <a:cubicBezTo>
                  <a:pt x="238" y="20"/>
                  <a:pt x="219" y="0"/>
                  <a:pt x="196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0" y="20"/>
                  <a:pt x="0" y="44"/>
                </a:cubicBezTo>
                <a:cubicBezTo>
                  <a:pt x="0" y="118"/>
                  <a:pt x="0" y="118"/>
                  <a:pt x="0" y="118"/>
                </a:cubicBezTo>
                <a:cubicBezTo>
                  <a:pt x="0" y="142"/>
                  <a:pt x="19" y="161"/>
                  <a:pt x="42" y="161"/>
                </a:cubicBezTo>
                <a:cubicBezTo>
                  <a:pt x="59" y="161"/>
                  <a:pt x="59" y="161"/>
                  <a:pt x="59" y="161"/>
                </a:cubicBezTo>
                <a:cubicBezTo>
                  <a:pt x="59" y="193"/>
                  <a:pt x="59" y="193"/>
                  <a:pt x="59" y="193"/>
                </a:cubicBezTo>
                <a:cubicBezTo>
                  <a:pt x="59" y="198"/>
                  <a:pt x="62" y="202"/>
                  <a:pt x="67" y="204"/>
                </a:cubicBezTo>
                <a:cubicBezTo>
                  <a:pt x="68" y="205"/>
                  <a:pt x="69" y="205"/>
                  <a:pt x="71" y="205"/>
                </a:cubicBezTo>
                <a:cubicBezTo>
                  <a:pt x="74" y="205"/>
                  <a:pt x="77" y="204"/>
                  <a:pt x="79" y="201"/>
                </a:cubicBezTo>
                <a:cubicBezTo>
                  <a:pt x="113" y="161"/>
                  <a:pt x="113" y="161"/>
                  <a:pt x="113" y="161"/>
                </a:cubicBezTo>
                <a:cubicBezTo>
                  <a:pt x="146" y="161"/>
                  <a:pt x="146" y="161"/>
                  <a:pt x="146" y="161"/>
                </a:cubicBezTo>
                <a:cubicBezTo>
                  <a:pt x="146" y="143"/>
                  <a:pt x="146" y="143"/>
                  <a:pt x="146" y="143"/>
                </a:cubicBezTo>
                <a:cubicBezTo>
                  <a:pt x="105" y="143"/>
                  <a:pt x="105" y="143"/>
                  <a:pt x="105" y="143"/>
                </a:cubicBezTo>
                <a:lnTo>
                  <a:pt x="77" y="176"/>
                </a:lnTo>
                <a:close/>
                <a:moveTo>
                  <a:pt x="358" y="97"/>
                </a:moveTo>
                <a:cubicBezTo>
                  <a:pt x="254" y="97"/>
                  <a:pt x="254" y="97"/>
                  <a:pt x="254" y="97"/>
                </a:cubicBezTo>
                <a:cubicBezTo>
                  <a:pt x="254" y="115"/>
                  <a:pt x="254" y="115"/>
                  <a:pt x="254" y="115"/>
                </a:cubicBezTo>
                <a:cubicBezTo>
                  <a:pt x="358" y="115"/>
                  <a:pt x="358" y="115"/>
                  <a:pt x="358" y="115"/>
                </a:cubicBezTo>
                <a:cubicBezTo>
                  <a:pt x="371" y="115"/>
                  <a:pt x="382" y="127"/>
                  <a:pt x="382" y="141"/>
                </a:cubicBezTo>
                <a:cubicBezTo>
                  <a:pt x="382" y="215"/>
                  <a:pt x="382" y="215"/>
                  <a:pt x="382" y="215"/>
                </a:cubicBezTo>
                <a:cubicBezTo>
                  <a:pt x="382" y="229"/>
                  <a:pt x="371" y="240"/>
                  <a:pt x="358" y="240"/>
                </a:cubicBezTo>
                <a:cubicBezTo>
                  <a:pt x="323" y="240"/>
                  <a:pt x="323" y="240"/>
                  <a:pt x="323" y="240"/>
                </a:cubicBezTo>
                <a:cubicBezTo>
                  <a:pt x="323" y="273"/>
                  <a:pt x="323" y="273"/>
                  <a:pt x="323" y="273"/>
                </a:cubicBezTo>
                <a:cubicBezTo>
                  <a:pt x="295" y="240"/>
                  <a:pt x="295" y="240"/>
                  <a:pt x="295" y="240"/>
                </a:cubicBezTo>
                <a:cubicBezTo>
                  <a:pt x="204" y="240"/>
                  <a:pt x="204" y="240"/>
                  <a:pt x="204" y="240"/>
                </a:cubicBezTo>
                <a:cubicBezTo>
                  <a:pt x="191" y="240"/>
                  <a:pt x="180" y="229"/>
                  <a:pt x="180" y="215"/>
                </a:cubicBezTo>
                <a:cubicBezTo>
                  <a:pt x="180" y="141"/>
                  <a:pt x="180" y="141"/>
                  <a:pt x="180" y="141"/>
                </a:cubicBezTo>
                <a:cubicBezTo>
                  <a:pt x="180" y="127"/>
                  <a:pt x="191" y="115"/>
                  <a:pt x="204" y="115"/>
                </a:cubicBezTo>
                <a:cubicBezTo>
                  <a:pt x="204" y="97"/>
                  <a:pt x="204" y="97"/>
                  <a:pt x="204" y="97"/>
                </a:cubicBezTo>
                <a:cubicBezTo>
                  <a:pt x="181" y="97"/>
                  <a:pt x="162" y="117"/>
                  <a:pt x="162" y="141"/>
                </a:cubicBezTo>
                <a:cubicBezTo>
                  <a:pt x="162" y="215"/>
                  <a:pt x="162" y="215"/>
                  <a:pt x="162" y="215"/>
                </a:cubicBezTo>
                <a:cubicBezTo>
                  <a:pt x="162" y="239"/>
                  <a:pt x="181" y="258"/>
                  <a:pt x="204" y="258"/>
                </a:cubicBezTo>
                <a:cubicBezTo>
                  <a:pt x="287" y="258"/>
                  <a:pt x="287" y="258"/>
                  <a:pt x="287" y="258"/>
                </a:cubicBezTo>
                <a:cubicBezTo>
                  <a:pt x="321" y="298"/>
                  <a:pt x="321" y="298"/>
                  <a:pt x="321" y="298"/>
                </a:cubicBezTo>
                <a:cubicBezTo>
                  <a:pt x="323" y="300"/>
                  <a:pt x="326" y="302"/>
                  <a:pt x="329" y="302"/>
                </a:cubicBezTo>
                <a:cubicBezTo>
                  <a:pt x="331" y="302"/>
                  <a:pt x="332" y="302"/>
                  <a:pt x="333" y="301"/>
                </a:cubicBezTo>
                <a:cubicBezTo>
                  <a:pt x="338" y="299"/>
                  <a:pt x="341" y="295"/>
                  <a:pt x="341" y="290"/>
                </a:cubicBezTo>
                <a:cubicBezTo>
                  <a:pt x="341" y="258"/>
                  <a:pt x="341" y="258"/>
                  <a:pt x="341" y="258"/>
                </a:cubicBezTo>
                <a:cubicBezTo>
                  <a:pt x="358" y="258"/>
                  <a:pt x="358" y="258"/>
                  <a:pt x="358" y="258"/>
                </a:cubicBezTo>
                <a:cubicBezTo>
                  <a:pt x="381" y="258"/>
                  <a:pt x="400" y="239"/>
                  <a:pt x="400" y="215"/>
                </a:cubicBezTo>
                <a:cubicBezTo>
                  <a:pt x="400" y="141"/>
                  <a:pt x="400" y="141"/>
                  <a:pt x="400" y="141"/>
                </a:cubicBezTo>
                <a:cubicBezTo>
                  <a:pt x="400" y="117"/>
                  <a:pt x="381" y="97"/>
                  <a:pt x="358" y="97"/>
                </a:cubicBezTo>
                <a:close/>
                <a:moveTo>
                  <a:pt x="106" y="30"/>
                </a:moveTo>
                <a:cubicBezTo>
                  <a:pt x="74" y="114"/>
                  <a:pt x="74" y="114"/>
                  <a:pt x="74" y="114"/>
                </a:cubicBezTo>
                <a:cubicBezTo>
                  <a:pt x="93" y="114"/>
                  <a:pt x="93" y="114"/>
                  <a:pt x="93" y="114"/>
                </a:cubicBezTo>
                <a:cubicBezTo>
                  <a:pt x="100" y="95"/>
                  <a:pt x="100" y="95"/>
                  <a:pt x="100" y="95"/>
                </a:cubicBezTo>
                <a:cubicBezTo>
                  <a:pt x="131" y="95"/>
                  <a:pt x="131" y="95"/>
                  <a:pt x="131" y="95"/>
                </a:cubicBezTo>
                <a:cubicBezTo>
                  <a:pt x="137" y="114"/>
                  <a:pt x="137" y="114"/>
                  <a:pt x="137" y="114"/>
                </a:cubicBezTo>
                <a:cubicBezTo>
                  <a:pt x="156" y="114"/>
                  <a:pt x="156" y="114"/>
                  <a:pt x="156" y="114"/>
                </a:cubicBezTo>
                <a:cubicBezTo>
                  <a:pt x="125" y="30"/>
                  <a:pt x="125" y="30"/>
                  <a:pt x="125" y="30"/>
                </a:cubicBezTo>
                <a:lnTo>
                  <a:pt x="106" y="30"/>
                </a:lnTo>
                <a:close/>
                <a:moveTo>
                  <a:pt x="104" y="81"/>
                </a:moveTo>
                <a:cubicBezTo>
                  <a:pt x="115" y="51"/>
                  <a:pt x="115" y="51"/>
                  <a:pt x="115" y="51"/>
                </a:cubicBezTo>
                <a:cubicBezTo>
                  <a:pt x="116" y="51"/>
                  <a:pt x="116" y="51"/>
                  <a:pt x="116" y="51"/>
                </a:cubicBezTo>
                <a:cubicBezTo>
                  <a:pt x="126" y="81"/>
                  <a:pt x="126" y="81"/>
                  <a:pt x="126" y="81"/>
                </a:cubicBezTo>
                <a:lnTo>
                  <a:pt x="104" y="81"/>
                </a:lnTo>
                <a:close/>
                <a:moveTo>
                  <a:pt x="240" y="197"/>
                </a:moveTo>
                <a:cubicBezTo>
                  <a:pt x="240" y="206"/>
                  <a:pt x="246" y="212"/>
                  <a:pt x="256" y="212"/>
                </a:cubicBezTo>
                <a:cubicBezTo>
                  <a:pt x="267" y="211"/>
                  <a:pt x="279" y="204"/>
                  <a:pt x="283" y="201"/>
                </a:cubicBezTo>
                <a:cubicBezTo>
                  <a:pt x="286" y="198"/>
                  <a:pt x="296" y="186"/>
                  <a:pt x="301" y="177"/>
                </a:cubicBezTo>
                <a:cubicBezTo>
                  <a:pt x="306" y="180"/>
                  <a:pt x="309" y="184"/>
                  <a:pt x="309" y="189"/>
                </a:cubicBezTo>
                <a:cubicBezTo>
                  <a:pt x="309" y="199"/>
                  <a:pt x="299" y="206"/>
                  <a:pt x="282" y="207"/>
                </a:cubicBezTo>
                <a:cubicBezTo>
                  <a:pt x="290" y="218"/>
                  <a:pt x="290" y="218"/>
                  <a:pt x="290" y="218"/>
                </a:cubicBezTo>
                <a:cubicBezTo>
                  <a:pt x="316" y="215"/>
                  <a:pt x="324" y="204"/>
                  <a:pt x="324" y="189"/>
                </a:cubicBezTo>
                <a:cubicBezTo>
                  <a:pt x="324" y="176"/>
                  <a:pt x="316" y="168"/>
                  <a:pt x="305" y="164"/>
                </a:cubicBezTo>
                <a:cubicBezTo>
                  <a:pt x="306" y="163"/>
                  <a:pt x="306" y="162"/>
                  <a:pt x="306" y="161"/>
                </a:cubicBezTo>
                <a:cubicBezTo>
                  <a:pt x="292" y="158"/>
                  <a:pt x="292" y="158"/>
                  <a:pt x="292" y="158"/>
                </a:cubicBezTo>
                <a:cubicBezTo>
                  <a:pt x="292" y="160"/>
                  <a:pt x="291" y="160"/>
                  <a:pt x="291" y="162"/>
                </a:cubicBezTo>
                <a:cubicBezTo>
                  <a:pt x="286" y="161"/>
                  <a:pt x="280" y="162"/>
                  <a:pt x="278" y="163"/>
                </a:cubicBezTo>
                <a:cubicBezTo>
                  <a:pt x="278" y="160"/>
                  <a:pt x="278" y="153"/>
                  <a:pt x="278" y="150"/>
                </a:cubicBezTo>
                <a:cubicBezTo>
                  <a:pt x="290" y="150"/>
                  <a:pt x="302" y="149"/>
                  <a:pt x="313" y="147"/>
                </a:cubicBezTo>
                <a:cubicBezTo>
                  <a:pt x="312" y="133"/>
                  <a:pt x="312" y="133"/>
                  <a:pt x="312" y="133"/>
                </a:cubicBezTo>
                <a:cubicBezTo>
                  <a:pt x="301" y="135"/>
                  <a:pt x="290" y="136"/>
                  <a:pt x="279" y="137"/>
                </a:cubicBezTo>
                <a:cubicBezTo>
                  <a:pt x="279" y="134"/>
                  <a:pt x="280" y="126"/>
                  <a:pt x="280" y="126"/>
                </a:cubicBezTo>
                <a:cubicBezTo>
                  <a:pt x="265" y="125"/>
                  <a:pt x="265" y="125"/>
                  <a:pt x="265" y="125"/>
                </a:cubicBezTo>
                <a:cubicBezTo>
                  <a:pt x="264" y="129"/>
                  <a:pt x="264" y="133"/>
                  <a:pt x="264" y="137"/>
                </a:cubicBezTo>
                <a:cubicBezTo>
                  <a:pt x="257" y="138"/>
                  <a:pt x="249" y="138"/>
                  <a:pt x="245" y="137"/>
                </a:cubicBezTo>
                <a:cubicBezTo>
                  <a:pt x="246" y="151"/>
                  <a:pt x="246" y="151"/>
                  <a:pt x="246" y="151"/>
                </a:cubicBezTo>
                <a:cubicBezTo>
                  <a:pt x="248" y="151"/>
                  <a:pt x="248" y="151"/>
                  <a:pt x="248" y="151"/>
                </a:cubicBezTo>
                <a:cubicBezTo>
                  <a:pt x="252" y="151"/>
                  <a:pt x="258" y="151"/>
                  <a:pt x="264" y="151"/>
                </a:cubicBezTo>
                <a:cubicBezTo>
                  <a:pt x="264" y="155"/>
                  <a:pt x="264" y="163"/>
                  <a:pt x="264" y="167"/>
                </a:cubicBezTo>
                <a:cubicBezTo>
                  <a:pt x="250" y="172"/>
                  <a:pt x="240" y="183"/>
                  <a:pt x="240" y="197"/>
                </a:cubicBezTo>
                <a:close/>
                <a:moveTo>
                  <a:pt x="286" y="174"/>
                </a:moveTo>
                <a:cubicBezTo>
                  <a:pt x="284" y="179"/>
                  <a:pt x="282" y="182"/>
                  <a:pt x="279" y="185"/>
                </a:cubicBezTo>
                <a:cubicBezTo>
                  <a:pt x="279" y="182"/>
                  <a:pt x="279" y="179"/>
                  <a:pt x="278" y="175"/>
                </a:cubicBezTo>
                <a:cubicBezTo>
                  <a:pt x="279" y="175"/>
                  <a:pt x="284" y="174"/>
                  <a:pt x="286" y="174"/>
                </a:cubicBezTo>
                <a:close/>
                <a:moveTo>
                  <a:pt x="265" y="180"/>
                </a:moveTo>
                <a:cubicBezTo>
                  <a:pt x="265" y="186"/>
                  <a:pt x="266" y="191"/>
                  <a:pt x="267" y="196"/>
                </a:cubicBezTo>
                <a:cubicBezTo>
                  <a:pt x="264" y="197"/>
                  <a:pt x="262" y="198"/>
                  <a:pt x="260" y="198"/>
                </a:cubicBezTo>
                <a:cubicBezTo>
                  <a:pt x="255" y="198"/>
                  <a:pt x="255" y="195"/>
                  <a:pt x="255" y="194"/>
                </a:cubicBezTo>
                <a:cubicBezTo>
                  <a:pt x="255" y="188"/>
                  <a:pt x="259" y="184"/>
                  <a:pt x="265" y="18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06" tIns="45702" rIns="91406" bIns="45702" numCol="1" anchor="t" anchorCtr="0" compatLnSpc="1"/>
          <a:lstStyle/>
          <a:p>
            <a:pPr defTabSz="913765"/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89" name="Group 4"/>
          <p:cNvGrpSpPr/>
          <p:nvPr/>
        </p:nvGrpSpPr>
        <p:grpSpPr>
          <a:xfrm>
            <a:off x="4217326" y="2801506"/>
            <a:ext cx="776091" cy="778356"/>
            <a:chOff x="10767621" y="2496554"/>
            <a:chExt cx="927146" cy="929852"/>
          </a:xfrm>
        </p:grpSpPr>
        <p:grpSp>
          <p:nvGrpSpPr>
            <p:cNvPr id="90" name="Group 2"/>
            <p:cNvGrpSpPr/>
            <p:nvPr/>
          </p:nvGrpSpPr>
          <p:grpSpPr>
            <a:xfrm>
              <a:off x="10767621" y="2496554"/>
              <a:ext cx="927146" cy="929852"/>
              <a:chOff x="10767621" y="2496554"/>
              <a:chExt cx="927146" cy="929852"/>
            </a:xfrm>
            <a:solidFill>
              <a:srgbClr val="FFFFFF"/>
            </a:solidFill>
          </p:grpSpPr>
          <p:sp>
            <p:nvSpPr>
              <p:cNvPr id="92" name="Freeform 7"/>
              <p:cNvSpPr>
                <a:spLocks noEditPoints="1"/>
              </p:cNvSpPr>
              <p:nvPr/>
            </p:nvSpPr>
            <p:spPr bwMode="auto">
              <a:xfrm rot="10800000">
                <a:off x="10767621" y="2496554"/>
                <a:ext cx="927146" cy="929852"/>
              </a:xfrm>
              <a:custGeom>
                <a:avLst/>
                <a:gdLst>
                  <a:gd name="T0" fmla="*/ 216 w 435"/>
                  <a:gd name="T1" fmla="*/ 0 h 436"/>
                  <a:gd name="T2" fmla="*/ 0 w 435"/>
                  <a:gd name="T3" fmla="*/ 220 h 436"/>
                  <a:gd name="T4" fmla="*/ 216 w 435"/>
                  <a:gd name="T5" fmla="*/ 436 h 436"/>
                  <a:gd name="T6" fmla="*/ 435 w 435"/>
                  <a:gd name="T7" fmla="*/ 220 h 436"/>
                  <a:gd name="T8" fmla="*/ 216 w 435"/>
                  <a:gd name="T9" fmla="*/ 0 h 436"/>
                  <a:gd name="T10" fmla="*/ 216 w 435"/>
                  <a:gd name="T11" fmla="*/ 410 h 436"/>
                  <a:gd name="T12" fmla="*/ 27 w 435"/>
                  <a:gd name="T13" fmla="*/ 220 h 436"/>
                  <a:gd name="T14" fmla="*/ 216 w 435"/>
                  <a:gd name="T15" fmla="*/ 27 h 436"/>
                  <a:gd name="T16" fmla="*/ 409 w 435"/>
                  <a:gd name="T17" fmla="*/ 220 h 436"/>
                  <a:gd name="T18" fmla="*/ 216 w 435"/>
                  <a:gd name="T19" fmla="*/ 41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5" h="436">
                    <a:moveTo>
                      <a:pt x="216" y="0"/>
                    </a:moveTo>
                    <a:cubicBezTo>
                      <a:pt x="97" y="0"/>
                      <a:pt x="0" y="97"/>
                      <a:pt x="0" y="220"/>
                    </a:cubicBezTo>
                    <a:cubicBezTo>
                      <a:pt x="0" y="340"/>
                      <a:pt x="97" y="436"/>
                      <a:pt x="216" y="436"/>
                    </a:cubicBezTo>
                    <a:cubicBezTo>
                      <a:pt x="339" y="436"/>
                      <a:pt x="435" y="340"/>
                      <a:pt x="435" y="220"/>
                    </a:cubicBezTo>
                    <a:cubicBezTo>
                      <a:pt x="435" y="97"/>
                      <a:pt x="339" y="0"/>
                      <a:pt x="216" y="0"/>
                    </a:cubicBezTo>
                    <a:close/>
                    <a:moveTo>
                      <a:pt x="216" y="410"/>
                    </a:moveTo>
                    <a:cubicBezTo>
                      <a:pt x="111" y="410"/>
                      <a:pt x="27" y="325"/>
                      <a:pt x="27" y="220"/>
                    </a:cubicBezTo>
                    <a:cubicBezTo>
                      <a:pt x="27" y="114"/>
                      <a:pt x="111" y="27"/>
                      <a:pt x="216" y="27"/>
                    </a:cubicBezTo>
                    <a:cubicBezTo>
                      <a:pt x="321" y="27"/>
                      <a:pt x="409" y="114"/>
                      <a:pt x="409" y="220"/>
                    </a:cubicBezTo>
                    <a:cubicBezTo>
                      <a:pt x="409" y="325"/>
                      <a:pt x="321" y="410"/>
                      <a:pt x="216" y="4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93" name="Freeform 92"/>
              <p:cNvSpPr>
                <a:spLocks noEditPoints="1"/>
              </p:cNvSpPr>
              <p:nvPr/>
            </p:nvSpPr>
            <p:spPr bwMode="black">
              <a:xfrm>
                <a:off x="11034804" y="2680995"/>
                <a:ext cx="395196" cy="538455"/>
              </a:xfrm>
              <a:custGeom>
                <a:avLst/>
                <a:gdLst>
                  <a:gd name="T0" fmla="*/ 15 w 48"/>
                  <a:gd name="T1" fmla="*/ 11 h 66"/>
                  <a:gd name="T2" fmla="*/ 24 w 48"/>
                  <a:gd name="T3" fmla="*/ 9 h 66"/>
                  <a:gd name="T4" fmla="*/ 33 w 48"/>
                  <a:gd name="T5" fmla="*/ 11 h 66"/>
                  <a:gd name="T6" fmla="*/ 35 w 48"/>
                  <a:gd name="T7" fmla="*/ 23 h 66"/>
                  <a:gd name="T8" fmla="*/ 35 w 48"/>
                  <a:gd name="T9" fmla="*/ 25 h 66"/>
                  <a:gd name="T10" fmla="*/ 35 w 48"/>
                  <a:gd name="T11" fmla="*/ 27 h 66"/>
                  <a:gd name="T12" fmla="*/ 14 w 48"/>
                  <a:gd name="T13" fmla="*/ 27 h 66"/>
                  <a:gd name="T14" fmla="*/ 14 w 48"/>
                  <a:gd name="T15" fmla="*/ 25 h 66"/>
                  <a:gd name="T16" fmla="*/ 14 w 48"/>
                  <a:gd name="T17" fmla="*/ 22 h 66"/>
                  <a:gd name="T18" fmla="*/ 15 w 48"/>
                  <a:gd name="T19" fmla="*/ 11 h 66"/>
                  <a:gd name="T20" fmla="*/ 44 w 48"/>
                  <a:gd name="T21" fmla="*/ 28 h 66"/>
                  <a:gd name="T22" fmla="*/ 44 w 48"/>
                  <a:gd name="T23" fmla="*/ 25 h 66"/>
                  <a:gd name="T24" fmla="*/ 44 w 48"/>
                  <a:gd name="T25" fmla="*/ 23 h 66"/>
                  <a:gd name="T26" fmla="*/ 39 w 48"/>
                  <a:gd name="T27" fmla="*/ 5 h 66"/>
                  <a:gd name="T28" fmla="*/ 24 w 48"/>
                  <a:gd name="T29" fmla="*/ 0 h 66"/>
                  <a:gd name="T30" fmla="*/ 9 w 48"/>
                  <a:gd name="T31" fmla="*/ 5 h 66"/>
                  <a:gd name="T32" fmla="*/ 5 w 48"/>
                  <a:gd name="T33" fmla="*/ 22 h 66"/>
                  <a:gd name="T34" fmla="*/ 5 w 48"/>
                  <a:gd name="T35" fmla="*/ 25 h 66"/>
                  <a:gd name="T36" fmla="*/ 5 w 48"/>
                  <a:gd name="T37" fmla="*/ 27 h 66"/>
                  <a:gd name="T38" fmla="*/ 0 w 48"/>
                  <a:gd name="T39" fmla="*/ 32 h 66"/>
                  <a:gd name="T40" fmla="*/ 0 w 48"/>
                  <a:gd name="T41" fmla="*/ 62 h 66"/>
                  <a:gd name="T42" fmla="*/ 5 w 48"/>
                  <a:gd name="T43" fmla="*/ 66 h 66"/>
                  <a:gd name="T44" fmla="*/ 43 w 48"/>
                  <a:gd name="T45" fmla="*/ 66 h 66"/>
                  <a:gd name="T46" fmla="*/ 48 w 48"/>
                  <a:gd name="T47" fmla="*/ 62 h 66"/>
                  <a:gd name="T48" fmla="*/ 48 w 48"/>
                  <a:gd name="T49" fmla="*/ 32 h 66"/>
                  <a:gd name="T50" fmla="*/ 44 w 48"/>
                  <a:gd name="T51" fmla="*/ 2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" h="66">
                    <a:moveTo>
                      <a:pt x="15" y="11"/>
                    </a:moveTo>
                    <a:cubicBezTo>
                      <a:pt x="17" y="10"/>
                      <a:pt x="20" y="9"/>
                      <a:pt x="24" y="9"/>
                    </a:cubicBezTo>
                    <a:cubicBezTo>
                      <a:pt x="29" y="9"/>
                      <a:pt x="32" y="10"/>
                      <a:pt x="33" y="11"/>
                    </a:cubicBezTo>
                    <a:cubicBezTo>
                      <a:pt x="35" y="13"/>
                      <a:pt x="35" y="18"/>
                      <a:pt x="35" y="23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5" y="26"/>
                      <a:pt x="35" y="27"/>
                      <a:pt x="35" y="2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27"/>
                      <a:pt x="14" y="26"/>
                      <a:pt x="14" y="2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7"/>
                      <a:pt x="14" y="13"/>
                      <a:pt x="15" y="11"/>
                    </a:cubicBezTo>
                    <a:moveTo>
                      <a:pt x="44" y="28"/>
                    </a:moveTo>
                    <a:cubicBezTo>
                      <a:pt x="44" y="27"/>
                      <a:pt x="44" y="26"/>
                      <a:pt x="44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16"/>
                      <a:pt x="44" y="10"/>
                      <a:pt x="39" y="5"/>
                    </a:cubicBezTo>
                    <a:cubicBezTo>
                      <a:pt x="36" y="2"/>
                      <a:pt x="31" y="0"/>
                      <a:pt x="24" y="0"/>
                    </a:cubicBezTo>
                    <a:cubicBezTo>
                      <a:pt x="17" y="0"/>
                      <a:pt x="12" y="2"/>
                      <a:pt x="9" y="5"/>
                    </a:cubicBezTo>
                    <a:cubicBezTo>
                      <a:pt x="5" y="9"/>
                      <a:pt x="5" y="16"/>
                      <a:pt x="5" y="22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6"/>
                      <a:pt x="5" y="27"/>
                      <a:pt x="5" y="27"/>
                    </a:cubicBezTo>
                    <a:cubicBezTo>
                      <a:pt x="2" y="28"/>
                      <a:pt x="0" y="30"/>
                      <a:pt x="0" y="3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4"/>
                      <a:pt x="2" y="66"/>
                      <a:pt x="5" y="6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46" y="66"/>
                      <a:pt x="48" y="64"/>
                      <a:pt x="48" y="62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0"/>
                      <a:pt x="46" y="28"/>
                      <a:pt x="44" y="28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  <p:sp>
          <p:nvSpPr>
            <p:cNvPr id="91" name="Rectangle 3"/>
            <p:cNvSpPr/>
            <p:nvPr/>
          </p:nvSpPr>
          <p:spPr bwMode="auto">
            <a:xfrm rot="19139088">
              <a:off x="10806113" y="2962276"/>
              <a:ext cx="881063" cy="50482"/>
            </a:xfrm>
            <a:prstGeom prst="rect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noAutofit/>
            </a:bodyPr>
            <a:lstStyle/>
            <a:p>
              <a:pPr algn="ctr" defTabSz="91313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spc="-50" dirty="0">
                <a:gradFill>
                  <a:gsLst>
                    <a:gs pos="1250">
                      <a:schemeClr val="bg1"/>
                    </a:gs>
                    <a:gs pos="10417">
                      <a:schemeClr val="bg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94" name="Freeform 341"/>
          <p:cNvSpPr>
            <a:spLocks noChangeAspect="1"/>
          </p:cNvSpPr>
          <p:nvPr/>
        </p:nvSpPr>
        <p:spPr bwMode="auto">
          <a:xfrm>
            <a:off x="2972205" y="606980"/>
            <a:ext cx="636867" cy="689391"/>
          </a:xfrm>
          <a:custGeom>
            <a:avLst/>
            <a:gdLst>
              <a:gd name="T0" fmla="*/ 82 w 82"/>
              <a:gd name="T1" fmla="*/ 42 h 89"/>
              <a:gd name="T2" fmla="*/ 82 w 82"/>
              <a:gd name="T3" fmla="*/ 26 h 89"/>
              <a:gd name="T4" fmla="*/ 82 w 82"/>
              <a:gd name="T5" fmla="*/ 14 h 89"/>
              <a:gd name="T6" fmla="*/ 82 w 82"/>
              <a:gd name="T7" fmla="*/ 12 h 89"/>
              <a:gd name="T8" fmla="*/ 28 w 82"/>
              <a:gd name="T9" fmla="*/ 0 h 89"/>
              <a:gd name="T10" fmla="*/ 27 w 82"/>
              <a:gd name="T11" fmla="*/ 43 h 89"/>
              <a:gd name="T12" fmla="*/ 14 w 82"/>
              <a:gd name="T13" fmla="*/ 73 h 89"/>
              <a:gd name="T14" fmla="*/ 38 w 82"/>
              <a:gd name="T15" fmla="*/ 58 h 89"/>
              <a:gd name="T16" fmla="*/ 38 w 82"/>
              <a:gd name="T17" fmla="*/ 33 h 89"/>
              <a:gd name="T18" fmla="*/ 38 w 82"/>
              <a:gd name="T19" fmla="*/ 13 h 89"/>
              <a:gd name="T20" fmla="*/ 71 w 82"/>
              <a:gd name="T21" fmla="*/ 20 h 89"/>
              <a:gd name="T22" fmla="*/ 71 w 82"/>
              <a:gd name="T23" fmla="*/ 55 h 89"/>
              <a:gd name="T24" fmla="*/ 58 w 82"/>
              <a:gd name="T25" fmla="*/ 84 h 89"/>
              <a:gd name="T26" fmla="*/ 82 w 82"/>
              <a:gd name="T27" fmla="*/ 69 h 89"/>
              <a:gd name="T28" fmla="*/ 82 w 82"/>
              <a:gd name="T29" fmla="*/ 45 h 89"/>
              <a:gd name="T30" fmla="*/ 82 w 82"/>
              <a:gd name="T31" fmla="*/ 42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2" h="89">
                <a:moveTo>
                  <a:pt x="82" y="42"/>
                </a:moveTo>
                <a:cubicBezTo>
                  <a:pt x="82" y="26"/>
                  <a:pt x="82" y="26"/>
                  <a:pt x="82" y="26"/>
                </a:cubicBezTo>
                <a:cubicBezTo>
                  <a:pt x="82" y="14"/>
                  <a:pt x="82" y="14"/>
                  <a:pt x="82" y="14"/>
                </a:cubicBezTo>
                <a:cubicBezTo>
                  <a:pt x="82" y="12"/>
                  <a:pt x="82" y="12"/>
                  <a:pt x="82" y="12"/>
                </a:cubicBezTo>
                <a:cubicBezTo>
                  <a:pt x="28" y="0"/>
                  <a:pt x="28" y="0"/>
                  <a:pt x="28" y="0"/>
                </a:cubicBezTo>
                <a:cubicBezTo>
                  <a:pt x="27" y="43"/>
                  <a:pt x="27" y="43"/>
                  <a:pt x="27" y="43"/>
                </a:cubicBezTo>
                <a:cubicBezTo>
                  <a:pt x="4" y="43"/>
                  <a:pt x="0" y="66"/>
                  <a:pt x="14" y="73"/>
                </a:cubicBezTo>
                <a:cubicBezTo>
                  <a:pt x="24" y="77"/>
                  <a:pt x="38" y="71"/>
                  <a:pt x="38" y="58"/>
                </a:cubicBezTo>
                <a:cubicBezTo>
                  <a:pt x="38" y="33"/>
                  <a:pt x="38" y="33"/>
                  <a:pt x="38" y="33"/>
                </a:cubicBezTo>
                <a:cubicBezTo>
                  <a:pt x="38" y="13"/>
                  <a:pt x="38" y="13"/>
                  <a:pt x="38" y="13"/>
                </a:cubicBezTo>
                <a:cubicBezTo>
                  <a:pt x="71" y="20"/>
                  <a:pt x="71" y="20"/>
                  <a:pt x="71" y="20"/>
                </a:cubicBezTo>
                <a:cubicBezTo>
                  <a:pt x="71" y="55"/>
                  <a:pt x="71" y="55"/>
                  <a:pt x="71" y="55"/>
                </a:cubicBezTo>
                <a:cubicBezTo>
                  <a:pt x="48" y="55"/>
                  <a:pt x="43" y="77"/>
                  <a:pt x="58" y="84"/>
                </a:cubicBezTo>
                <a:cubicBezTo>
                  <a:pt x="67" y="89"/>
                  <a:pt x="82" y="83"/>
                  <a:pt x="82" y="69"/>
                </a:cubicBezTo>
                <a:cubicBezTo>
                  <a:pt x="82" y="45"/>
                  <a:pt x="82" y="45"/>
                  <a:pt x="82" y="45"/>
                </a:cubicBezTo>
                <a:cubicBezTo>
                  <a:pt x="82" y="42"/>
                  <a:pt x="82" y="42"/>
                  <a:pt x="82" y="42"/>
                </a:cubicBezTo>
                <a:close/>
              </a:path>
            </a:pathLst>
          </a:cu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txBody>
          <a:bodyPr vert="horz" wrap="square" lIns="93247" tIns="46623" rIns="93247" bIns="46623" numCol="1" anchor="t" anchorCtr="0" compatLnSpc="1"/>
          <a:lstStyle/>
          <a:p>
            <a:pPr defTabSz="93154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5" name="Freeform 7"/>
          <p:cNvSpPr>
            <a:spLocks noChangeAspect="1" noEditPoints="1"/>
          </p:cNvSpPr>
          <p:nvPr/>
        </p:nvSpPr>
        <p:spPr bwMode="black">
          <a:xfrm>
            <a:off x="4251913" y="575497"/>
            <a:ext cx="680186" cy="601346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51415" tIns="25707" rIns="51415" bIns="25707" numCol="1" anchor="t" anchorCtr="0" compatLnSpc="1"/>
          <a:lstStyle/>
          <a:p>
            <a:pPr defTabSz="932180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01" name="Group 82"/>
          <p:cNvGrpSpPr/>
          <p:nvPr/>
        </p:nvGrpSpPr>
        <p:grpSpPr>
          <a:xfrm>
            <a:off x="5554684" y="1693324"/>
            <a:ext cx="716070" cy="715782"/>
            <a:chOff x="5840155" y="3541112"/>
            <a:chExt cx="508514" cy="508514"/>
          </a:xfrm>
        </p:grpSpPr>
        <p:sp>
          <p:nvSpPr>
            <p:cNvPr id="102" name="Freeform 12"/>
            <p:cNvSpPr>
              <a:spLocks noChangeAspect="1"/>
            </p:cNvSpPr>
            <p:nvPr/>
          </p:nvSpPr>
          <p:spPr bwMode="black">
            <a:xfrm>
              <a:off x="5960736" y="3612255"/>
              <a:ext cx="268945" cy="373607"/>
            </a:xfrm>
            <a:custGeom>
              <a:avLst/>
              <a:gdLst>
                <a:gd name="T0" fmla="*/ 642 w 811"/>
                <a:gd name="T1" fmla="*/ 692 h 1128"/>
                <a:gd name="T2" fmla="*/ 499 w 811"/>
                <a:gd name="T3" fmla="*/ 758 h 1128"/>
                <a:gd name="T4" fmla="*/ 465 w 811"/>
                <a:gd name="T5" fmla="*/ 735 h 1128"/>
                <a:gd name="T6" fmla="*/ 301 w 811"/>
                <a:gd name="T7" fmla="*/ 382 h 1128"/>
                <a:gd name="T8" fmla="*/ 305 w 811"/>
                <a:gd name="T9" fmla="*/ 341 h 1128"/>
                <a:gd name="T10" fmla="*/ 459 w 811"/>
                <a:gd name="T11" fmla="*/ 269 h 1128"/>
                <a:gd name="T12" fmla="*/ 474 w 811"/>
                <a:gd name="T13" fmla="*/ 232 h 1128"/>
                <a:gd name="T14" fmla="*/ 378 w 811"/>
                <a:gd name="T15" fmla="*/ 19 h 1128"/>
                <a:gd name="T16" fmla="*/ 341 w 811"/>
                <a:gd name="T17" fmla="*/ 0 h 1128"/>
                <a:gd name="T18" fmla="*/ 236 w 811"/>
                <a:gd name="T19" fmla="*/ 28 h 1128"/>
                <a:gd name="T20" fmla="*/ 192 w 811"/>
                <a:gd name="T21" fmla="*/ 49 h 1128"/>
                <a:gd name="T22" fmla="*/ 117 w 811"/>
                <a:gd name="T23" fmla="*/ 543 h 1128"/>
                <a:gd name="T24" fmla="*/ 313 w 811"/>
                <a:gd name="T25" fmla="*/ 932 h 1128"/>
                <a:gd name="T26" fmla="*/ 686 w 811"/>
                <a:gd name="T27" fmla="*/ 1060 h 1128"/>
                <a:gd name="T28" fmla="*/ 730 w 811"/>
                <a:gd name="T29" fmla="*/ 1039 h 1128"/>
                <a:gd name="T30" fmla="*/ 789 w 811"/>
                <a:gd name="T31" fmla="*/ 999 h 1128"/>
                <a:gd name="T32" fmla="*/ 796 w 811"/>
                <a:gd name="T33" fmla="*/ 944 h 1128"/>
                <a:gd name="T34" fmla="*/ 689 w 811"/>
                <a:gd name="T35" fmla="*/ 708 h 1128"/>
                <a:gd name="T36" fmla="*/ 642 w 811"/>
                <a:gd name="T37" fmla="*/ 692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1" h="1128">
                  <a:moveTo>
                    <a:pt x="642" y="692"/>
                  </a:moveTo>
                  <a:cubicBezTo>
                    <a:pt x="616" y="704"/>
                    <a:pt x="499" y="758"/>
                    <a:pt x="499" y="758"/>
                  </a:cubicBezTo>
                  <a:cubicBezTo>
                    <a:pt x="488" y="763"/>
                    <a:pt x="473" y="753"/>
                    <a:pt x="465" y="735"/>
                  </a:cubicBezTo>
                  <a:cubicBezTo>
                    <a:pt x="301" y="382"/>
                    <a:pt x="301" y="382"/>
                    <a:pt x="301" y="382"/>
                  </a:cubicBezTo>
                  <a:cubicBezTo>
                    <a:pt x="292" y="364"/>
                    <a:pt x="294" y="346"/>
                    <a:pt x="305" y="341"/>
                  </a:cubicBezTo>
                  <a:cubicBezTo>
                    <a:pt x="305" y="341"/>
                    <a:pt x="441" y="279"/>
                    <a:pt x="459" y="269"/>
                  </a:cubicBezTo>
                  <a:cubicBezTo>
                    <a:pt x="470" y="264"/>
                    <a:pt x="483" y="251"/>
                    <a:pt x="474" y="232"/>
                  </a:cubicBezTo>
                  <a:cubicBezTo>
                    <a:pt x="452" y="180"/>
                    <a:pt x="385" y="29"/>
                    <a:pt x="378" y="19"/>
                  </a:cubicBezTo>
                  <a:cubicBezTo>
                    <a:pt x="369" y="8"/>
                    <a:pt x="363" y="0"/>
                    <a:pt x="341" y="0"/>
                  </a:cubicBezTo>
                  <a:cubicBezTo>
                    <a:pt x="306" y="0"/>
                    <a:pt x="269" y="13"/>
                    <a:pt x="236" y="28"/>
                  </a:cubicBezTo>
                  <a:cubicBezTo>
                    <a:pt x="192" y="49"/>
                    <a:pt x="192" y="49"/>
                    <a:pt x="192" y="49"/>
                  </a:cubicBezTo>
                  <a:cubicBezTo>
                    <a:pt x="0" y="158"/>
                    <a:pt x="62" y="427"/>
                    <a:pt x="117" y="543"/>
                  </a:cubicBezTo>
                  <a:cubicBezTo>
                    <a:pt x="173" y="662"/>
                    <a:pt x="313" y="932"/>
                    <a:pt x="313" y="932"/>
                  </a:cubicBezTo>
                  <a:cubicBezTo>
                    <a:pt x="381" y="1070"/>
                    <a:pt x="547" y="1128"/>
                    <a:pt x="686" y="1060"/>
                  </a:cubicBezTo>
                  <a:cubicBezTo>
                    <a:pt x="730" y="1039"/>
                    <a:pt x="730" y="1039"/>
                    <a:pt x="730" y="1039"/>
                  </a:cubicBezTo>
                  <a:cubicBezTo>
                    <a:pt x="756" y="1026"/>
                    <a:pt x="769" y="1018"/>
                    <a:pt x="789" y="999"/>
                  </a:cubicBezTo>
                  <a:cubicBezTo>
                    <a:pt x="795" y="994"/>
                    <a:pt x="811" y="977"/>
                    <a:pt x="796" y="944"/>
                  </a:cubicBezTo>
                  <a:cubicBezTo>
                    <a:pt x="767" y="880"/>
                    <a:pt x="698" y="726"/>
                    <a:pt x="689" y="708"/>
                  </a:cubicBezTo>
                  <a:cubicBezTo>
                    <a:pt x="680" y="693"/>
                    <a:pt x="661" y="684"/>
                    <a:pt x="642" y="6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/>
            <a:lstStyle/>
            <a:p>
              <a:pPr marL="0" marR="0" lvl="0" indent="0" defTabSz="9321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/>
              </a:endParaRPr>
            </a:p>
          </p:txBody>
        </p:sp>
        <p:grpSp>
          <p:nvGrpSpPr>
            <p:cNvPr id="103" name="Group 84"/>
            <p:cNvGrpSpPr/>
            <p:nvPr/>
          </p:nvGrpSpPr>
          <p:grpSpPr>
            <a:xfrm>
              <a:off x="5840155" y="3541112"/>
              <a:ext cx="508514" cy="508514"/>
              <a:chOff x="5774811" y="3512958"/>
              <a:chExt cx="639202" cy="639202"/>
            </a:xfrm>
          </p:grpSpPr>
          <p:sp>
            <p:nvSpPr>
              <p:cNvPr id="104" name="Oval 85"/>
              <p:cNvSpPr/>
              <p:nvPr/>
            </p:nvSpPr>
            <p:spPr bwMode="auto">
              <a:xfrm>
                <a:off x="5774811" y="3512958"/>
                <a:ext cx="639202" cy="639202"/>
              </a:xfrm>
              <a:prstGeom prst="ellipse">
                <a:avLst/>
              </a:prstGeom>
              <a:noFill/>
              <a:ln w="76200" cap="flat" cmpd="sng" algn="ctr">
                <a:solidFill>
                  <a:srgbClr val="FFFFFF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/>
              <a:lstStyle/>
              <a:p>
                <a:pPr marL="0" marR="0" lvl="0" indent="0" algn="ctr" defTabSz="95059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20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/>
                </a:endParaRPr>
              </a:p>
            </p:txBody>
          </p:sp>
          <p:cxnSp>
            <p:nvCxnSpPr>
              <p:cNvPr id="105" name="Straight Connector 86"/>
              <p:cNvCxnSpPr>
                <a:stCxn id="104" idx="3"/>
                <a:endCxn id="104" idx="7"/>
              </p:cNvCxnSpPr>
              <p:nvPr/>
            </p:nvCxnSpPr>
            <p:spPr>
              <a:xfrm flipV="1">
                <a:off x="5868420" y="3606567"/>
                <a:ext cx="451984" cy="451984"/>
              </a:xfrm>
              <a:prstGeom prst="line">
                <a:avLst/>
              </a:prstGeom>
              <a:noFill/>
              <a:ln w="57150" cap="flat" cmpd="sng" algn="ctr">
                <a:solidFill>
                  <a:srgbClr val="FFFFFF"/>
                </a:solidFill>
                <a:prstDash val="solid"/>
                <a:headEnd type="none"/>
                <a:tailEnd type="none"/>
              </a:ln>
              <a:effectLst/>
            </p:spPr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THINKCELLSHAPEDONOTDELETE" val="pzfCkXd2zmUu6M0t0EYUvXQ"/>
</p:tagLst>
</file>

<file path=ppt/tags/tag2.xml><?xml version="1.0" encoding="utf-8"?>
<p:tagLst xmlns:p="http://schemas.openxmlformats.org/presentationml/2006/main">
  <p:tag name="THINKCELLSHAPEDONOTDELETE" val="pJ2u1Pg1xh0C640BzGedlig"/>
</p:tagLst>
</file>

<file path=ppt/tags/tag3.xml><?xml version="1.0" encoding="utf-8"?>
<p:tagLst xmlns:p="http://schemas.openxmlformats.org/presentationml/2006/main">
  <p:tag name="THINKCELLSHAPEDONOTDELETE" val="pDAQ7q730TEK1PDgrrwxdeQ"/>
</p:tagLst>
</file>

<file path=ppt/tags/tag4.xml><?xml version="1.0" encoding="utf-8"?>
<p:tagLst xmlns:p="http://schemas.openxmlformats.org/presentationml/2006/main">
  <p:tag name="THINKCELLSHAPEDONOTDELETE" val="pyHojMppB7ke_G1rtyo8aFw"/>
</p:tagLst>
</file>

<file path=ppt/tags/tag5.xml><?xml version="1.0" encoding="utf-8"?>
<p:tagLst xmlns:p="http://schemas.openxmlformats.org/presentationml/2006/main">
  <p:tag name="THINKCELLSHAPEDONOTDELETE" val="pPyYV1qJOh0uEB.i7ZP4zZA"/>
</p:tagLst>
</file>

<file path=ppt/tags/tag6.xml><?xml version="1.0" encoding="utf-8"?>
<p:tagLst xmlns:p="http://schemas.openxmlformats.org/presentationml/2006/main">
  <p:tag name="THINKCELLSHAPEDONOTDELETE" val="p7HbBcNRQAk.H0meG5xY23Q"/>
</p:tagLst>
</file>

<file path=ppt/tags/tag7.xml><?xml version="1.0" encoding="utf-8"?>
<p:tagLst xmlns:p="http://schemas.openxmlformats.org/presentationml/2006/main">
  <p:tag name="THINKCELLSHAPEDONOTDELETE" val="pyQjnflJwj0mh7vJGudrsg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常用1">
      <a:majorFont>
        <a:latin typeface="Impact"/>
        <a:ea typeface="华康俪金黑W8"/>
        <a:cs typeface=""/>
      </a:majorFont>
      <a:minorFont>
        <a:latin typeface="Impac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全屏显示(16:9)</PresentationFormat>
  <Paragraphs>0</Paragraphs>
  <Slides>10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30" baseType="lpstr">
      <vt:lpstr>Arial</vt:lpstr>
      <vt:lpstr>宋体</vt:lpstr>
      <vt:lpstr>Wingdings</vt:lpstr>
      <vt:lpstr>Segoe UI</vt:lpstr>
      <vt:lpstr>Segoe UI</vt:lpstr>
      <vt:lpstr>Segoe Light</vt:lpstr>
      <vt:lpstr>MS PGothic</vt:lpstr>
      <vt:lpstr>Segoe UI Light</vt:lpstr>
      <vt:lpstr>Segoe</vt:lpstr>
      <vt:lpstr>微软雅黑</vt:lpstr>
      <vt:lpstr>Meiryo</vt:lpstr>
      <vt:lpstr>Arial Narrow</vt:lpstr>
      <vt:lpstr>Calibri</vt:lpstr>
      <vt:lpstr>Impact</vt:lpstr>
      <vt:lpstr>Segoe Print</vt:lpstr>
      <vt:lpstr>Arial Unicode MS</vt:lpstr>
      <vt:lpstr>华康俪金黑W8</vt:lpstr>
      <vt:lpstr>黑体</vt:lpstr>
      <vt:lpstr>Calibri Light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oyce</dc:creator>
  <cp:lastModifiedBy>Cantherine.li</cp:lastModifiedBy>
  <cp:revision>58</cp:revision>
  <dcterms:created xsi:type="dcterms:W3CDTF">2014-04-30T11:50:00Z</dcterms:created>
  <dcterms:modified xsi:type="dcterms:W3CDTF">2018-12-23T13:3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4</vt:lpwstr>
  </property>
</Properties>
</file>